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2.xml" ContentType="application/vnd.openxmlformats-officedocument.theme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3.xml" ContentType="application/vnd.openxmlformats-officedocument.theme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082" r:id="rId5"/>
    <p:sldMasterId id="2147484229" r:id="rId6"/>
    <p:sldMasterId id="2147484269" r:id="rId7"/>
    <p:sldMasterId id="2147484296" r:id="rId8"/>
  </p:sldMasterIdLst>
  <p:notesMasterIdLst>
    <p:notesMasterId r:id="rId36"/>
  </p:notesMasterIdLst>
  <p:handoutMasterIdLst>
    <p:handoutMasterId r:id="rId37"/>
  </p:handoutMasterIdLst>
  <p:sldIdLst>
    <p:sldId id="256" r:id="rId9"/>
    <p:sldId id="664" r:id="rId10"/>
    <p:sldId id="625" r:id="rId11"/>
    <p:sldId id="2147470292" r:id="rId12"/>
    <p:sldId id="2147470296" r:id="rId13"/>
    <p:sldId id="2147470297" r:id="rId14"/>
    <p:sldId id="2147470298" r:id="rId15"/>
    <p:sldId id="2147470299" r:id="rId16"/>
    <p:sldId id="2147470300" r:id="rId17"/>
    <p:sldId id="2147470301" r:id="rId18"/>
    <p:sldId id="2147470302" r:id="rId19"/>
    <p:sldId id="2147470303" r:id="rId20"/>
    <p:sldId id="2147470304" r:id="rId21"/>
    <p:sldId id="2147470305" r:id="rId22"/>
    <p:sldId id="2147470306" r:id="rId23"/>
    <p:sldId id="2147470307" r:id="rId24"/>
    <p:sldId id="2147470308" r:id="rId25"/>
    <p:sldId id="2147470309" r:id="rId26"/>
    <p:sldId id="2147470310" r:id="rId27"/>
    <p:sldId id="2147470311" r:id="rId28"/>
    <p:sldId id="2147470312" r:id="rId29"/>
    <p:sldId id="2147470313" r:id="rId30"/>
    <p:sldId id="2147470314" r:id="rId31"/>
    <p:sldId id="2147470315" r:id="rId32"/>
    <p:sldId id="2147470316" r:id="rId33"/>
    <p:sldId id="2147470317" r:id="rId34"/>
    <p:sldId id="268" r:id="rId35"/>
  </p:sldIdLst>
  <p:sldSz cx="12436475" cy="6994525"/>
  <p:notesSz cx="6858000" cy="9144000"/>
  <p:defaultTextStyle>
    <a:defPPr>
      <a:defRPr lang="en-US"/>
    </a:defPPr>
    <a:lvl1pPr marL="0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66371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32742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99113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65484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331856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98226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64597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730969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7AC0278-3F03-34E7-8DE3-DED92093EFD3}" name="Kate Mun (KYOUNGRAN)" initials="KM(" userId="S::kymun@microsoft.com::d8a93241-9b9d-4c25-8457-87ffab4b96e2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aku Uchikawa" initials="SU" lastIdx="11" clrIdx="0"/>
  <p:cmAuthor id="1" name="Mary Feil-Jacobs" initials="MFJ" lastIdx="43" clrIdx="1"/>
  <p:cmAuthor id="2" name="Monica Lueder" initials="ML" lastIdx="22" clrIdx="2"/>
  <p:cmAuthor id="3" name="Mary Feil-Jacobs" initials="MF" lastIdx="22" clrIdx="3"/>
  <p:cmAuthor id="4" name="Mark Short" initials="MS" lastIdx="3" clrIdx="4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0000FF"/>
    <a:srgbClr val="0078D7"/>
    <a:srgbClr val="B4009E"/>
    <a:srgbClr val="00188F"/>
    <a:srgbClr val="107C10"/>
    <a:srgbClr val="008272"/>
    <a:srgbClr val="002050"/>
    <a:srgbClr val="00BCF2"/>
    <a:srgbClr val="52525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4A89210-D43A-44D0-9F26-7F0779D60D26}" v="42386" dt="2022-10-20T05:21:40.668"/>
    <p1510:client id="{D0392E92-C1C8-4E77-96D0-D493DA4AC621}" v="24352" dt="2022-10-20T07:16:39.69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86578" autoAdjust="0"/>
  </p:normalViewPr>
  <p:slideViewPr>
    <p:cSldViewPr snapToGrid="0">
      <p:cViewPr varScale="1">
        <p:scale>
          <a:sx n="95" d="100"/>
          <a:sy n="95" d="100"/>
        </p:scale>
        <p:origin x="87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9" Type="http://schemas.openxmlformats.org/officeDocument/2006/relationships/presProps" Target="presProps.xml"/><Relationship Id="rId21" Type="http://schemas.openxmlformats.org/officeDocument/2006/relationships/slide" Target="slides/slide13.xml"/><Relationship Id="rId34" Type="http://schemas.openxmlformats.org/officeDocument/2006/relationships/slide" Target="slides/slide26.xml"/><Relationship Id="rId42" Type="http://schemas.openxmlformats.org/officeDocument/2006/relationships/tableStyles" Target="tableStyles.xml"/><Relationship Id="rId7" Type="http://schemas.openxmlformats.org/officeDocument/2006/relationships/slideMaster" Target="slideMasters/slideMaster3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9" Type="http://schemas.openxmlformats.org/officeDocument/2006/relationships/slide" Target="slides/slide2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handoutMaster" Target="handoutMasters/handoutMaster1.xml"/><Relationship Id="rId40" Type="http://schemas.openxmlformats.org/officeDocument/2006/relationships/viewProps" Target="viewProps.xml"/><Relationship Id="rId45" Type="http://schemas.microsoft.com/office/2018/10/relationships/authors" Target="author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slide" Target="slides/slide23.xml"/><Relationship Id="rId44" Type="http://schemas.microsoft.com/office/2015/10/relationships/revisionInfo" Target="revisionInfo.xml"/><Relationship Id="rId4" Type="http://schemas.openxmlformats.org/officeDocument/2006/relationships/customXml" Target="../customXml/item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slide" Target="slides/slide27.xml"/><Relationship Id="rId43" Type="http://schemas.microsoft.com/office/2016/11/relationships/changesInfo" Target="changesInfos/changesInfo1.xml"/><Relationship Id="rId8" Type="http://schemas.openxmlformats.org/officeDocument/2006/relationships/slideMaster" Target="slideMasters/slideMaster4.xml"/><Relationship Id="rId3" Type="http://schemas.openxmlformats.org/officeDocument/2006/relationships/customXml" Target="../customXml/item3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slide" Target="slides/slide25.xml"/><Relationship Id="rId38" Type="http://schemas.openxmlformats.org/officeDocument/2006/relationships/commentAuthors" Target="commentAuthors.xml"/><Relationship Id="rId20" Type="http://schemas.openxmlformats.org/officeDocument/2006/relationships/slide" Target="slides/slide12.xml"/><Relationship Id="rId41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eung Hoon Park" userId="beddcffd-ce47-4056-b815-24814e3fbfe9" providerId="ADAL" clId="{B4A89210-D43A-44D0-9F26-7F0779D60D26}"/>
    <pc:docChg chg="undo custSel addSld delSld modSld sldOrd modSection">
      <pc:chgData name="Jeung Hoon Park" userId="beddcffd-ce47-4056-b815-24814e3fbfe9" providerId="ADAL" clId="{B4A89210-D43A-44D0-9F26-7F0779D60D26}" dt="2022-10-20T05:21:40.668" v="46668" actId="1036"/>
      <pc:docMkLst>
        <pc:docMk/>
      </pc:docMkLst>
      <pc:sldChg chg="modSp mod">
        <pc:chgData name="Jeung Hoon Park" userId="beddcffd-ce47-4056-b815-24814e3fbfe9" providerId="ADAL" clId="{B4A89210-D43A-44D0-9F26-7F0779D60D26}" dt="2022-09-20T04:09:37.641" v="1335" actId="255"/>
        <pc:sldMkLst>
          <pc:docMk/>
          <pc:sldMk cId="2979975711" sldId="625"/>
        </pc:sldMkLst>
        <pc:spChg chg="mod">
          <ac:chgData name="Jeung Hoon Park" userId="beddcffd-ce47-4056-b815-24814e3fbfe9" providerId="ADAL" clId="{B4A89210-D43A-44D0-9F26-7F0779D60D26}" dt="2022-09-20T04:09:37.641" v="1335" actId="255"/>
          <ac:spMkLst>
            <pc:docMk/>
            <pc:sldMk cId="2979975711" sldId="625"/>
            <ac:spMk id="5" creationId="{F01C4DE8-FED9-4360-822F-E4430EDF3049}"/>
          </ac:spMkLst>
        </pc:spChg>
      </pc:sldChg>
      <pc:sldChg chg="addSp modSp mod">
        <pc:chgData name="Jeung Hoon Park" userId="beddcffd-ce47-4056-b815-24814e3fbfe9" providerId="ADAL" clId="{B4A89210-D43A-44D0-9F26-7F0779D60D26}" dt="2022-10-11T04:50:33.517" v="37113" actId="6549"/>
        <pc:sldMkLst>
          <pc:docMk/>
          <pc:sldMk cId="2125659258" sldId="664"/>
        </pc:sldMkLst>
        <pc:spChg chg="add mod">
          <ac:chgData name="Jeung Hoon Park" userId="beddcffd-ce47-4056-b815-24814e3fbfe9" providerId="ADAL" clId="{B4A89210-D43A-44D0-9F26-7F0779D60D26}" dt="2022-10-11T04:50:33.517" v="37113" actId="6549"/>
          <ac:spMkLst>
            <pc:docMk/>
            <pc:sldMk cId="2125659258" sldId="664"/>
            <ac:spMk id="3" creationId="{F5ED4D7F-6A1E-621E-CF5C-B62E4A70F300}"/>
          </ac:spMkLst>
        </pc:spChg>
        <pc:spChg chg="mod">
          <ac:chgData name="Jeung Hoon Park" userId="beddcffd-ce47-4056-b815-24814e3fbfe9" providerId="ADAL" clId="{B4A89210-D43A-44D0-9F26-7F0779D60D26}" dt="2022-10-11T04:50:28.918" v="37111" actId="6549"/>
          <ac:spMkLst>
            <pc:docMk/>
            <pc:sldMk cId="2125659258" sldId="664"/>
            <ac:spMk id="5" creationId="{3AEF9BFD-FE95-4029-BBEB-74811694E894}"/>
          </ac:spMkLst>
        </pc:spChg>
      </pc:sldChg>
      <pc:sldChg chg="modSp mod">
        <pc:chgData name="Jeung Hoon Park" userId="beddcffd-ce47-4056-b815-24814e3fbfe9" providerId="ADAL" clId="{B4A89210-D43A-44D0-9F26-7F0779D60D26}" dt="2022-10-19T02:10:04.415" v="40664" actId="6549"/>
        <pc:sldMkLst>
          <pc:docMk/>
          <pc:sldMk cId="1849653837" sldId="2147470292"/>
        </pc:sldMkLst>
        <pc:spChg chg="mod">
          <ac:chgData name="Jeung Hoon Park" userId="beddcffd-ce47-4056-b815-24814e3fbfe9" providerId="ADAL" clId="{B4A89210-D43A-44D0-9F26-7F0779D60D26}" dt="2022-10-19T02:10:04.415" v="40664" actId="6549"/>
          <ac:spMkLst>
            <pc:docMk/>
            <pc:sldMk cId="1849653837" sldId="2147470292"/>
            <ac:spMk id="2" creationId="{C9355748-2E5A-FF43-B041-EDECD4D2DAAD}"/>
          </ac:spMkLst>
        </pc:spChg>
        <pc:spChg chg="mod">
          <ac:chgData name="Jeung Hoon Park" userId="beddcffd-ce47-4056-b815-24814e3fbfe9" providerId="ADAL" clId="{B4A89210-D43A-44D0-9F26-7F0779D60D26}" dt="2022-10-19T02:04:44.462" v="40584" actId="6549"/>
          <ac:spMkLst>
            <pc:docMk/>
            <pc:sldMk cId="1849653837" sldId="2147470292"/>
            <ac:spMk id="5" creationId="{0F85905A-5E01-8F50-E18C-9D227C507F1C}"/>
          </ac:spMkLst>
        </pc:spChg>
        <pc:graphicFrameChg chg="mod">
          <ac:chgData name="Jeung Hoon Park" userId="beddcffd-ce47-4056-b815-24814e3fbfe9" providerId="ADAL" clId="{B4A89210-D43A-44D0-9F26-7F0779D60D26}" dt="2022-10-19T02:05:13.278" v="40587" actId="1076"/>
          <ac:graphicFrameMkLst>
            <pc:docMk/>
            <pc:sldMk cId="1849653837" sldId="2147470292"/>
            <ac:graphicFrameMk id="4" creationId="{6F327B46-6214-2BF6-36CE-917C790CC4D0}"/>
          </ac:graphicFrameMkLst>
        </pc:graphicFrameChg>
        <pc:picChg chg="mod">
          <ac:chgData name="Jeung Hoon Park" userId="beddcffd-ce47-4056-b815-24814e3fbfe9" providerId="ADAL" clId="{B4A89210-D43A-44D0-9F26-7F0779D60D26}" dt="2022-10-19T02:04:51.231" v="40585" actId="1076"/>
          <ac:picMkLst>
            <pc:docMk/>
            <pc:sldMk cId="1849653837" sldId="2147470292"/>
            <ac:picMk id="7" creationId="{D6C6685C-8561-172D-26D9-AD73550EA273}"/>
          </ac:picMkLst>
        </pc:picChg>
        <pc:picChg chg="mod">
          <ac:chgData name="Jeung Hoon Park" userId="beddcffd-ce47-4056-b815-24814e3fbfe9" providerId="ADAL" clId="{B4A89210-D43A-44D0-9F26-7F0779D60D26}" dt="2022-10-19T02:05:05.247" v="40586" actId="1076"/>
          <ac:picMkLst>
            <pc:docMk/>
            <pc:sldMk cId="1849653837" sldId="2147470292"/>
            <ac:picMk id="9" creationId="{DE5D740A-322D-939A-AF0C-8CFBFEACC72A}"/>
          </ac:picMkLst>
        </pc:picChg>
      </pc:sldChg>
      <pc:sldChg chg="modSp mod">
        <pc:chgData name="Jeung Hoon Park" userId="beddcffd-ce47-4056-b815-24814e3fbfe9" providerId="ADAL" clId="{B4A89210-D43A-44D0-9F26-7F0779D60D26}" dt="2022-10-12T06:22:54.556" v="40360" actId="20577"/>
        <pc:sldMkLst>
          <pc:docMk/>
          <pc:sldMk cId="1090112917" sldId="2147470294"/>
        </pc:sldMkLst>
        <pc:graphicFrameChg chg="mod modGraphic">
          <ac:chgData name="Jeung Hoon Park" userId="beddcffd-ce47-4056-b815-24814e3fbfe9" providerId="ADAL" clId="{B4A89210-D43A-44D0-9F26-7F0779D60D26}" dt="2022-10-12T06:22:54.556" v="40360" actId="20577"/>
          <ac:graphicFrameMkLst>
            <pc:docMk/>
            <pc:sldMk cId="1090112917" sldId="2147470294"/>
            <ac:graphicFrameMk id="6" creationId="{68528D9B-EBFC-CDC1-FCB5-4876429BE43B}"/>
          </ac:graphicFrameMkLst>
        </pc:graphicFrameChg>
      </pc:sldChg>
      <pc:sldChg chg="addSp delSp modSp mod">
        <pc:chgData name="Jeung Hoon Park" userId="beddcffd-ce47-4056-b815-24814e3fbfe9" providerId="ADAL" clId="{B4A89210-D43A-44D0-9F26-7F0779D60D26}" dt="2022-10-19T02:14:56.343" v="40781" actId="1076"/>
        <pc:sldMkLst>
          <pc:docMk/>
          <pc:sldMk cId="1120900647" sldId="2147470295"/>
        </pc:sldMkLst>
        <pc:spChg chg="mod">
          <ac:chgData name="Jeung Hoon Park" userId="beddcffd-ce47-4056-b815-24814e3fbfe9" providerId="ADAL" clId="{B4A89210-D43A-44D0-9F26-7F0779D60D26}" dt="2022-10-19T02:10:11.804" v="40665" actId="6549"/>
          <ac:spMkLst>
            <pc:docMk/>
            <pc:sldMk cId="1120900647" sldId="2147470295"/>
            <ac:spMk id="2" creationId="{C9355748-2E5A-FF43-B041-EDECD4D2DAAD}"/>
          </ac:spMkLst>
        </pc:spChg>
        <pc:spChg chg="mod">
          <ac:chgData name="Jeung Hoon Park" userId="beddcffd-ce47-4056-b815-24814e3fbfe9" providerId="ADAL" clId="{B4A89210-D43A-44D0-9F26-7F0779D60D26}" dt="2022-10-19T02:07:13.787" v="40646" actId="6549"/>
          <ac:spMkLst>
            <pc:docMk/>
            <pc:sldMk cId="1120900647" sldId="2147470295"/>
            <ac:spMk id="5" creationId="{0F85905A-5E01-8F50-E18C-9D227C507F1C}"/>
          </ac:spMkLst>
        </pc:spChg>
        <pc:graphicFrameChg chg="mod">
          <ac:chgData name="Jeung Hoon Park" userId="beddcffd-ce47-4056-b815-24814e3fbfe9" providerId="ADAL" clId="{B4A89210-D43A-44D0-9F26-7F0779D60D26}" dt="2022-10-19T02:06:01.262" v="40590" actId="1076"/>
          <ac:graphicFrameMkLst>
            <pc:docMk/>
            <pc:sldMk cId="1120900647" sldId="2147470295"/>
            <ac:graphicFrameMk id="6" creationId="{C1A0AFE7-6659-60C4-DFB5-567C4CB2503B}"/>
          </ac:graphicFrameMkLst>
        </pc:graphicFrameChg>
        <pc:picChg chg="add del mod">
          <ac:chgData name="Jeung Hoon Park" userId="beddcffd-ce47-4056-b815-24814e3fbfe9" providerId="ADAL" clId="{B4A89210-D43A-44D0-9F26-7F0779D60D26}" dt="2022-10-19T02:14:50.132" v="40780" actId="478"/>
          <ac:picMkLst>
            <pc:docMk/>
            <pc:sldMk cId="1120900647" sldId="2147470295"/>
            <ac:picMk id="4" creationId="{DEE4A258-D182-83E8-9D09-C99EFB552AE3}"/>
          </ac:picMkLst>
        </pc:picChg>
        <pc:picChg chg="mod">
          <ac:chgData name="Jeung Hoon Park" userId="beddcffd-ce47-4056-b815-24814e3fbfe9" providerId="ADAL" clId="{B4A89210-D43A-44D0-9F26-7F0779D60D26}" dt="2022-10-19T02:14:56.343" v="40781" actId="1076"/>
          <ac:picMkLst>
            <pc:docMk/>
            <pc:sldMk cId="1120900647" sldId="2147470295"/>
            <ac:picMk id="8" creationId="{DCA6866D-A26B-1CC6-A694-A56596B3177E}"/>
          </ac:picMkLst>
        </pc:picChg>
        <pc:picChg chg="mod">
          <ac:chgData name="Jeung Hoon Park" userId="beddcffd-ce47-4056-b815-24814e3fbfe9" providerId="ADAL" clId="{B4A89210-D43A-44D0-9F26-7F0779D60D26}" dt="2022-10-19T02:09:42.287" v="40661" actId="1076"/>
          <ac:picMkLst>
            <pc:docMk/>
            <pc:sldMk cId="1120900647" sldId="2147470295"/>
            <ac:picMk id="10" creationId="{93FE9173-EA8E-AA6F-A4D2-BC1B0FD5E9F1}"/>
          </ac:picMkLst>
        </pc:picChg>
        <pc:inkChg chg="mod">
          <ac:chgData name="Jeung Hoon Park" userId="beddcffd-ce47-4056-b815-24814e3fbfe9" providerId="ADAL" clId="{B4A89210-D43A-44D0-9F26-7F0779D60D26}" dt="2022-10-19T02:09:45.156" v="40662" actId="1076"/>
          <ac:inkMkLst>
            <pc:docMk/>
            <pc:sldMk cId="1120900647" sldId="2147470295"/>
            <ac:inkMk id="11" creationId="{E735B385-8133-199D-7B08-E32D9568B415}"/>
          </ac:inkMkLst>
        </pc:inkChg>
        <pc:inkChg chg="mod">
          <ac:chgData name="Jeung Hoon Park" userId="beddcffd-ce47-4056-b815-24814e3fbfe9" providerId="ADAL" clId="{B4A89210-D43A-44D0-9F26-7F0779D60D26}" dt="2022-10-19T02:09:47.614" v="40663" actId="1076"/>
          <ac:inkMkLst>
            <pc:docMk/>
            <pc:sldMk cId="1120900647" sldId="2147470295"/>
            <ac:inkMk id="12" creationId="{9650A4D9-9AE1-8A94-7B6B-A4B3FEC10E04}"/>
          </ac:inkMkLst>
        </pc:inkChg>
      </pc:sldChg>
      <pc:sldChg chg="addSp delSp modSp add mod">
        <pc:chgData name="Jeung Hoon Park" userId="beddcffd-ce47-4056-b815-24814e3fbfe9" providerId="ADAL" clId="{B4A89210-D43A-44D0-9F26-7F0779D60D26}" dt="2022-10-19T02:13:07.953" v="40738" actId="6549"/>
        <pc:sldMkLst>
          <pc:docMk/>
          <pc:sldMk cId="153395772" sldId="2147470301"/>
        </pc:sldMkLst>
        <pc:spChg chg="mod">
          <ac:chgData name="Jeung Hoon Park" userId="beddcffd-ce47-4056-b815-24814e3fbfe9" providerId="ADAL" clId="{B4A89210-D43A-44D0-9F26-7F0779D60D26}" dt="2022-10-19T02:10:25.007" v="40692" actId="20577"/>
          <ac:spMkLst>
            <pc:docMk/>
            <pc:sldMk cId="153395772" sldId="2147470301"/>
            <ac:spMk id="2" creationId="{C9355748-2E5A-FF43-B041-EDECD4D2DAAD}"/>
          </ac:spMkLst>
        </pc:spChg>
        <pc:spChg chg="mod">
          <ac:chgData name="Jeung Hoon Park" userId="beddcffd-ce47-4056-b815-24814e3fbfe9" providerId="ADAL" clId="{B4A89210-D43A-44D0-9F26-7F0779D60D26}" dt="2022-10-19T02:13:07.953" v="40738" actId="6549"/>
          <ac:spMkLst>
            <pc:docMk/>
            <pc:sldMk cId="153395772" sldId="2147470301"/>
            <ac:spMk id="5" creationId="{0F85905A-5E01-8F50-E18C-9D227C507F1C}"/>
          </ac:spMkLst>
        </pc:spChg>
        <pc:graphicFrameChg chg="del">
          <ac:chgData name="Jeung Hoon Park" userId="beddcffd-ce47-4056-b815-24814e3fbfe9" providerId="ADAL" clId="{B4A89210-D43A-44D0-9F26-7F0779D60D26}" dt="2022-09-20T02:24:59.586" v="162" actId="478"/>
          <ac:graphicFrameMkLst>
            <pc:docMk/>
            <pc:sldMk cId="153395772" sldId="2147470301"/>
            <ac:graphicFrameMk id="6" creationId="{C1A0AFE7-6659-60C4-DFB5-567C4CB2503B}"/>
          </ac:graphicFrameMkLst>
        </pc:graphicFrameChg>
        <pc:picChg chg="add del mod">
          <ac:chgData name="Jeung Hoon Park" userId="beddcffd-ce47-4056-b815-24814e3fbfe9" providerId="ADAL" clId="{B4A89210-D43A-44D0-9F26-7F0779D60D26}" dt="2022-09-20T03:47:32.638" v="231" actId="478"/>
          <ac:picMkLst>
            <pc:docMk/>
            <pc:sldMk cId="153395772" sldId="2147470301"/>
            <ac:picMk id="4" creationId="{30FD07DB-DE0E-CD90-E9ED-F36D93527930}"/>
          </ac:picMkLst>
        </pc:picChg>
        <pc:picChg chg="del mod">
          <ac:chgData name="Jeung Hoon Park" userId="beddcffd-ce47-4056-b815-24814e3fbfe9" providerId="ADAL" clId="{B4A89210-D43A-44D0-9F26-7F0779D60D26}" dt="2022-09-20T02:25:12.745" v="184" actId="478"/>
          <ac:picMkLst>
            <pc:docMk/>
            <pc:sldMk cId="153395772" sldId="2147470301"/>
            <ac:picMk id="8" creationId="{DCA6866D-A26B-1CC6-A694-A56596B3177E}"/>
          </ac:picMkLst>
        </pc:picChg>
        <pc:picChg chg="add mod">
          <ac:chgData name="Jeung Hoon Park" userId="beddcffd-ce47-4056-b815-24814e3fbfe9" providerId="ADAL" clId="{B4A89210-D43A-44D0-9F26-7F0779D60D26}" dt="2022-10-19T02:12:41.956" v="40712" actId="1076"/>
          <ac:picMkLst>
            <pc:docMk/>
            <pc:sldMk cId="153395772" sldId="2147470301"/>
            <ac:picMk id="9" creationId="{D4701094-0A7F-4A75-6739-99ACB4C3253C}"/>
          </ac:picMkLst>
        </pc:picChg>
        <pc:picChg chg="del">
          <ac:chgData name="Jeung Hoon Park" userId="beddcffd-ce47-4056-b815-24814e3fbfe9" providerId="ADAL" clId="{B4A89210-D43A-44D0-9F26-7F0779D60D26}" dt="2022-09-20T02:25:13.185" v="185" actId="478"/>
          <ac:picMkLst>
            <pc:docMk/>
            <pc:sldMk cId="153395772" sldId="2147470301"/>
            <ac:picMk id="10" creationId="{93FE9173-EA8E-AA6F-A4D2-BC1B0FD5E9F1}"/>
          </ac:picMkLst>
        </pc:picChg>
        <pc:inkChg chg="del">
          <ac:chgData name="Jeung Hoon Park" userId="beddcffd-ce47-4056-b815-24814e3fbfe9" providerId="ADAL" clId="{B4A89210-D43A-44D0-9F26-7F0779D60D26}" dt="2022-09-20T02:25:15.330" v="186" actId="478"/>
          <ac:inkMkLst>
            <pc:docMk/>
            <pc:sldMk cId="153395772" sldId="2147470301"/>
            <ac:inkMk id="11" creationId="{E735B385-8133-199D-7B08-E32D9568B415}"/>
          </ac:inkMkLst>
        </pc:inkChg>
        <pc:inkChg chg="del">
          <ac:chgData name="Jeung Hoon Park" userId="beddcffd-ce47-4056-b815-24814e3fbfe9" providerId="ADAL" clId="{B4A89210-D43A-44D0-9F26-7F0779D60D26}" dt="2022-09-20T02:25:16.083" v="187" actId="478"/>
          <ac:inkMkLst>
            <pc:docMk/>
            <pc:sldMk cId="153395772" sldId="2147470301"/>
            <ac:inkMk id="12" creationId="{9650A4D9-9AE1-8A94-7B6B-A4B3FEC10E04}"/>
          </ac:inkMkLst>
        </pc:inkChg>
      </pc:sldChg>
      <pc:sldChg chg="addSp delSp modSp add mod">
        <pc:chgData name="Jeung Hoon Park" userId="beddcffd-ce47-4056-b815-24814e3fbfe9" providerId="ADAL" clId="{B4A89210-D43A-44D0-9F26-7F0779D60D26}" dt="2022-10-19T02:28:27.724" v="40949" actId="1076"/>
        <pc:sldMkLst>
          <pc:docMk/>
          <pc:sldMk cId="2919349683" sldId="2147470303"/>
        </pc:sldMkLst>
        <pc:spChg chg="mod">
          <ac:chgData name="Jeung Hoon Park" userId="beddcffd-ce47-4056-b815-24814e3fbfe9" providerId="ADAL" clId="{B4A89210-D43A-44D0-9F26-7F0779D60D26}" dt="2022-10-19T02:14:01.606" v="40761" actId="20577"/>
          <ac:spMkLst>
            <pc:docMk/>
            <pc:sldMk cId="2919349683" sldId="2147470303"/>
            <ac:spMk id="2" creationId="{C9355748-2E5A-FF43-B041-EDECD4D2DAAD}"/>
          </ac:spMkLst>
        </pc:spChg>
        <pc:spChg chg="mod">
          <ac:chgData name="Jeung Hoon Park" userId="beddcffd-ce47-4056-b815-24814e3fbfe9" providerId="ADAL" clId="{B4A89210-D43A-44D0-9F26-7F0779D60D26}" dt="2022-10-19T02:28:19.639" v="40948" actId="255"/>
          <ac:spMkLst>
            <pc:docMk/>
            <pc:sldMk cId="2919349683" sldId="2147470303"/>
            <ac:spMk id="5" creationId="{0F85905A-5E01-8F50-E18C-9D227C507F1C}"/>
          </ac:spMkLst>
        </pc:spChg>
        <pc:graphicFrameChg chg="add mod modGraphic">
          <ac:chgData name="Jeung Hoon Park" userId="beddcffd-ce47-4056-b815-24814e3fbfe9" providerId="ADAL" clId="{B4A89210-D43A-44D0-9F26-7F0779D60D26}" dt="2022-10-19T02:28:27.724" v="40949" actId="1076"/>
          <ac:graphicFrameMkLst>
            <pc:docMk/>
            <pc:sldMk cId="2919349683" sldId="2147470303"/>
            <ac:graphicFrameMk id="3" creationId="{E204225E-8772-7CC6-DB8C-C8C18BE4FBCE}"/>
          </ac:graphicFrameMkLst>
        </pc:graphicFrameChg>
        <pc:picChg chg="add del mod">
          <ac:chgData name="Jeung Hoon Park" userId="beddcffd-ce47-4056-b815-24814e3fbfe9" providerId="ADAL" clId="{B4A89210-D43A-44D0-9F26-7F0779D60D26}" dt="2022-09-20T03:57:34.872" v="494" actId="22"/>
          <ac:picMkLst>
            <pc:docMk/>
            <pc:sldMk cId="2919349683" sldId="2147470303"/>
            <ac:picMk id="4" creationId="{C77D472E-F7FD-4175-2056-8B4C1BC5142E}"/>
          </ac:picMkLst>
        </pc:picChg>
        <pc:picChg chg="add mod">
          <ac:chgData name="Jeung Hoon Park" userId="beddcffd-ce47-4056-b815-24814e3fbfe9" providerId="ADAL" clId="{B4A89210-D43A-44D0-9F26-7F0779D60D26}" dt="2022-10-19T02:27:54.758" v="40944" actId="1076"/>
          <ac:picMkLst>
            <pc:docMk/>
            <pc:sldMk cId="2919349683" sldId="2147470303"/>
            <ac:picMk id="7" creationId="{306E1A4F-0EB6-BE90-668F-617ECF508858}"/>
          </ac:picMkLst>
        </pc:picChg>
        <pc:picChg chg="del">
          <ac:chgData name="Jeung Hoon Park" userId="beddcffd-ce47-4056-b815-24814e3fbfe9" providerId="ADAL" clId="{B4A89210-D43A-44D0-9F26-7F0779D60D26}" dt="2022-09-20T03:56:57.055" v="490" actId="478"/>
          <ac:picMkLst>
            <pc:docMk/>
            <pc:sldMk cId="2919349683" sldId="2147470303"/>
            <ac:picMk id="9" creationId="{D4701094-0A7F-4A75-6739-99ACB4C3253C}"/>
          </ac:picMkLst>
        </pc:picChg>
      </pc:sldChg>
      <pc:sldChg chg="addSp delSp modSp add mod">
        <pc:chgData name="Jeung Hoon Park" userId="beddcffd-ce47-4056-b815-24814e3fbfe9" providerId="ADAL" clId="{B4A89210-D43A-44D0-9F26-7F0779D60D26}" dt="2022-10-19T02:32:43.295" v="41129" actId="6549"/>
        <pc:sldMkLst>
          <pc:docMk/>
          <pc:sldMk cId="2301649601" sldId="2147470304"/>
        </pc:sldMkLst>
        <pc:spChg chg="mod">
          <ac:chgData name="Jeung Hoon Park" userId="beddcffd-ce47-4056-b815-24814e3fbfe9" providerId="ADAL" clId="{B4A89210-D43A-44D0-9F26-7F0779D60D26}" dt="2022-09-20T05:10:13.380" v="1376" actId="20577"/>
          <ac:spMkLst>
            <pc:docMk/>
            <pc:sldMk cId="2301649601" sldId="2147470304"/>
            <ac:spMk id="2" creationId="{C9355748-2E5A-FF43-B041-EDECD4D2DAAD}"/>
          </ac:spMkLst>
        </pc:spChg>
        <pc:spChg chg="mod">
          <ac:chgData name="Jeung Hoon Park" userId="beddcffd-ce47-4056-b815-24814e3fbfe9" providerId="ADAL" clId="{B4A89210-D43A-44D0-9F26-7F0779D60D26}" dt="2022-10-19T02:32:43.295" v="41129" actId="6549"/>
          <ac:spMkLst>
            <pc:docMk/>
            <pc:sldMk cId="2301649601" sldId="2147470304"/>
            <ac:spMk id="5" creationId="{0F85905A-5E01-8F50-E18C-9D227C507F1C}"/>
          </ac:spMkLst>
        </pc:spChg>
        <pc:picChg chg="add mod">
          <ac:chgData name="Jeung Hoon Park" userId="beddcffd-ce47-4056-b815-24814e3fbfe9" providerId="ADAL" clId="{B4A89210-D43A-44D0-9F26-7F0779D60D26}" dt="2022-10-19T02:31:55.966" v="41013" actId="1076"/>
          <ac:picMkLst>
            <pc:docMk/>
            <pc:sldMk cId="2301649601" sldId="2147470304"/>
            <ac:picMk id="4" creationId="{A8FE9519-1856-CCA3-36CE-9DCC5FBF50BB}"/>
          </ac:picMkLst>
        </pc:picChg>
        <pc:picChg chg="del">
          <ac:chgData name="Jeung Hoon Park" userId="beddcffd-ce47-4056-b815-24814e3fbfe9" providerId="ADAL" clId="{B4A89210-D43A-44D0-9F26-7F0779D60D26}" dt="2022-09-20T05:10:26.496" v="1391" actId="478"/>
          <ac:picMkLst>
            <pc:docMk/>
            <pc:sldMk cId="2301649601" sldId="2147470304"/>
            <ac:picMk id="7" creationId="{306E1A4F-0EB6-BE90-668F-617ECF508858}"/>
          </ac:picMkLst>
        </pc:picChg>
      </pc:sldChg>
      <pc:sldChg chg="addSp delSp modSp add mod">
        <pc:chgData name="Jeung Hoon Park" userId="beddcffd-ce47-4056-b815-24814e3fbfe9" providerId="ADAL" clId="{B4A89210-D43A-44D0-9F26-7F0779D60D26}" dt="2022-10-19T02:36:42.230" v="41416" actId="20577"/>
        <pc:sldMkLst>
          <pc:docMk/>
          <pc:sldMk cId="3161920934" sldId="2147470305"/>
        </pc:sldMkLst>
        <pc:spChg chg="mod">
          <ac:chgData name="Jeung Hoon Park" userId="beddcffd-ce47-4056-b815-24814e3fbfe9" providerId="ADAL" clId="{B4A89210-D43A-44D0-9F26-7F0779D60D26}" dt="2022-10-19T02:36:42.230" v="41416" actId="20577"/>
          <ac:spMkLst>
            <pc:docMk/>
            <pc:sldMk cId="3161920934" sldId="2147470305"/>
            <ac:spMk id="5" creationId="{0F85905A-5E01-8F50-E18C-9D227C507F1C}"/>
          </ac:spMkLst>
        </pc:spChg>
        <pc:picChg chg="del">
          <ac:chgData name="Jeung Hoon Park" userId="beddcffd-ce47-4056-b815-24814e3fbfe9" providerId="ADAL" clId="{B4A89210-D43A-44D0-9F26-7F0779D60D26}" dt="2022-09-20T05:33:43.515" v="2265" actId="478"/>
          <ac:picMkLst>
            <pc:docMk/>
            <pc:sldMk cId="3161920934" sldId="2147470305"/>
            <ac:picMk id="4" creationId="{A8FE9519-1856-CCA3-36CE-9DCC5FBF50BB}"/>
          </ac:picMkLst>
        </pc:picChg>
        <pc:picChg chg="add mod">
          <ac:chgData name="Jeung Hoon Park" userId="beddcffd-ce47-4056-b815-24814e3fbfe9" providerId="ADAL" clId="{B4A89210-D43A-44D0-9F26-7F0779D60D26}" dt="2022-10-19T02:34:03.809" v="41140" actId="14100"/>
          <ac:picMkLst>
            <pc:docMk/>
            <pc:sldMk cId="3161920934" sldId="2147470305"/>
            <ac:picMk id="101378" creationId="{D3EA4977-2FAB-038F-49E9-7123F4FCBFAE}"/>
          </ac:picMkLst>
        </pc:picChg>
      </pc:sldChg>
      <pc:sldChg chg="addSp delSp modSp add mod">
        <pc:chgData name="Jeung Hoon Park" userId="beddcffd-ce47-4056-b815-24814e3fbfe9" providerId="ADAL" clId="{B4A89210-D43A-44D0-9F26-7F0779D60D26}" dt="2022-10-19T02:40:35.352" v="41604" actId="1076"/>
        <pc:sldMkLst>
          <pc:docMk/>
          <pc:sldMk cId="3772837338" sldId="2147470306"/>
        </pc:sldMkLst>
        <pc:spChg chg="mod">
          <ac:chgData name="Jeung Hoon Park" userId="beddcffd-ce47-4056-b815-24814e3fbfe9" providerId="ADAL" clId="{B4A89210-D43A-44D0-9F26-7F0779D60D26}" dt="2022-10-19T02:40:19.446" v="41602" actId="6549"/>
          <ac:spMkLst>
            <pc:docMk/>
            <pc:sldMk cId="3772837338" sldId="2147470306"/>
            <ac:spMk id="5" creationId="{0F85905A-5E01-8F50-E18C-9D227C507F1C}"/>
          </ac:spMkLst>
        </pc:spChg>
        <pc:picChg chg="add mod">
          <ac:chgData name="Jeung Hoon Park" userId="beddcffd-ce47-4056-b815-24814e3fbfe9" providerId="ADAL" clId="{B4A89210-D43A-44D0-9F26-7F0779D60D26}" dt="2022-10-19T02:40:30.235" v="41603" actId="1076"/>
          <ac:picMkLst>
            <pc:docMk/>
            <pc:sldMk cId="3772837338" sldId="2147470306"/>
            <ac:picMk id="4" creationId="{D85D3474-1A0F-3448-3E4D-DA9EC400F804}"/>
          </ac:picMkLst>
        </pc:picChg>
        <pc:picChg chg="add mod">
          <ac:chgData name="Jeung Hoon Park" userId="beddcffd-ce47-4056-b815-24814e3fbfe9" providerId="ADAL" clId="{B4A89210-D43A-44D0-9F26-7F0779D60D26}" dt="2022-10-19T02:40:35.352" v="41604" actId="1076"/>
          <ac:picMkLst>
            <pc:docMk/>
            <pc:sldMk cId="3772837338" sldId="2147470306"/>
            <ac:picMk id="7" creationId="{F8C04DBB-0218-5A1D-D816-516F52AE471D}"/>
          </ac:picMkLst>
        </pc:picChg>
        <pc:picChg chg="del">
          <ac:chgData name="Jeung Hoon Park" userId="beddcffd-ce47-4056-b815-24814e3fbfe9" providerId="ADAL" clId="{B4A89210-D43A-44D0-9F26-7F0779D60D26}" dt="2022-09-20T05:46:47.067" v="3278" actId="478"/>
          <ac:picMkLst>
            <pc:docMk/>
            <pc:sldMk cId="3772837338" sldId="2147470306"/>
            <ac:picMk id="101378" creationId="{D3EA4977-2FAB-038F-49E9-7123F4FCBFAE}"/>
          </ac:picMkLst>
        </pc:picChg>
      </pc:sldChg>
      <pc:sldChg chg="addSp delSp modSp add mod">
        <pc:chgData name="Jeung Hoon Park" userId="beddcffd-ce47-4056-b815-24814e3fbfe9" providerId="ADAL" clId="{B4A89210-D43A-44D0-9F26-7F0779D60D26}" dt="2022-10-19T02:46:05.169" v="41804" actId="1076"/>
        <pc:sldMkLst>
          <pc:docMk/>
          <pc:sldMk cId="4112861408" sldId="2147470307"/>
        </pc:sldMkLst>
        <pc:spChg chg="mod">
          <ac:chgData name="Jeung Hoon Park" userId="beddcffd-ce47-4056-b815-24814e3fbfe9" providerId="ADAL" clId="{B4A89210-D43A-44D0-9F26-7F0779D60D26}" dt="2022-10-19T02:41:31.903" v="41644" actId="20577"/>
          <ac:spMkLst>
            <pc:docMk/>
            <pc:sldMk cId="4112861408" sldId="2147470307"/>
            <ac:spMk id="2" creationId="{C9355748-2E5A-FF43-B041-EDECD4D2DAAD}"/>
          </ac:spMkLst>
        </pc:spChg>
        <pc:spChg chg="mod">
          <ac:chgData name="Jeung Hoon Park" userId="beddcffd-ce47-4056-b815-24814e3fbfe9" providerId="ADAL" clId="{B4A89210-D43A-44D0-9F26-7F0779D60D26}" dt="2022-10-19T02:45:53.507" v="41802" actId="6549"/>
          <ac:spMkLst>
            <pc:docMk/>
            <pc:sldMk cId="4112861408" sldId="2147470307"/>
            <ac:spMk id="5" creationId="{0F85905A-5E01-8F50-E18C-9D227C507F1C}"/>
          </ac:spMkLst>
        </pc:spChg>
        <pc:picChg chg="add mod">
          <ac:chgData name="Jeung Hoon Park" userId="beddcffd-ce47-4056-b815-24814e3fbfe9" providerId="ADAL" clId="{B4A89210-D43A-44D0-9F26-7F0779D60D26}" dt="2022-10-19T02:46:05.169" v="41804" actId="1076"/>
          <ac:picMkLst>
            <pc:docMk/>
            <pc:sldMk cId="4112861408" sldId="2147470307"/>
            <ac:picMk id="4" creationId="{D79295E6-68E1-C1D7-C026-FB3D7CC013B3}"/>
          </ac:picMkLst>
        </pc:picChg>
        <pc:picChg chg="del">
          <ac:chgData name="Jeung Hoon Park" userId="beddcffd-ce47-4056-b815-24814e3fbfe9" providerId="ADAL" clId="{B4A89210-D43A-44D0-9F26-7F0779D60D26}" dt="2022-09-20T06:00:55.023" v="3780" actId="478"/>
          <ac:picMkLst>
            <pc:docMk/>
            <pc:sldMk cId="4112861408" sldId="2147470307"/>
            <ac:picMk id="4" creationId="{D85D3474-1A0F-3448-3E4D-DA9EC400F804}"/>
          </ac:picMkLst>
        </pc:picChg>
        <pc:picChg chg="del">
          <ac:chgData name="Jeung Hoon Park" userId="beddcffd-ce47-4056-b815-24814e3fbfe9" providerId="ADAL" clId="{B4A89210-D43A-44D0-9F26-7F0779D60D26}" dt="2022-09-20T06:00:55.448" v="3781" actId="478"/>
          <ac:picMkLst>
            <pc:docMk/>
            <pc:sldMk cId="4112861408" sldId="2147470307"/>
            <ac:picMk id="7" creationId="{F8C04DBB-0218-5A1D-D816-516F52AE471D}"/>
          </ac:picMkLst>
        </pc:picChg>
        <pc:picChg chg="add del mod">
          <ac:chgData name="Jeung Hoon Park" userId="beddcffd-ce47-4056-b815-24814e3fbfe9" providerId="ADAL" clId="{B4A89210-D43A-44D0-9F26-7F0779D60D26}" dt="2022-10-19T02:42:56.351" v="41666" actId="478"/>
          <ac:picMkLst>
            <pc:docMk/>
            <pc:sldMk cId="4112861408" sldId="2147470307"/>
            <ac:picMk id="102402" creationId="{B03049EE-9E7B-5982-4AE8-1847A622C4A1}"/>
          </ac:picMkLst>
        </pc:picChg>
      </pc:sldChg>
      <pc:sldChg chg="addSp delSp modSp add mod">
        <pc:chgData name="Jeung Hoon Park" userId="beddcffd-ce47-4056-b815-24814e3fbfe9" providerId="ADAL" clId="{B4A89210-D43A-44D0-9F26-7F0779D60D26}" dt="2022-10-19T02:51:50.061" v="41867" actId="1076"/>
        <pc:sldMkLst>
          <pc:docMk/>
          <pc:sldMk cId="791780155" sldId="2147470308"/>
        </pc:sldMkLst>
        <pc:spChg chg="mod">
          <ac:chgData name="Jeung Hoon Park" userId="beddcffd-ce47-4056-b815-24814e3fbfe9" providerId="ADAL" clId="{B4A89210-D43A-44D0-9F26-7F0779D60D26}" dt="2022-10-19T02:47:13.966" v="41820" actId="20577"/>
          <ac:spMkLst>
            <pc:docMk/>
            <pc:sldMk cId="791780155" sldId="2147470308"/>
            <ac:spMk id="2" creationId="{C9355748-2E5A-FF43-B041-EDECD4D2DAAD}"/>
          </ac:spMkLst>
        </pc:spChg>
        <pc:spChg chg="mod">
          <ac:chgData name="Jeung Hoon Park" userId="beddcffd-ce47-4056-b815-24814e3fbfe9" providerId="ADAL" clId="{B4A89210-D43A-44D0-9F26-7F0779D60D26}" dt="2022-10-19T02:50:37.636" v="41865" actId="6549"/>
          <ac:spMkLst>
            <pc:docMk/>
            <pc:sldMk cId="791780155" sldId="2147470308"/>
            <ac:spMk id="5" creationId="{0F85905A-5E01-8F50-E18C-9D227C507F1C}"/>
          </ac:spMkLst>
        </pc:spChg>
        <pc:spChg chg="add del">
          <ac:chgData name="Jeung Hoon Park" userId="beddcffd-ce47-4056-b815-24814e3fbfe9" providerId="ADAL" clId="{B4A89210-D43A-44D0-9F26-7F0779D60D26}" dt="2022-09-20T06:47:39.511" v="5743" actId="11529"/>
          <ac:spMkLst>
            <pc:docMk/>
            <pc:sldMk cId="791780155" sldId="2147470308"/>
            <ac:spMk id="9" creationId="{ECF8DC82-60FE-BEA4-A612-678F726B77AC}"/>
          </ac:spMkLst>
        </pc:spChg>
        <pc:spChg chg="add del">
          <ac:chgData name="Jeung Hoon Park" userId="beddcffd-ce47-4056-b815-24814e3fbfe9" providerId="ADAL" clId="{B4A89210-D43A-44D0-9F26-7F0779D60D26}" dt="2022-09-20T06:47:47.803" v="5745" actId="11529"/>
          <ac:spMkLst>
            <pc:docMk/>
            <pc:sldMk cId="791780155" sldId="2147470308"/>
            <ac:spMk id="10" creationId="{321C7667-5124-9AF7-7465-7E06CD5A8690}"/>
          </ac:spMkLst>
        </pc:spChg>
        <pc:spChg chg="add mod">
          <ac:chgData name="Jeung Hoon Park" userId="beddcffd-ce47-4056-b815-24814e3fbfe9" providerId="ADAL" clId="{B4A89210-D43A-44D0-9F26-7F0779D60D26}" dt="2022-10-19T02:49:03.489" v="41832" actId="1076"/>
          <ac:spMkLst>
            <pc:docMk/>
            <pc:sldMk cId="791780155" sldId="2147470308"/>
            <ac:spMk id="13" creationId="{64958C12-AFF2-1479-922B-138C2E8BE187}"/>
          </ac:spMkLst>
        </pc:spChg>
        <pc:spChg chg="add mod">
          <ac:chgData name="Jeung Hoon Park" userId="beddcffd-ce47-4056-b815-24814e3fbfe9" providerId="ADAL" clId="{B4A89210-D43A-44D0-9F26-7F0779D60D26}" dt="2022-10-19T02:49:36.040" v="41835" actId="1076"/>
          <ac:spMkLst>
            <pc:docMk/>
            <pc:sldMk cId="791780155" sldId="2147470308"/>
            <ac:spMk id="14" creationId="{A0CA8345-48B5-D9D0-51F5-69B806EDF01B}"/>
          </ac:spMkLst>
        </pc:spChg>
        <pc:spChg chg="add mod">
          <ac:chgData name="Jeung Hoon Park" userId="beddcffd-ce47-4056-b815-24814e3fbfe9" providerId="ADAL" clId="{B4A89210-D43A-44D0-9F26-7F0779D60D26}" dt="2022-10-19T02:50:00.924" v="41836" actId="1076"/>
          <ac:spMkLst>
            <pc:docMk/>
            <pc:sldMk cId="791780155" sldId="2147470308"/>
            <ac:spMk id="15" creationId="{83715708-AB97-6143-31CF-0E8A24DA1180}"/>
          </ac:spMkLst>
        </pc:spChg>
        <pc:picChg chg="add mod">
          <ac:chgData name="Jeung Hoon Park" userId="beddcffd-ce47-4056-b815-24814e3fbfe9" providerId="ADAL" clId="{B4A89210-D43A-44D0-9F26-7F0779D60D26}" dt="2022-10-19T02:48:52.650" v="41831" actId="1076"/>
          <ac:picMkLst>
            <pc:docMk/>
            <pc:sldMk cId="791780155" sldId="2147470308"/>
            <ac:picMk id="4" creationId="{86A8943B-9FB3-87A6-EBFF-8BE0BE823CD6}"/>
          </ac:picMkLst>
        </pc:picChg>
        <pc:picChg chg="add mod">
          <ac:chgData name="Jeung Hoon Park" userId="beddcffd-ce47-4056-b815-24814e3fbfe9" providerId="ADAL" clId="{B4A89210-D43A-44D0-9F26-7F0779D60D26}" dt="2022-10-19T02:49:20.190" v="41834" actId="1076"/>
          <ac:picMkLst>
            <pc:docMk/>
            <pc:sldMk cId="791780155" sldId="2147470308"/>
            <ac:picMk id="7" creationId="{7A427823-7B86-2BEB-5161-176F0EBD84CF}"/>
          </ac:picMkLst>
        </pc:picChg>
        <pc:picChg chg="del">
          <ac:chgData name="Jeung Hoon Park" userId="beddcffd-ce47-4056-b815-24814e3fbfe9" providerId="ADAL" clId="{B4A89210-D43A-44D0-9F26-7F0779D60D26}" dt="2022-09-20T06:25:30.324" v="5172" actId="478"/>
          <ac:picMkLst>
            <pc:docMk/>
            <pc:sldMk cId="791780155" sldId="2147470308"/>
            <ac:picMk id="102402" creationId="{B03049EE-9E7B-5982-4AE8-1847A622C4A1}"/>
          </ac:picMkLst>
        </pc:picChg>
        <pc:picChg chg="add mod">
          <ac:chgData name="Jeung Hoon Park" userId="beddcffd-ce47-4056-b815-24814e3fbfe9" providerId="ADAL" clId="{B4A89210-D43A-44D0-9F26-7F0779D60D26}" dt="2022-10-19T02:51:50.061" v="41867" actId="1076"/>
          <ac:picMkLst>
            <pc:docMk/>
            <pc:sldMk cId="791780155" sldId="2147470308"/>
            <ac:picMk id="104450" creationId="{471E6CF5-D8BA-1EC1-FBA4-91849DD578CE}"/>
          </ac:picMkLst>
        </pc:picChg>
        <pc:inkChg chg="add del">
          <ac:chgData name="Jeung Hoon Park" userId="beddcffd-ce47-4056-b815-24814e3fbfe9" providerId="ADAL" clId="{B4A89210-D43A-44D0-9F26-7F0779D60D26}" dt="2022-09-20T06:47:18.152" v="5741" actId="9405"/>
          <ac:inkMkLst>
            <pc:docMk/>
            <pc:sldMk cId="791780155" sldId="2147470308"/>
            <ac:inkMk id="8" creationId="{807EB970-328B-AE78-A57F-79E73356ADC8}"/>
          </ac:inkMkLst>
        </pc:inkChg>
        <pc:cxnChg chg="add del">
          <ac:chgData name="Jeung Hoon Park" userId="beddcffd-ce47-4056-b815-24814e3fbfe9" providerId="ADAL" clId="{B4A89210-D43A-44D0-9F26-7F0779D60D26}" dt="2022-09-20T06:48:00.598" v="5747" actId="11529"/>
          <ac:cxnSpMkLst>
            <pc:docMk/>
            <pc:sldMk cId="791780155" sldId="2147470308"/>
            <ac:cxnSpMk id="12" creationId="{E0256D44-DD3B-0DF4-F577-1FA8B1FDB1B4}"/>
          </ac:cxnSpMkLst>
        </pc:cxnChg>
      </pc:sldChg>
      <pc:sldChg chg="addSp delSp modSp add mod">
        <pc:chgData name="Jeung Hoon Park" userId="beddcffd-ce47-4056-b815-24814e3fbfe9" providerId="ADAL" clId="{B4A89210-D43A-44D0-9F26-7F0779D60D26}" dt="2022-10-19T03:01:33.999" v="42162" actId="20577"/>
        <pc:sldMkLst>
          <pc:docMk/>
          <pc:sldMk cId="1504937118" sldId="2147470309"/>
        </pc:sldMkLst>
        <pc:spChg chg="mod">
          <ac:chgData name="Jeung Hoon Park" userId="beddcffd-ce47-4056-b815-24814e3fbfe9" providerId="ADAL" clId="{B4A89210-D43A-44D0-9F26-7F0779D60D26}" dt="2022-10-19T03:01:33.999" v="42162" actId="20577"/>
          <ac:spMkLst>
            <pc:docMk/>
            <pc:sldMk cId="1504937118" sldId="2147470309"/>
            <ac:spMk id="2" creationId="{C9355748-2E5A-FF43-B041-EDECD4D2DAAD}"/>
          </ac:spMkLst>
        </pc:spChg>
        <pc:spChg chg="mod">
          <ac:chgData name="Jeung Hoon Park" userId="beddcffd-ce47-4056-b815-24814e3fbfe9" providerId="ADAL" clId="{B4A89210-D43A-44D0-9F26-7F0779D60D26}" dt="2022-10-19T02:52:53.268" v="41911" actId="255"/>
          <ac:spMkLst>
            <pc:docMk/>
            <pc:sldMk cId="1504937118" sldId="2147470309"/>
            <ac:spMk id="5" creationId="{0F85905A-5E01-8F50-E18C-9D227C507F1C}"/>
          </ac:spMkLst>
        </pc:spChg>
        <pc:spChg chg="del">
          <ac:chgData name="Jeung Hoon Park" userId="beddcffd-ce47-4056-b815-24814e3fbfe9" providerId="ADAL" clId="{B4A89210-D43A-44D0-9F26-7F0779D60D26}" dt="2022-09-20T06:51:46.727" v="5914" actId="478"/>
          <ac:spMkLst>
            <pc:docMk/>
            <pc:sldMk cId="1504937118" sldId="2147470309"/>
            <ac:spMk id="13" creationId="{64958C12-AFF2-1479-922B-138C2E8BE187}"/>
          </ac:spMkLst>
        </pc:spChg>
        <pc:spChg chg="del">
          <ac:chgData name="Jeung Hoon Park" userId="beddcffd-ce47-4056-b815-24814e3fbfe9" providerId="ADAL" clId="{B4A89210-D43A-44D0-9F26-7F0779D60D26}" dt="2022-09-20T06:51:49.035" v="5915" actId="478"/>
          <ac:spMkLst>
            <pc:docMk/>
            <pc:sldMk cId="1504937118" sldId="2147470309"/>
            <ac:spMk id="14" creationId="{A0CA8345-48B5-D9D0-51F5-69B806EDF01B}"/>
          </ac:spMkLst>
        </pc:spChg>
        <pc:spChg chg="del">
          <ac:chgData name="Jeung Hoon Park" userId="beddcffd-ce47-4056-b815-24814e3fbfe9" providerId="ADAL" clId="{B4A89210-D43A-44D0-9F26-7F0779D60D26}" dt="2022-09-20T06:51:56.334" v="5918" actId="478"/>
          <ac:spMkLst>
            <pc:docMk/>
            <pc:sldMk cId="1504937118" sldId="2147470309"/>
            <ac:spMk id="15" creationId="{83715708-AB97-6143-31CF-0E8A24DA1180}"/>
          </ac:spMkLst>
        </pc:spChg>
        <pc:picChg chg="del">
          <ac:chgData name="Jeung Hoon Park" userId="beddcffd-ce47-4056-b815-24814e3fbfe9" providerId="ADAL" clId="{B4A89210-D43A-44D0-9F26-7F0779D60D26}" dt="2022-09-20T06:51:44.573" v="5912" actId="478"/>
          <ac:picMkLst>
            <pc:docMk/>
            <pc:sldMk cId="1504937118" sldId="2147470309"/>
            <ac:picMk id="4" creationId="{86A8943B-9FB3-87A6-EBFF-8BE0BE823CD6}"/>
          </ac:picMkLst>
        </pc:picChg>
        <pc:picChg chg="add mod">
          <ac:chgData name="Jeung Hoon Park" userId="beddcffd-ce47-4056-b815-24814e3fbfe9" providerId="ADAL" clId="{B4A89210-D43A-44D0-9F26-7F0779D60D26}" dt="2022-10-19T02:53:04.776" v="41914" actId="1076"/>
          <ac:picMkLst>
            <pc:docMk/>
            <pc:sldMk cId="1504937118" sldId="2147470309"/>
            <ac:picMk id="6" creationId="{EB034087-DCF3-D81B-880C-74AFA6115043}"/>
          </ac:picMkLst>
        </pc:picChg>
        <pc:picChg chg="del">
          <ac:chgData name="Jeung Hoon Park" userId="beddcffd-ce47-4056-b815-24814e3fbfe9" providerId="ADAL" clId="{B4A89210-D43A-44D0-9F26-7F0779D60D26}" dt="2022-09-20T06:51:44.998" v="5913" actId="478"/>
          <ac:picMkLst>
            <pc:docMk/>
            <pc:sldMk cId="1504937118" sldId="2147470309"/>
            <ac:picMk id="7" creationId="{7A427823-7B86-2BEB-5161-176F0EBD84CF}"/>
          </ac:picMkLst>
        </pc:picChg>
        <pc:picChg chg="add mod">
          <ac:chgData name="Jeung Hoon Park" userId="beddcffd-ce47-4056-b815-24814e3fbfe9" providerId="ADAL" clId="{B4A89210-D43A-44D0-9F26-7F0779D60D26}" dt="2022-10-19T02:53:10.940" v="41916" actId="1076"/>
          <ac:picMkLst>
            <pc:docMk/>
            <pc:sldMk cId="1504937118" sldId="2147470309"/>
            <ac:picMk id="9" creationId="{20019B4F-D1BA-D62A-0D0B-533E87CA7990}"/>
          </ac:picMkLst>
        </pc:picChg>
        <pc:picChg chg="add mod">
          <ac:chgData name="Jeung Hoon Park" userId="beddcffd-ce47-4056-b815-24814e3fbfe9" providerId="ADAL" clId="{B4A89210-D43A-44D0-9F26-7F0779D60D26}" dt="2022-10-19T02:53:08.816" v="41915" actId="1076"/>
          <ac:picMkLst>
            <pc:docMk/>
            <pc:sldMk cId="1504937118" sldId="2147470309"/>
            <ac:picMk id="11" creationId="{5AB24104-7C1E-E6E8-936E-EEDFBF08876F}"/>
          </ac:picMkLst>
        </pc:picChg>
        <pc:picChg chg="del">
          <ac:chgData name="Jeung Hoon Park" userId="beddcffd-ce47-4056-b815-24814e3fbfe9" providerId="ADAL" clId="{B4A89210-D43A-44D0-9F26-7F0779D60D26}" dt="2022-09-20T06:51:53.155" v="5916" actId="478"/>
          <ac:picMkLst>
            <pc:docMk/>
            <pc:sldMk cId="1504937118" sldId="2147470309"/>
            <ac:picMk id="104450" creationId="{471E6CF5-D8BA-1EC1-FBA4-91849DD578CE}"/>
          </ac:picMkLst>
        </pc:picChg>
      </pc:sldChg>
      <pc:sldChg chg="addSp delSp modSp add mod">
        <pc:chgData name="Jeung Hoon Park" userId="beddcffd-ce47-4056-b815-24814e3fbfe9" providerId="ADAL" clId="{B4A89210-D43A-44D0-9F26-7F0779D60D26}" dt="2022-10-19T03:01:50.890" v="42190" actId="6549"/>
        <pc:sldMkLst>
          <pc:docMk/>
          <pc:sldMk cId="502563613" sldId="2147470310"/>
        </pc:sldMkLst>
        <pc:spChg chg="mod">
          <ac:chgData name="Jeung Hoon Park" userId="beddcffd-ce47-4056-b815-24814e3fbfe9" providerId="ADAL" clId="{B4A89210-D43A-44D0-9F26-7F0779D60D26}" dt="2022-10-19T03:01:50.890" v="42190" actId="6549"/>
          <ac:spMkLst>
            <pc:docMk/>
            <pc:sldMk cId="502563613" sldId="2147470310"/>
            <ac:spMk id="2" creationId="{C9355748-2E5A-FF43-B041-EDECD4D2DAAD}"/>
          </ac:spMkLst>
        </pc:spChg>
        <pc:spChg chg="mod">
          <ac:chgData name="Jeung Hoon Park" userId="beddcffd-ce47-4056-b815-24814e3fbfe9" providerId="ADAL" clId="{B4A89210-D43A-44D0-9F26-7F0779D60D26}" dt="2022-10-19T02:57:40.664" v="42015" actId="6549"/>
          <ac:spMkLst>
            <pc:docMk/>
            <pc:sldMk cId="502563613" sldId="2147470310"/>
            <ac:spMk id="5" creationId="{0F85905A-5E01-8F50-E18C-9D227C507F1C}"/>
          </ac:spMkLst>
        </pc:spChg>
        <pc:graphicFrameChg chg="add mod modGraphic">
          <ac:chgData name="Jeung Hoon Park" userId="beddcffd-ce47-4056-b815-24814e3fbfe9" providerId="ADAL" clId="{B4A89210-D43A-44D0-9F26-7F0779D60D26}" dt="2022-10-19T02:55:59.206" v="41980" actId="1076"/>
          <ac:graphicFrameMkLst>
            <pc:docMk/>
            <pc:sldMk cId="502563613" sldId="2147470310"/>
            <ac:graphicFrameMk id="7" creationId="{E4EF64A4-EC77-FE2F-FCA7-D33E43A34441}"/>
          </ac:graphicFrameMkLst>
        </pc:graphicFrameChg>
        <pc:picChg chg="add del">
          <ac:chgData name="Jeung Hoon Park" userId="beddcffd-ce47-4056-b815-24814e3fbfe9" providerId="ADAL" clId="{B4A89210-D43A-44D0-9F26-7F0779D60D26}" dt="2022-09-21T02:07:36.522" v="6450" actId="22"/>
          <ac:picMkLst>
            <pc:docMk/>
            <pc:sldMk cId="502563613" sldId="2147470310"/>
            <ac:picMk id="4" creationId="{849F0A03-A4D6-B352-F4EA-4936214944B1}"/>
          </ac:picMkLst>
        </pc:picChg>
        <pc:picChg chg="del">
          <ac:chgData name="Jeung Hoon Park" userId="beddcffd-ce47-4056-b815-24814e3fbfe9" providerId="ADAL" clId="{B4A89210-D43A-44D0-9F26-7F0779D60D26}" dt="2022-09-21T01:53:04.844" v="6447" actId="478"/>
          <ac:picMkLst>
            <pc:docMk/>
            <pc:sldMk cId="502563613" sldId="2147470310"/>
            <ac:picMk id="6" creationId="{EB034087-DCF3-D81B-880C-74AFA6115043}"/>
          </ac:picMkLst>
        </pc:picChg>
        <pc:picChg chg="del">
          <ac:chgData name="Jeung Hoon Park" userId="beddcffd-ce47-4056-b815-24814e3fbfe9" providerId="ADAL" clId="{B4A89210-D43A-44D0-9F26-7F0779D60D26}" dt="2022-09-21T01:53:02.841" v="6446" actId="478"/>
          <ac:picMkLst>
            <pc:docMk/>
            <pc:sldMk cId="502563613" sldId="2147470310"/>
            <ac:picMk id="9" creationId="{20019B4F-D1BA-D62A-0D0B-533E87CA7990}"/>
          </ac:picMkLst>
        </pc:picChg>
        <pc:picChg chg="add mod">
          <ac:chgData name="Jeung Hoon Park" userId="beddcffd-ce47-4056-b815-24814e3fbfe9" providerId="ADAL" clId="{B4A89210-D43A-44D0-9F26-7F0779D60D26}" dt="2022-10-19T02:57:28.494" v="41998" actId="1037"/>
          <ac:picMkLst>
            <pc:docMk/>
            <pc:sldMk cId="502563613" sldId="2147470310"/>
            <ac:picMk id="10" creationId="{F3487F00-621E-4C1B-3761-9A7C6790D3B1}"/>
          </ac:picMkLst>
        </pc:picChg>
        <pc:picChg chg="del">
          <ac:chgData name="Jeung Hoon Park" userId="beddcffd-ce47-4056-b815-24814e3fbfe9" providerId="ADAL" clId="{B4A89210-D43A-44D0-9F26-7F0779D60D26}" dt="2022-09-21T01:53:05.548" v="6448" actId="478"/>
          <ac:picMkLst>
            <pc:docMk/>
            <pc:sldMk cId="502563613" sldId="2147470310"/>
            <ac:picMk id="11" creationId="{5AB24104-7C1E-E6E8-936E-EEDFBF08876F}"/>
          </ac:picMkLst>
        </pc:picChg>
        <pc:picChg chg="add mod">
          <ac:chgData name="Jeung Hoon Park" userId="beddcffd-ce47-4056-b815-24814e3fbfe9" providerId="ADAL" clId="{B4A89210-D43A-44D0-9F26-7F0779D60D26}" dt="2022-10-19T02:56:35.154" v="41992" actId="1038"/>
          <ac:picMkLst>
            <pc:docMk/>
            <pc:sldMk cId="502563613" sldId="2147470310"/>
            <ac:picMk id="13" creationId="{6806FD2B-7C14-2BD1-316B-8C56D8051068}"/>
          </ac:picMkLst>
        </pc:picChg>
      </pc:sldChg>
      <pc:sldChg chg="addSp delSp modSp add del mod">
        <pc:chgData name="Jeung Hoon Park" userId="beddcffd-ce47-4056-b815-24814e3fbfe9" providerId="ADAL" clId="{B4A89210-D43A-44D0-9F26-7F0779D60D26}" dt="2022-10-19T03:01:11.456" v="42135" actId="47"/>
        <pc:sldMkLst>
          <pc:docMk/>
          <pc:sldMk cId="4276914669" sldId="2147470311"/>
        </pc:sldMkLst>
        <pc:spChg chg="mod">
          <ac:chgData name="Jeung Hoon Park" userId="beddcffd-ce47-4056-b815-24814e3fbfe9" providerId="ADAL" clId="{B4A89210-D43A-44D0-9F26-7F0779D60D26}" dt="2022-10-19T02:58:46.415" v="42101" actId="20577"/>
          <ac:spMkLst>
            <pc:docMk/>
            <pc:sldMk cId="4276914669" sldId="2147470311"/>
            <ac:spMk id="2" creationId="{C9355748-2E5A-FF43-B041-EDECD4D2DAAD}"/>
          </ac:spMkLst>
        </pc:spChg>
        <pc:spChg chg="mod">
          <ac:chgData name="Jeung Hoon Park" userId="beddcffd-ce47-4056-b815-24814e3fbfe9" providerId="ADAL" clId="{B4A89210-D43A-44D0-9F26-7F0779D60D26}" dt="2022-10-19T02:59:44.927" v="42106"/>
          <ac:spMkLst>
            <pc:docMk/>
            <pc:sldMk cId="4276914669" sldId="2147470311"/>
            <ac:spMk id="5" creationId="{0F85905A-5E01-8F50-E18C-9D227C507F1C}"/>
          </ac:spMkLst>
        </pc:spChg>
        <pc:graphicFrameChg chg="del">
          <ac:chgData name="Jeung Hoon Park" userId="beddcffd-ce47-4056-b815-24814e3fbfe9" providerId="ADAL" clId="{B4A89210-D43A-44D0-9F26-7F0779D60D26}" dt="2022-09-21T02:13:40.537" v="6791" actId="478"/>
          <ac:graphicFrameMkLst>
            <pc:docMk/>
            <pc:sldMk cId="4276914669" sldId="2147470311"/>
            <ac:graphicFrameMk id="7" creationId="{E4EF64A4-EC77-FE2F-FCA7-D33E43A34441}"/>
          </ac:graphicFrameMkLst>
        </pc:graphicFrameChg>
        <pc:picChg chg="add mod">
          <ac:chgData name="Jeung Hoon Park" userId="beddcffd-ce47-4056-b815-24814e3fbfe9" providerId="ADAL" clId="{B4A89210-D43A-44D0-9F26-7F0779D60D26}" dt="2022-10-19T03:01:09.244" v="42134" actId="1076"/>
          <ac:picMkLst>
            <pc:docMk/>
            <pc:sldMk cId="4276914669" sldId="2147470311"/>
            <ac:picMk id="4" creationId="{4A50D4E3-8058-CE5C-826B-B1B579796A21}"/>
          </ac:picMkLst>
        </pc:picChg>
        <pc:picChg chg="del">
          <ac:chgData name="Jeung Hoon Park" userId="beddcffd-ce47-4056-b815-24814e3fbfe9" providerId="ADAL" clId="{B4A89210-D43A-44D0-9F26-7F0779D60D26}" dt="2022-09-21T02:13:42.698" v="6792" actId="478"/>
          <ac:picMkLst>
            <pc:docMk/>
            <pc:sldMk cId="4276914669" sldId="2147470311"/>
            <ac:picMk id="10" creationId="{F3487F00-621E-4C1B-3761-9A7C6790D3B1}"/>
          </ac:picMkLst>
        </pc:picChg>
        <pc:picChg chg="del">
          <ac:chgData name="Jeung Hoon Park" userId="beddcffd-ce47-4056-b815-24814e3fbfe9" providerId="ADAL" clId="{B4A89210-D43A-44D0-9F26-7F0779D60D26}" dt="2022-09-21T02:13:43.308" v="6793" actId="478"/>
          <ac:picMkLst>
            <pc:docMk/>
            <pc:sldMk cId="4276914669" sldId="2147470311"/>
            <ac:picMk id="13" creationId="{6806FD2B-7C14-2BD1-316B-8C56D8051068}"/>
          </ac:picMkLst>
        </pc:picChg>
      </pc:sldChg>
      <pc:sldChg chg="addSp delSp modSp add mod">
        <pc:chgData name="Jeung Hoon Park" userId="beddcffd-ce47-4056-b815-24814e3fbfe9" providerId="ADAL" clId="{B4A89210-D43A-44D0-9F26-7F0779D60D26}" dt="2022-10-19T03:06:12.214" v="42449" actId="6549"/>
        <pc:sldMkLst>
          <pc:docMk/>
          <pc:sldMk cId="1013740762" sldId="2147470312"/>
        </pc:sldMkLst>
        <pc:spChg chg="mod">
          <ac:chgData name="Jeung Hoon Park" userId="beddcffd-ce47-4056-b815-24814e3fbfe9" providerId="ADAL" clId="{B4A89210-D43A-44D0-9F26-7F0779D60D26}" dt="2022-10-19T03:02:39.258" v="42281" actId="20577"/>
          <ac:spMkLst>
            <pc:docMk/>
            <pc:sldMk cId="1013740762" sldId="2147470312"/>
            <ac:spMk id="2" creationId="{C9355748-2E5A-FF43-B041-EDECD4D2DAAD}"/>
          </ac:spMkLst>
        </pc:spChg>
        <pc:spChg chg="mod">
          <ac:chgData name="Jeung Hoon Park" userId="beddcffd-ce47-4056-b815-24814e3fbfe9" providerId="ADAL" clId="{B4A89210-D43A-44D0-9F26-7F0779D60D26}" dt="2022-10-19T03:06:12.214" v="42449" actId="6549"/>
          <ac:spMkLst>
            <pc:docMk/>
            <pc:sldMk cId="1013740762" sldId="2147470312"/>
            <ac:spMk id="5" creationId="{0F85905A-5E01-8F50-E18C-9D227C507F1C}"/>
          </ac:spMkLst>
        </pc:spChg>
        <pc:graphicFrameChg chg="add del mod modGraphic">
          <ac:chgData name="Jeung Hoon Park" userId="beddcffd-ce47-4056-b815-24814e3fbfe9" providerId="ADAL" clId="{B4A89210-D43A-44D0-9F26-7F0779D60D26}" dt="2022-10-19T03:05:13.430" v="42432" actId="1076"/>
          <ac:graphicFrameMkLst>
            <pc:docMk/>
            <pc:sldMk cId="1013740762" sldId="2147470312"/>
            <ac:graphicFrameMk id="3" creationId="{278C8B9B-4CEE-C779-3331-34E4CD5EE983}"/>
          </ac:graphicFrameMkLst>
        </pc:graphicFrameChg>
        <pc:picChg chg="del">
          <ac:chgData name="Jeung Hoon Park" userId="beddcffd-ce47-4056-b815-24814e3fbfe9" providerId="ADAL" clId="{B4A89210-D43A-44D0-9F26-7F0779D60D26}" dt="2022-09-21T03:51:31.075" v="7617" actId="478"/>
          <ac:picMkLst>
            <pc:docMk/>
            <pc:sldMk cId="1013740762" sldId="2147470312"/>
            <ac:picMk id="4" creationId="{4A50D4E3-8058-CE5C-826B-B1B579796A21}"/>
          </ac:picMkLst>
        </pc:picChg>
      </pc:sldChg>
      <pc:sldChg chg="modSp add mod">
        <pc:chgData name="Jeung Hoon Park" userId="beddcffd-ce47-4056-b815-24814e3fbfe9" providerId="ADAL" clId="{B4A89210-D43A-44D0-9F26-7F0779D60D26}" dt="2022-10-19T03:08:06.323" v="42513" actId="6549"/>
        <pc:sldMkLst>
          <pc:docMk/>
          <pc:sldMk cId="3919985214" sldId="2147470316"/>
        </pc:sldMkLst>
        <pc:spChg chg="mod">
          <ac:chgData name="Jeung Hoon Park" userId="beddcffd-ce47-4056-b815-24814e3fbfe9" providerId="ADAL" clId="{B4A89210-D43A-44D0-9F26-7F0779D60D26}" dt="2022-10-19T03:06:29.633" v="42487" actId="20577"/>
          <ac:spMkLst>
            <pc:docMk/>
            <pc:sldMk cId="3919985214" sldId="2147470316"/>
            <ac:spMk id="2" creationId="{C9355748-2E5A-FF43-B041-EDECD4D2DAAD}"/>
          </ac:spMkLst>
        </pc:spChg>
        <pc:spChg chg="mod">
          <ac:chgData name="Jeung Hoon Park" userId="beddcffd-ce47-4056-b815-24814e3fbfe9" providerId="ADAL" clId="{B4A89210-D43A-44D0-9F26-7F0779D60D26}" dt="2022-10-19T03:08:06.323" v="42513" actId="6549"/>
          <ac:spMkLst>
            <pc:docMk/>
            <pc:sldMk cId="3919985214" sldId="2147470316"/>
            <ac:spMk id="5" creationId="{0F85905A-5E01-8F50-E18C-9D227C507F1C}"/>
          </ac:spMkLst>
        </pc:spChg>
        <pc:graphicFrameChg chg="mod modGraphic">
          <ac:chgData name="Jeung Hoon Park" userId="beddcffd-ce47-4056-b815-24814e3fbfe9" providerId="ADAL" clId="{B4A89210-D43A-44D0-9F26-7F0779D60D26}" dt="2022-10-19T03:07:51.076" v="42496" actId="1076"/>
          <ac:graphicFrameMkLst>
            <pc:docMk/>
            <pc:sldMk cId="3919985214" sldId="2147470316"/>
            <ac:graphicFrameMk id="3" creationId="{278C8B9B-4CEE-C779-3331-34E4CD5EE983}"/>
          </ac:graphicFrameMkLst>
        </pc:graphicFrameChg>
      </pc:sldChg>
      <pc:sldChg chg="addSp delSp modSp add mod">
        <pc:chgData name="Jeung Hoon Park" userId="beddcffd-ce47-4056-b815-24814e3fbfe9" providerId="ADAL" clId="{B4A89210-D43A-44D0-9F26-7F0779D60D26}" dt="2022-10-20T05:14:50.823" v="46667" actId="6549"/>
        <pc:sldMkLst>
          <pc:docMk/>
          <pc:sldMk cId="2290809947" sldId="2147470319"/>
        </pc:sldMkLst>
        <pc:spChg chg="mod">
          <ac:chgData name="Jeung Hoon Park" userId="beddcffd-ce47-4056-b815-24814e3fbfe9" providerId="ADAL" clId="{B4A89210-D43A-44D0-9F26-7F0779D60D26}" dt="2022-09-21T05:42:07.869" v="9128" actId="20577"/>
          <ac:spMkLst>
            <pc:docMk/>
            <pc:sldMk cId="2290809947" sldId="2147470319"/>
            <ac:spMk id="2" creationId="{C9355748-2E5A-FF43-B041-EDECD4D2DAAD}"/>
          </ac:spMkLst>
        </pc:spChg>
        <pc:spChg chg="add mod">
          <ac:chgData name="Jeung Hoon Park" userId="beddcffd-ce47-4056-b815-24814e3fbfe9" providerId="ADAL" clId="{B4A89210-D43A-44D0-9F26-7F0779D60D26}" dt="2022-10-19T04:13:19.744" v="42578" actId="1076"/>
          <ac:spMkLst>
            <pc:docMk/>
            <pc:sldMk cId="2290809947" sldId="2147470319"/>
            <ac:spMk id="4" creationId="{2072CAA0-FA40-2B76-B980-E4453699537B}"/>
          </ac:spMkLst>
        </pc:spChg>
        <pc:spChg chg="mod">
          <ac:chgData name="Jeung Hoon Park" userId="beddcffd-ce47-4056-b815-24814e3fbfe9" providerId="ADAL" clId="{B4A89210-D43A-44D0-9F26-7F0779D60D26}" dt="2022-10-19T04:13:08.178" v="42577" actId="20577"/>
          <ac:spMkLst>
            <pc:docMk/>
            <pc:sldMk cId="2290809947" sldId="2147470319"/>
            <ac:spMk id="5" creationId="{0F85905A-5E01-8F50-E18C-9D227C507F1C}"/>
          </ac:spMkLst>
        </pc:spChg>
        <pc:graphicFrameChg chg="add mod modGraphic">
          <ac:chgData name="Jeung Hoon Park" userId="beddcffd-ce47-4056-b815-24814e3fbfe9" providerId="ADAL" clId="{B4A89210-D43A-44D0-9F26-7F0779D60D26}" dt="2022-10-19T04:13:19.744" v="42578" actId="1076"/>
          <ac:graphicFrameMkLst>
            <pc:docMk/>
            <pc:sldMk cId="2290809947" sldId="2147470319"/>
            <ac:graphicFrameMk id="3" creationId="{28A0AFB8-6E43-5F15-302B-02A9F5E81315}"/>
          </ac:graphicFrameMkLst>
        </pc:graphicFrameChg>
        <pc:graphicFrameChg chg="add mod modGraphic">
          <ac:chgData name="Jeung Hoon Park" userId="beddcffd-ce47-4056-b815-24814e3fbfe9" providerId="ADAL" clId="{B4A89210-D43A-44D0-9F26-7F0779D60D26}" dt="2022-10-20T05:14:50.823" v="46667" actId="6549"/>
          <ac:graphicFrameMkLst>
            <pc:docMk/>
            <pc:sldMk cId="2290809947" sldId="2147470319"/>
            <ac:graphicFrameMk id="6" creationId="{72D12AE3-475C-BCF7-91CC-BCFED446FB13}"/>
          </ac:graphicFrameMkLst>
        </pc:graphicFrameChg>
        <pc:picChg chg="add mod">
          <ac:chgData name="Jeung Hoon Park" userId="beddcffd-ce47-4056-b815-24814e3fbfe9" providerId="ADAL" clId="{B4A89210-D43A-44D0-9F26-7F0779D60D26}" dt="2022-10-19T04:13:48.894" v="42584" actId="1076"/>
          <ac:picMkLst>
            <pc:docMk/>
            <pc:sldMk cId="2290809947" sldId="2147470319"/>
            <ac:picMk id="8" creationId="{9235E1C8-476F-0F4B-ED3D-9591AFA74579}"/>
          </ac:picMkLst>
        </pc:picChg>
        <pc:picChg chg="del">
          <ac:chgData name="Jeung Hoon Park" userId="beddcffd-ce47-4056-b815-24814e3fbfe9" providerId="ADAL" clId="{B4A89210-D43A-44D0-9F26-7F0779D60D26}" dt="2022-09-21T05:42:28.955" v="9159" actId="478"/>
          <ac:picMkLst>
            <pc:docMk/>
            <pc:sldMk cId="2290809947" sldId="2147470319"/>
            <ac:picMk id="9" creationId="{D4701094-0A7F-4A75-6739-99ACB4C3253C}"/>
          </ac:picMkLst>
        </pc:picChg>
      </pc:sldChg>
      <pc:sldChg chg="addSp delSp modSp add mod">
        <pc:chgData name="Jeung Hoon Park" userId="beddcffd-ce47-4056-b815-24814e3fbfe9" providerId="ADAL" clId="{B4A89210-D43A-44D0-9F26-7F0779D60D26}" dt="2022-10-19T04:16:20.362" v="42634" actId="14861"/>
        <pc:sldMkLst>
          <pc:docMk/>
          <pc:sldMk cId="3314122365" sldId="2147470320"/>
        </pc:sldMkLst>
        <pc:spChg chg="mod">
          <ac:chgData name="Jeung Hoon Park" userId="beddcffd-ce47-4056-b815-24814e3fbfe9" providerId="ADAL" clId="{B4A89210-D43A-44D0-9F26-7F0779D60D26}" dt="2022-10-19T04:15:06.378" v="42615" actId="6549"/>
          <ac:spMkLst>
            <pc:docMk/>
            <pc:sldMk cId="3314122365" sldId="2147470320"/>
            <ac:spMk id="2" creationId="{C9355748-2E5A-FF43-B041-EDECD4D2DAAD}"/>
          </ac:spMkLst>
        </pc:spChg>
        <pc:spChg chg="del">
          <ac:chgData name="Jeung Hoon Park" userId="beddcffd-ce47-4056-b815-24814e3fbfe9" providerId="ADAL" clId="{B4A89210-D43A-44D0-9F26-7F0779D60D26}" dt="2022-09-21T06:03:44.071" v="10317" actId="478"/>
          <ac:spMkLst>
            <pc:docMk/>
            <pc:sldMk cId="3314122365" sldId="2147470320"/>
            <ac:spMk id="4" creationId="{2072CAA0-FA40-2B76-B980-E4453699537B}"/>
          </ac:spMkLst>
        </pc:spChg>
        <pc:spChg chg="mod">
          <ac:chgData name="Jeung Hoon Park" userId="beddcffd-ce47-4056-b815-24814e3fbfe9" providerId="ADAL" clId="{B4A89210-D43A-44D0-9F26-7F0779D60D26}" dt="2022-10-19T04:15:55.952" v="42630" actId="20577"/>
          <ac:spMkLst>
            <pc:docMk/>
            <pc:sldMk cId="3314122365" sldId="2147470320"/>
            <ac:spMk id="5" creationId="{0F85905A-5E01-8F50-E18C-9D227C507F1C}"/>
          </ac:spMkLst>
        </pc:spChg>
        <pc:graphicFrameChg chg="del">
          <ac:chgData name="Jeung Hoon Park" userId="beddcffd-ce47-4056-b815-24814e3fbfe9" providerId="ADAL" clId="{B4A89210-D43A-44D0-9F26-7F0779D60D26}" dt="2022-09-21T06:03:43.511" v="10316" actId="478"/>
          <ac:graphicFrameMkLst>
            <pc:docMk/>
            <pc:sldMk cId="3314122365" sldId="2147470320"/>
            <ac:graphicFrameMk id="3" creationId="{28A0AFB8-6E43-5F15-302B-02A9F5E81315}"/>
          </ac:graphicFrameMkLst>
        </pc:graphicFrameChg>
        <pc:graphicFrameChg chg="del">
          <ac:chgData name="Jeung Hoon Park" userId="beddcffd-ce47-4056-b815-24814e3fbfe9" providerId="ADAL" clId="{B4A89210-D43A-44D0-9F26-7F0779D60D26}" dt="2022-09-21T06:03:45.038" v="10318" actId="478"/>
          <ac:graphicFrameMkLst>
            <pc:docMk/>
            <pc:sldMk cId="3314122365" sldId="2147470320"/>
            <ac:graphicFrameMk id="6" creationId="{72D12AE3-475C-BCF7-91CC-BCFED446FB13}"/>
          </ac:graphicFrameMkLst>
        </pc:graphicFrameChg>
        <pc:picChg chg="del">
          <ac:chgData name="Jeung Hoon Park" userId="beddcffd-ce47-4056-b815-24814e3fbfe9" providerId="ADAL" clId="{B4A89210-D43A-44D0-9F26-7F0779D60D26}" dt="2022-09-21T06:03:46.445" v="10319" actId="478"/>
          <ac:picMkLst>
            <pc:docMk/>
            <pc:sldMk cId="3314122365" sldId="2147470320"/>
            <ac:picMk id="8" creationId="{9235E1C8-476F-0F4B-ED3D-9591AFA74579}"/>
          </ac:picMkLst>
        </pc:picChg>
        <pc:picChg chg="add mod">
          <ac:chgData name="Jeung Hoon Park" userId="beddcffd-ce47-4056-b815-24814e3fbfe9" providerId="ADAL" clId="{B4A89210-D43A-44D0-9F26-7F0779D60D26}" dt="2022-10-19T04:15:34.434" v="42617" actId="14861"/>
          <ac:picMkLst>
            <pc:docMk/>
            <pc:sldMk cId="3314122365" sldId="2147470320"/>
            <ac:picMk id="9" creationId="{FB9EACC9-2407-B445-8FEC-0BF08674698C}"/>
          </ac:picMkLst>
        </pc:picChg>
        <pc:picChg chg="add mod">
          <ac:chgData name="Jeung Hoon Park" userId="beddcffd-ce47-4056-b815-24814e3fbfe9" providerId="ADAL" clId="{B4A89210-D43A-44D0-9F26-7F0779D60D26}" dt="2022-10-19T04:16:09.072" v="42632" actId="14861"/>
          <ac:picMkLst>
            <pc:docMk/>
            <pc:sldMk cId="3314122365" sldId="2147470320"/>
            <ac:picMk id="11" creationId="{FA88494D-35D9-0BDC-B8BB-42BE11968DAC}"/>
          </ac:picMkLst>
        </pc:picChg>
        <pc:picChg chg="add mod">
          <ac:chgData name="Jeung Hoon Park" userId="beddcffd-ce47-4056-b815-24814e3fbfe9" providerId="ADAL" clId="{B4A89210-D43A-44D0-9F26-7F0779D60D26}" dt="2022-10-19T04:16:20.362" v="42634" actId="14861"/>
          <ac:picMkLst>
            <pc:docMk/>
            <pc:sldMk cId="3314122365" sldId="2147470320"/>
            <ac:picMk id="13" creationId="{35EAEA8B-903F-4E32-B257-AC1D4B403C72}"/>
          </ac:picMkLst>
        </pc:picChg>
        <pc:picChg chg="add del mod">
          <ac:chgData name="Jeung Hoon Park" userId="beddcffd-ce47-4056-b815-24814e3fbfe9" providerId="ADAL" clId="{B4A89210-D43A-44D0-9F26-7F0779D60D26}" dt="2022-09-21T06:07:16.868" v="10545" actId="478"/>
          <ac:picMkLst>
            <pc:docMk/>
            <pc:sldMk cId="3314122365" sldId="2147470320"/>
            <ac:picMk id="1026" creationId="{EBE19BCD-8AE3-D9D1-7D9F-66A8C94EC1C0}"/>
          </ac:picMkLst>
        </pc:picChg>
      </pc:sldChg>
      <pc:sldChg chg="add del">
        <pc:chgData name="Jeung Hoon Park" userId="beddcffd-ce47-4056-b815-24814e3fbfe9" providerId="ADAL" clId="{B4A89210-D43A-44D0-9F26-7F0779D60D26}" dt="2022-09-27T03:35:25.291" v="10848"/>
        <pc:sldMkLst>
          <pc:docMk/>
          <pc:sldMk cId="2461455853" sldId="2147470322"/>
        </pc:sldMkLst>
      </pc:sldChg>
      <pc:sldChg chg="add del">
        <pc:chgData name="Jeung Hoon Park" userId="beddcffd-ce47-4056-b815-24814e3fbfe9" providerId="ADAL" clId="{B4A89210-D43A-44D0-9F26-7F0779D60D26}" dt="2022-09-27T03:35:10.622" v="10846"/>
        <pc:sldMkLst>
          <pc:docMk/>
          <pc:sldMk cId="2856980541" sldId="2147470322"/>
        </pc:sldMkLst>
      </pc:sldChg>
      <pc:sldChg chg="modSp mod">
        <pc:chgData name="Jeung Hoon Park" userId="beddcffd-ce47-4056-b815-24814e3fbfe9" providerId="ADAL" clId="{B4A89210-D43A-44D0-9F26-7F0779D60D26}" dt="2022-09-27T05:36:30.924" v="14998" actId="20577"/>
        <pc:sldMkLst>
          <pc:docMk/>
          <pc:sldMk cId="3202629489" sldId="2147470322"/>
        </pc:sldMkLst>
        <pc:spChg chg="mod">
          <ac:chgData name="Jeung Hoon Park" userId="beddcffd-ce47-4056-b815-24814e3fbfe9" providerId="ADAL" clId="{B4A89210-D43A-44D0-9F26-7F0779D60D26}" dt="2022-09-27T05:36:30.924" v="14998" actId="20577"/>
          <ac:spMkLst>
            <pc:docMk/>
            <pc:sldMk cId="3202629489" sldId="2147470322"/>
            <ac:spMk id="5" creationId="{F01C4DE8-FED9-4360-822F-E4430EDF3049}"/>
          </ac:spMkLst>
        </pc:spChg>
      </pc:sldChg>
      <pc:sldChg chg="addSp delSp modSp add mod">
        <pc:chgData name="Jeung Hoon Park" userId="beddcffd-ce47-4056-b815-24814e3fbfe9" providerId="ADAL" clId="{B4A89210-D43A-44D0-9F26-7F0779D60D26}" dt="2022-10-19T04:35:36.558" v="43154" actId="6549"/>
        <pc:sldMkLst>
          <pc:docMk/>
          <pc:sldMk cId="238823073" sldId="2147470323"/>
        </pc:sldMkLst>
        <pc:spChg chg="mod">
          <ac:chgData name="Jeung Hoon Park" userId="beddcffd-ce47-4056-b815-24814e3fbfe9" providerId="ADAL" clId="{B4A89210-D43A-44D0-9F26-7F0779D60D26}" dt="2022-09-27T04:14:48.249" v="12353" actId="20577"/>
          <ac:spMkLst>
            <pc:docMk/>
            <pc:sldMk cId="238823073" sldId="2147470323"/>
            <ac:spMk id="2" creationId="{C9355748-2E5A-FF43-B041-EDECD4D2DAAD}"/>
          </ac:spMkLst>
        </pc:spChg>
        <pc:spChg chg="mod">
          <ac:chgData name="Jeung Hoon Park" userId="beddcffd-ce47-4056-b815-24814e3fbfe9" providerId="ADAL" clId="{B4A89210-D43A-44D0-9F26-7F0779D60D26}" dt="2022-10-19T04:35:36.558" v="43154" actId="6549"/>
          <ac:spMkLst>
            <pc:docMk/>
            <pc:sldMk cId="238823073" sldId="2147470323"/>
            <ac:spMk id="5" creationId="{0F85905A-5E01-8F50-E18C-9D227C507F1C}"/>
          </ac:spMkLst>
        </pc:spChg>
        <pc:graphicFrameChg chg="add del mod modGraphic">
          <ac:chgData name="Jeung Hoon Park" userId="beddcffd-ce47-4056-b815-24814e3fbfe9" providerId="ADAL" clId="{B4A89210-D43A-44D0-9F26-7F0779D60D26}" dt="2022-10-19T04:34:56.437" v="43118" actId="478"/>
          <ac:graphicFrameMkLst>
            <pc:docMk/>
            <pc:sldMk cId="238823073" sldId="2147470323"/>
            <ac:graphicFrameMk id="15" creationId="{9173C5C1-C77E-CA3B-437D-F05587F9C4A3}"/>
          </ac:graphicFrameMkLst>
        </pc:graphicFrameChg>
        <pc:picChg chg="add mod">
          <ac:chgData name="Jeung Hoon Park" userId="beddcffd-ce47-4056-b815-24814e3fbfe9" providerId="ADAL" clId="{B4A89210-D43A-44D0-9F26-7F0779D60D26}" dt="2022-10-19T04:35:14.294" v="43123" actId="14861"/>
          <ac:picMkLst>
            <pc:docMk/>
            <pc:sldMk cId="238823073" sldId="2147470323"/>
            <ac:picMk id="4" creationId="{A89C37E1-0A68-2C7F-E1A6-CCFE751B7BE2}"/>
          </ac:picMkLst>
        </pc:picChg>
        <pc:picChg chg="add del mod">
          <ac:chgData name="Jeung Hoon Park" userId="beddcffd-ce47-4056-b815-24814e3fbfe9" providerId="ADAL" clId="{B4A89210-D43A-44D0-9F26-7F0779D60D26}" dt="2022-09-27T04:15:22.298" v="12354" actId="478"/>
          <ac:picMkLst>
            <pc:docMk/>
            <pc:sldMk cId="238823073" sldId="2147470323"/>
            <ac:picMk id="4" creationId="{F4E46485-EE55-FBD0-667D-3AC73AEE057C}"/>
          </ac:picMkLst>
        </pc:picChg>
        <pc:picChg chg="del">
          <ac:chgData name="Jeung Hoon Park" userId="beddcffd-ce47-4056-b815-24814e3fbfe9" providerId="ADAL" clId="{B4A89210-D43A-44D0-9F26-7F0779D60D26}" dt="2022-09-27T03:49:08.124" v="10906" actId="478"/>
          <ac:picMkLst>
            <pc:docMk/>
            <pc:sldMk cId="238823073" sldId="2147470323"/>
            <ac:picMk id="6" creationId="{EB034087-DCF3-D81B-880C-74AFA6115043}"/>
          </ac:picMkLst>
        </pc:picChg>
        <pc:picChg chg="add del mod">
          <ac:chgData name="Jeung Hoon Park" userId="beddcffd-ce47-4056-b815-24814e3fbfe9" providerId="ADAL" clId="{B4A89210-D43A-44D0-9F26-7F0779D60D26}" dt="2022-09-27T04:15:24.189" v="12355" actId="478"/>
          <ac:picMkLst>
            <pc:docMk/>
            <pc:sldMk cId="238823073" sldId="2147470323"/>
            <ac:picMk id="8" creationId="{A5D17D7A-112A-8EEF-2794-48B7381C2694}"/>
          </ac:picMkLst>
        </pc:picChg>
        <pc:picChg chg="del">
          <ac:chgData name="Jeung Hoon Park" userId="beddcffd-ce47-4056-b815-24814e3fbfe9" providerId="ADAL" clId="{B4A89210-D43A-44D0-9F26-7F0779D60D26}" dt="2022-09-27T03:49:08.575" v="10907" actId="478"/>
          <ac:picMkLst>
            <pc:docMk/>
            <pc:sldMk cId="238823073" sldId="2147470323"/>
            <ac:picMk id="9" creationId="{20019B4F-D1BA-D62A-0D0B-533E87CA7990}"/>
          </ac:picMkLst>
        </pc:picChg>
        <pc:picChg chg="del">
          <ac:chgData name="Jeung Hoon Park" userId="beddcffd-ce47-4056-b815-24814e3fbfe9" providerId="ADAL" clId="{B4A89210-D43A-44D0-9F26-7F0779D60D26}" dt="2022-09-27T03:49:09.236" v="10908" actId="478"/>
          <ac:picMkLst>
            <pc:docMk/>
            <pc:sldMk cId="238823073" sldId="2147470323"/>
            <ac:picMk id="11" creationId="{5AB24104-7C1E-E6E8-936E-EEDFBF08876F}"/>
          </ac:picMkLst>
        </pc:picChg>
        <pc:picChg chg="add del mod">
          <ac:chgData name="Jeung Hoon Park" userId="beddcffd-ce47-4056-b815-24814e3fbfe9" providerId="ADAL" clId="{B4A89210-D43A-44D0-9F26-7F0779D60D26}" dt="2022-10-19T04:34:52.115" v="43117" actId="478"/>
          <ac:picMkLst>
            <pc:docMk/>
            <pc:sldMk cId="238823073" sldId="2147470323"/>
            <ac:picMk id="12" creationId="{A69BCC8E-C77B-0F46-9FFF-C96D2C74BE26}"/>
          </ac:picMkLst>
        </pc:picChg>
        <pc:picChg chg="add del">
          <ac:chgData name="Jeung Hoon Park" userId="beddcffd-ce47-4056-b815-24814e3fbfe9" providerId="ADAL" clId="{B4A89210-D43A-44D0-9F26-7F0779D60D26}" dt="2022-09-27T04:48:19.019" v="12951" actId="22"/>
          <ac:picMkLst>
            <pc:docMk/>
            <pc:sldMk cId="238823073" sldId="2147470323"/>
            <ac:picMk id="14" creationId="{618CA4F1-2679-398E-9FE1-29E25ED93724}"/>
          </ac:picMkLst>
        </pc:picChg>
      </pc:sldChg>
      <pc:sldChg chg="addSp delSp modSp add mod">
        <pc:chgData name="Jeung Hoon Park" userId="beddcffd-ce47-4056-b815-24814e3fbfe9" providerId="ADAL" clId="{B4A89210-D43A-44D0-9F26-7F0779D60D26}" dt="2022-10-19T04:38:10.466" v="43199" actId="6549"/>
        <pc:sldMkLst>
          <pc:docMk/>
          <pc:sldMk cId="133040354" sldId="2147470324"/>
        </pc:sldMkLst>
        <pc:spChg chg="mod">
          <ac:chgData name="Jeung Hoon Park" userId="beddcffd-ce47-4056-b815-24814e3fbfe9" providerId="ADAL" clId="{B4A89210-D43A-44D0-9F26-7F0779D60D26}" dt="2022-10-19T04:35:53.504" v="43172" actId="5793"/>
          <ac:spMkLst>
            <pc:docMk/>
            <pc:sldMk cId="133040354" sldId="2147470324"/>
            <ac:spMk id="2" creationId="{C9355748-2E5A-FF43-B041-EDECD4D2DAAD}"/>
          </ac:spMkLst>
        </pc:spChg>
        <pc:spChg chg="mod">
          <ac:chgData name="Jeung Hoon Park" userId="beddcffd-ce47-4056-b815-24814e3fbfe9" providerId="ADAL" clId="{B4A89210-D43A-44D0-9F26-7F0779D60D26}" dt="2022-10-19T04:38:10.466" v="43199" actId="6549"/>
          <ac:spMkLst>
            <pc:docMk/>
            <pc:sldMk cId="133040354" sldId="2147470324"/>
            <ac:spMk id="5" creationId="{0F85905A-5E01-8F50-E18C-9D227C507F1C}"/>
          </ac:spMkLst>
        </pc:spChg>
        <pc:spChg chg="del mod topLvl">
          <ac:chgData name="Jeung Hoon Park" userId="beddcffd-ce47-4056-b815-24814e3fbfe9" providerId="ADAL" clId="{B4A89210-D43A-44D0-9F26-7F0779D60D26}" dt="2022-09-27T04:23:56.479" v="12734" actId="478"/>
          <ac:spMkLst>
            <pc:docMk/>
            <pc:sldMk cId="133040354" sldId="2147470324"/>
            <ac:spMk id="6" creationId="{F03EFCE3-7802-31F4-C0C5-C307E7A01ED8}"/>
          </ac:spMkLst>
        </pc:spChg>
        <pc:spChg chg="mod">
          <ac:chgData name="Jeung Hoon Park" userId="beddcffd-ce47-4056-b815-24814e3fbfe9" providerId="ADAL" clId="{B4A89210-D43A-44D0-9F26-7F0779D60D26}" dt="2022-09-27T04:20:26.774" v="12385"/>
          <ac:spMkLst>
            <pc:docMk/>
            <pc:sldMk cId="133040354" sldId="2147470324"/>
            <ac:spMk id="9" creationId="{83E9C3F8-65C0-0CEE-8CEE-054E9C014017}"/>
          </ac:spMkLst>
        </pc:spChg>
        <pc:grpChg chg="add del mod">
          <ac:chgData name="Jeung Hoon Park" userId="beddcffd-ce47-4056-b815-24814e3fbfe9" providerId="ADAL" clId="{B4A89210-D43A-44D0-9F26-7F0779D60D26}" dt="2022-09-27T04:23:51.427" v="12733" actId="478"/>
          <ac:grpSpMkLst>
            <pc:docMk/>
            <pc:sldMk cId="133040354" sldId="2147470324"/>
            <ac:grpSpMk id="3" creationId="{CC2735A9-51F1-E727-7FE1-1E6DDEB1E74F}"/>
          </ac:grpSpMkLst>
        </pc:grpChg>
        <pc:grpChg chg="add mod">
          <ac:chgData name="Jeung Hoon Park" userId="beddcffd-ce47-4056-b815-24814e3fbfe9" providerId="ADAL" clId="{B4A89210-D43A-44D0-9F26-7F0779D60D26}" dt="2022-10-19T04:37:28.743" v="43192" actId="1076"/>
          <ac:grpSpMkLst>
            <pc:docMk/>
            <pc:sldMk cId="133040354" sldId="2147470324"/>
            <ac:grpSpMk id="7" creationId="{5DBF7B61-623A-04B2-B9BA-D79878C863B2}"/>
          </ac:grpSpMkLst>
        </pc:grpChg>
        <pc:picChg chg="del mod topLvl">
          <ac:chgData name="Jeung Hoon Park" userId="beddcffd-ce47-4056-b815-24814e3fbfe9" providerId="ADAL" clId="{B4A89210-D43A-44D0-9F26-7F0779D60D26}" dt="2022-09-27T04:23:51.427" v="12733" actId="478"/>
          <ac:picMkLst>
            <pc:docMk/>
            <pc:sldMk cId="133040354" sldId="2147470324"/>
            <ac:picMk id="4" creationId="{27D060C9-7378-451A-6A61-2104428F7D02}"/>
          </ac:picMkLst>
        </pc:picChg>
        <pc:picChg chg="mod">
          <ac:chgData name="Jeung Hoon Park" userId="beddcffd-ce47-4056-b815-24814e3fbfe9" providerId="ADAL" clId="{B4A89210-D43A-44D0-9F26-7F0779D60D26}" dt="2022-09-27T04:20:26.774" v="12385"/>
          <ac:picMkLst>
            <pc:docMk/>
            <pc:sldMk cId="133040354" sldId="2147470324"/>
            <ac:picMk id="8" creationId="{BA900AB0-6DC1-7B07-4CD8-485AC99B412C}"/>
          </ac:picMkLst>
        </pc:picChg>
        <pc:picChg chg="add mod">
          <ac:chgData name="Jeung Hoon Park" userId="beddcffd-ce47-4056-b815-24814e3fbfe9" providerId="ADAL" clId="{B4A89210-D43A-44D0-9F26-7F0779D60D26}" dt="2022-10-19T04:37:27.309" v="43191" actId="1076"/>
          <ac:picMkLst>
            <pc:docMk/>
            <pc:sldMk cId="133040354" sldId="2147470324"/>
            <ac:picMk id="11" creationId="{5CF99526-BB1D-1EC8-AE53-F31E056BF334}"/>
          </ac:picMkLst>
        </pc:picChg>
        <pc:picChg chg="del">
          <ac:chgData name="Jeung Hoon Park" userId="beddcffd-ce47-4056-b815-24814e3fbfe9" providerId="ADAL" clId="{B4A89210-D43A-44D0-9F26-7F0779D60D26}" dt="2022-09-27T04:19:42.523" v="12384" actId="478"/>
          <ac:picMkLst>
            <pc:docMk/>
            <pc:sldMk cId="133040354" sldId="2147470324"/>
            <ac:picMk id="12" creationId="{A69BCC8E-C77B-0F46-9FFF-C96D2C74BE26}"/>
          </ac:picMkLst>
        </pc:picChg>
        <pc:picChg chg="add del mod">
          <ac:chgData name="Jeung Hoon Park" userId="beddcffd-ce47-4056-b815-24814e3fbfe9" providerId="ADAL" clId="{B4A89210-D43A-44D0-9F26-7F0779D60D26}" dt="2022-09-27T04:33:43.085" v="12809" actId="478"/>
          <ac:picMkLst>
            <pc:docMk/>
            <pc:sldMk cId="133040354" sldId="2147470324"/>
            <ac:picMk id="14" creationId="{A5EDCA45-740D-D2C9-6C63-38C516DA3B83}"/>
          </ac:picMkLst>
        </pc:picChg>
        <pc:picChg chg="add del mod">
          <ac:chgData name="Jeung Hoon Park" userId="beddcffd-ce47-4056-b815-24814e3fbfe9" providerId="ADAL" clId="{B4A89210-D43A-44D0-9F26-7F0779D60D26}" dt="2022-09-27T04:33:41.780" v="12807" actId="478"/>
          <ac:picMkLst>
            <pc:docMk/>
            <pc:sldMk cId="133040354" sldId="2147470324"/>
            <ac:picMk id="16" creationId="{37872C12-8FAE-CFF6-6381-0193106E4ED6}"/>
          </ac:picMkLst>
        </pc:picChg>
        <pc:picChg chg="add del mod">
          <ac:chgData name="Jeung Hoon Park" userId="beddcffd-ce47-4056-b815-24814e3fbfe9" providerId="ADAL" clId="{B4A89210-D43A-44D0-9F26-7F0779D60D26}" dt="2022-09-27T04:33:42.177" v="12808" actId="478"/>
          <ac:picMkLst>
            <pc:docMk/>
            <pc:sldMk cId="133040354" sldId="2147470324"/>
            <ac:picMk id="18" creationId="{F8AD9F19-4149-B591-92C8-7E6B230B1795}"/>
          </ac:picMkLst>
        </pc:picChg>
        <pc:picChg chg="add mod">
          <ac:chgData name="Jeung Hoon Park" userId="beddcffd-ce47-4056-b815-24814e3fbfe9" providerId="ADAL" clId="{B4A89210-D43A-44D0-9F26-7F0779D60D26}" dt="2022-10-19T04:37:46.180" v="43195" actId="1076"/>
          <ac:picMkLst>
            <pc:docMk/>
            <pc:sldMk cId="133040354" sldId="2147470324"/>
            <ac:picMk id="20" creationId="{C4D71CE5-0980-2301-8523-59F0A23723C4}"/>
          </ac:picMkLst>
        </pc:picChg>
      </pc:sldChg>
      <pc:sldChg chg="addSp delSp modSp add mod">
        <pc:chgData name="Jeung Hoon Park" userId="beddcffd-ce47-4056-b815-24814e3fbfe9" providerId="ADAL" clId="{B4A89210-D43A-44D0-9F26-7F0779D60D26}" dt="2022-10-19T04:51:10.425" v="44117" actId="20577"/>
        <pc:sldMkLst>
          <pc:docMk/>
          <pc:sldMk cId="2058421801" sldId="2147470325"/>
        </pc:sldMkLst>
        <pc:spChg chg="mod">
          <ac:chgData name="Jeung Hoon Park" userId="beddcffd-ce47-4056-b815-24814e3fbfe9" providerId="ADAL" clId="{B4A89210-D43A-44D0-9F26-7F0779D60D26}" dt="2022-10-19T04:38:29.578" v="43218" actId="20577"/>
          <ac:spMkLst>
            <pc:docMk/>
            <pc:sldMk cId="2058421801" sldId="2147470325"/>
            <ac:spMk id="2" creationId="{C9355748-2E5A-FF43-B041-EDECD4D2DAAD}"/>
          </ac:spMkLst>
        </pc:spChg>
        <pc:spChg chg="mod">
          <ac:chgData name="Jeung Hoon Park" userId="beddcffd-ce47-4056-b815-24814e3fbfe9" providerId="ADAL" clId="{B4A89210-D43A-44D0-9F26-7F0779D60D26}" dt="2022-10-19T04:51:10.425" v="44117" actId="20577"/>
          <ac:spMkLst>
            <pc:docMk/>
            <pc:sldMk cId="2058421801" sldId="2147470325"/>
            <ac:spMk id="5" creationId="{0F85905A-5E01-8F50-E18C-9D227C507F1C}"/>
          </ac:spMkLst>
        </pc:spChg>
        <pc:grpChg chg="del">
          <ac:chgData name="Jeung Hoon Park" userId="beddcffd-ce47-4056-b815-24814e3fbfe9" providerId="ADAL" clId="{B4A89210-D43A-44D0-9F26-7F0779D60D26}" dt="2022-09-27T05:00:47.156" v="13115" actId="478"/>
          <ac:grpSpMkLst>
            <pc:docMk/>
            <pc:sldMk cId="2058421801" sldId="2147470325"/>
            <ac:grpSpMk id="7" creationId="{5DBF7B61-623A-04B2-B9BA-D79878C863B2}"/>
          </ac:grpSpMkLst>
        </pc:grpChg>
        <pc:picChg chg="add del mod">
          <ac:chgData name="Jeung Hoon Park" userId="beddcffd-ce47-4056-b815-24814e3fbfe9" providerId="ADAL" clId="{B4A89210-D43A-44D0-9F26-7F0779D60D26}" dt="2022-09-27T05:17:08.133" v="14330" actId="478"/>
          <ac:picMkLst>
            <pc:docMk/>
            <pc:sldMk cId="2058421801" sldId="2147470325"/>
            <ac:picMk id="4" creationId="{D870609B-344E-FFC4-6CEE-519E8331FDB7}"/>
          </ac:picMkLst>
        </pc:picChg>
        <pc:picChg chg="add del mod">
          <ac:chgData name="Jeung Hoon Park" userId="beddcffd-ce47-4056-b815-24814e3fbfe9" providerId="ADAL" clId="{B4A89210-D43A-44D0-9F26-7F0779D60D26}" dt="2022-09-27T05:17:09.733" v="14331" actId="478"/>
          <ac:picMkLst>
            <pc:docMk/>
            <pc:sldMk cId="2058421801" sldId="2147470325"/>
            <ac:picMk id="10" creationId="{26ABFDF1-658E-CB74-B793-F9B63A806A76}"/>
          </ac:picMkLst>
        </pc:picChg>
        <pc:picChg chg="del">
          <ac:chgData name="Jeung Hoon Park" userId="beddcffd-ce47-4056-b815-24814e3fbfe9" providerId="ADAL" clId="{B4A89210-D43A-44D0-9F26-7F0779D60D26}" dt="2022-09-27T05:00:46.730" v="13114" actId="478"/>
          <ac:picMkLst>
            <pc:docMk/>
            <pc:sldMk cId="2058421801" sldId="2147470325"/>
            <ac:picMk id="11" creationId="{5CF99526-BB1D-1EC8-AE53-F31E056BF334}"/>
          </ac:picMkLst>
        </pc:picChg>
        <pc:picChg chg="add mod">
          <ac:chgData name="Jeung Hoon Park" userId="beddcffd-ce47-4056-b815-24814e3fbfe9" providerId="ADAL" clId="{B4A89210-D43A-44D0-9F26-7F0779D60D26}" dt="2022-10-19T04:44:21.525" v="43431" actId="14861"/>
          <ac:picMkLst>
            <pc:docMk/>
            <pc:sldMk cId="2058421801" sldId="2147470325"/>
            <ac:picMk id="13" creationId="{480774F3-7CFA-14CA-909D-1B06943B8BA4}"/>
          </ac:picMkLst>
        </pc:picChg>
        <pc:picChg chg="del">
          <ac:chgData name="Jeung Hoon Park" userId="beddcffd-ce47-4056-b815-24814e3fbfe9" providerId="ADAL" clId="{B4A89210-D43A-44D0-9F26-7F0779D60D26}" dt="2022-09-27T05:00:47.675" v="13116" actId="478"/>
          <ac:picMkLst>
            <pc:docMk/>
            <pc:sldMk cId="2058421801" sldId="2147470325"/>
            <ac:picMk id="20" creationId="{C4D71CE5-0980-2301-8523-59F0A23723C4}"/>
          </ac:picMkLst>
        </pc:picChg>
      </pc:sldChg>
      <pc:sldChg chg="addSp delSp modSp add mod ord">
        <pc:chgData name="Jeung Hoon Park" userId="beddcffd-ce47-4056-b815-24814e3fbfe9" providerId="ADAL" clId="{B4A89210-D43A-44D0-9F26-7F0779D60D26}" dt="2022-10-19T04:53:50.544" v="44186" actId="6549"/>
        <pc:sldMkLst>
          <pc:docMk/>
          <pc:sldMk cId="1605652267" sldId="2147470326"/>
        </pc:sldMkLst>
        <pc:spChg chg="mod">
          <ac:chgData name="Jeung Hoon Park" userId="beddcffd-ce47-4056-b815-24814e3fbfe9" providerId="ADAL" clId="{B4A89210-D43A-44D0-9F26-7F0779D60D26}" dt="2022-10-19T04:51:22.186" v="44128" actId="20577"/>
          <ac:spMkLst>
            <pc:docMk/>
            <pc:sldMk cId="1605652267" sldId="2147470326"/>
            <ac:spMk id="2" creationId="{C9355748-2E5A-FF43-B041-EDECD4D2DAAD}"/>
          </ac:spMkLst>
        </pc:spChg>
        <pc:spChg chg="mod">
          <ac:chgData name="Jeung Hoon Park" userId="beddcffd-ce47-4056-b815-24814e3fbfe9" providerId="ADAL" clId="{B4A89210-D43A-44D0-9F26-7F0779D60D26}" dt="2022-10-19T04:53:50.544" v="44186" actId="6549"/>
          <ac:spMkLst>
            <pc:docMk/>
            <pc:sldMk cId="1605652267" sldId="2147470326"/>
            <ac:spMk id="5" creationId="{0F85905A-5E01-8F50-E18C-9D227C507F1C}"/>
          </ac:spMkLst>
        </pc:spChg>
        <pc:graphicFrameChg chg="add del mod">
          <ac:chgData name="Jeung Hoon Park" userId="beddcffd-ce47-4056-b815-24814e3fbfe9" providerId="ADAL" clId="{B4A89210-D43A-44D0-9F26-7F0779D60D26}" dt="2022-09-27T05:25:22.524" v="14593"/>
          <ac:graphicFrameMkLst>
            <pc:docMk/>
            <pc:sldMk cId="1605652267" sldId="2147470326"/>
            <ac:graphicFrameMk id="3" creationId="{EB880669-27B2-098E-9BFB-29393414EB8D}"/>
          </ac:graphicFrameMkLst>
        </pc:graphicFrameChg>
        <pc:graphicFrameChg chg="add mod modGraphic">
          <ac:chgData name="Jeung Hoon Park" userId="beddcffd-ce47-4056-b815-24814e3fbfe9" providerId="ADAL" clId="{B4A89210-D43A-44D0-9F26-7F0779D60D26}" dt="2022-10-19T04:53:35.491" v="44149" actId="113"/>
          <ac:graphicFrameMkLst>
            <pc:docMk/>
            <pc:sldMk cId="1605652267" sldId="2147470326"/>
            <ac:graphicFrameMk id="4" creationId="{3FADCE9F-C6E2-DDB4-5E56-46597B33FF0C}"/>
          </ac:graphicFrameMkLst>
        </pc:graphicFrameChg>
        <pc:picChg chg="del">
          <ac:chgData name="Jeung Hoon Park" userId="beddcffd-ce47-4056-b815-24814e3fbfe9" providerId="ADAL" clId="{B4A89210-D43A-44D0-9F26-7F0779D60D26}" dt="2022-09-27T05:24:10.518" v="14452" actId="478"/>
          <ac:picMkLst>
            <pc:docMk/>
            <pc:sldMk cId="1605652267" sldId="2147470326"/>
            <ac:picMk id="13" creationId="{480774F3-7CFA-14CA-909D-1B06943B8BA4}"/>
          </ac:picMkLst>
        </pc:picChg>
      </pc:sldChg>
      <pc:sldChg chg="delSp modSp add del mod">
        <pc:chgData name="Jeung Hoon Park" userId="beddcffd-ce47-4056-b815-24814e3fbfe9" providerId="ADAL" clId="{B4A89210-D43A-44D0-9F26-7F0779D60D26}" dt="2022-10-12T06:03:17.835" v="40095" actId="47"/>
        <pc:sldMkLst>
          <pc:docMk/>
          <pc:sldMk cId="1589344985" sldId="2147470327"/>
        </pc:sldMkLst>
        <pc:spChg chg="mod">
          <ac:chgData name="Jeung Hoon Park" userId="beddcffd-ce47-4056-b815-24814e3fbfe9" providerId="ADAL" clId="{B4A89210-D43A-44D0-9F26-7F0779D60D26}" dt="2022-09-27T06:15:47.237" v="15004" actId="20577"/>
          <ac:spMkLst>
            <pc:docMk/>
            <pc:sldMk cId="1589344985" sldId="2147470327"/>
            <ac:spMk id="2" creationId="{C9355748-2E5A-FF43-B041-EDECD4D2DAAD}"/>
          </ac:spMkLst>
        </pc:spChg>
        <pc:spChg chg="mod">
          <ac:chgData name="Jeung Hoon Park" userId="beddcffd-ce47-4056-b815-24814e3fbfe9" providerId="ADAL" clId="{B4A89210-D43A-44D0-9F26-7F0779D60D26}" dt="2022-10-12T03:47:17.530" v="38266" actId="20577"/>
          <ac:spMkLst>
            <pc:docMk/>
            <pc:sldMk cId="1589344985" sldId="2147470327"/>
            <ac:spMk id="5" creationId="{0F85905A-5E01-8F50-E18C-9D227C507F1C}"/>
          </ac:spMkLst>
        </pc:spChg>
        <pc:graphicFrameChg chg="del">
          <ac:chgData name="Jeung Hoon Park" userId="beddcffd-ce47-4056-b815-24814e3fbfe9" providerId="ADAL" clId="{B4A89210-D43A-44D0-9F26-7F0779D60D26}" dt="2022-09-27T06:15:50.975" v="15005" actId="478"/>
          <ac:graphicFrameMkLst>
            <pc:docMk/>
            <pc:sldMk cId="1589344985" sldId="2147470327"/>
            <ac:graphicFrameMk id="4" creationId="{3FADCE9F-C6E2-DDB4-5E56-46597B33FF0C}"/>
          </ac:graphicFrameMkLst>
        </pc:graphicFrameChg>
      </pc:sldChg>
      <pc:sldChg chg="addSp delSp modSp add mod">
        <pc:chgData name="Jeung Hoon Park" userId="beddcffd-ce47-4056-b815-24814e3fbfe9" providerId="ADAL" clId="{B4A89210-D43A-44D0-9F26-7F0779D60D26}" dt="2022-10-19T04:56:06.881" v="44345" actId="1076"/>
        <pc:sldMkLst>
          <pc:docMk/>
          <pc:sldMk cId="2325142287" sldId="2147470340"/>
        </pc:sldMkLst>
        <pc:spChg chg="mod">
          <ac:chgData name="Jeung Hoon Park" userId="beddcffd-ce47-4056-b815-24814e3fbfe9" providerId="ADAL" clId="{B4A89210-D43A-44D0-9F26-7F0779D60D26}" dt="2022-09-28T01:28:48.643" v="15182" actId="20577"/>
          <ac:spMkLst>
            <pc:docMk/>
            <pc:sldMk cId="2325142287" sldId="2147470340"/>
            <ac:spMk id="2" creationId="{C9355748-2E5A-FF43-B041-EDECD4D2DAAD}"/>
          </ac:spMkLst>
        </pc:spChg>
        <pc:spChg chg="mod">
          <ac:chgData name="Jeung Hoon Park" userId="beddcffd-ce47-4056-b815-24814e3fbfe9" providerId="ADAL" clId="{B4A89210-D43A-44D0-9F26-7F0779D60D26}" dt="2022-10-19T04:55:53.672" v="44344" actId="20577"/>
          <ac:spMkLst>
            <pc:docMk/>
            <pc:sldMk cId="2325142287" sldId="2147470340"/>
            <ac:spMk id="5" creationId="{0F85905A-5E01-8F50-E18C-9D227C507F1C}"/>
          </ac:spMkLst>
        </pc:spChg>
        <pc:graphicFrameChg chg="del">
          <ac:chgData name="Jeung Hoon Park" userId="beddcffd-ce47-4056-b815-24814e3fbfe9" providerId="ADAL" clId="{B4A89210-D43A-44D0-9F26-7F0779D60D26}" dt="2022-09-28T01:31:32.136" v="15185" actId="478"/>
          <ac:graphicFrameMkLst>
            <pc:docMk/>
            <pc:sldMk cId="2325142287" sldId="2147470340"/>
            <ac:graphicFrameMk id="15" creationId="{9173C5C1-C77E-CA3B-437D-F05587F9C4A3}"/>
          </ac:graphicFrameMkLst>
        </pc:graphicFrameChg>
        <pc:picChg chg="add mod">
          <ac:chgData name="Jeung Hoon Park" userId="beddcffd-ce47-4056-b815-24814e3fbfe9" providerId="ADAL" clId="{B4A89210-D43A-44D0-9F26-7F0779D60D26}" dt="2022-10-19T04:56:06.881" v="44345" actId="1076"/>
          <ac:picMkLst>
            <pc:docMk/>
            <pc:sldMk cId="2325142287" sldId="2147470340"/>
            <ac:picMk id="4" creationId="{D854B36B-73BB-5602-84C2-FA2AF3047C61}"/>
          </ac:picMkLst>
        </pc:picChg>
        <pc:picChg chg="add mod">
          <ac:chgData name="Jeung Hoon Park" userId="beddcffd-ce47-4056-b815-24814e3fbfe9" providerId="ADAL" clId="{B4A89210-D43A-44D0-9F26-7F0779D60D26}" dt="2022-10-19T04:56:06.881" v="44345" actId="1076"/>
          <ac:picMkLst>
            <pc:docMk/>
            <pc:sldMk cId="2325142287" sldId="2147470340"/>
            <ac:picMk id="7" creationId="{124AE460-F555-925D-EC5D-BDD7D24F9653}"/>
          </ac:picMkLst>
        </pc:picChg>
        <pc:picChg chg="del">
          <ac:chgData name="Jeung Hoon Park" userId="beddcffd-ce47-4056-b815-24814e3fbfe9" providerId="ADAL" clId="{B4A89210-D43A-44D0-9F26-7F0779D60D26}" dt="2022-09-28T01:31:29.762" v="15184" actId="478"/>
          <ac:picMkLst>
            <pc:docMk/>
            <pc:sldMk cId="2325142287" sldId="2147470340"/>
            <ac:picMk id="12" creationId="{A69BCC8E-C77B-0F46-9FFF-C96D2C74BE26}"/>
          </ac:picMkLst>
        </pc:picChg>
      </pc:sldChg>
      <pc:sldChg chg="addSp delSp modSp add mod">
        <pc:chgData name="Jeung Hoon Park" userId="beddcffd-ce47-4056-b815-24814e3fbfe9" providerId="ADAL" clId="{B4A89210-D43A-44D0-9F26-7F0779D60D26}" dt="2022-10-19T04:58:16.268" v="44441" actId="6549"/>
        <pc:sldMkLst>
          <pc:docMk/>
          <pc:sldMk cId="1580311081" sldId="2147470341"/>
        </pc:sldMkLst>
        <pc:spChg chg="mod">
          <ac:chgData name="Jeung Hoon Park" userId="beddcffd-ce47-4056-b815-24814e3fbfe9" providerId="ADAL" clId="{B4A89210-D43A-44D0-9F26-7F0779D60D26}" dt="2022-10-19T04:56:20.424" v="44364" actId="20577"/>
          <ac:spMkLst>
            <pc:docMk/>
            <pc:sldMk cId="1580311081" sldId="2147470341"/>
            <ac:spMk id="2" creationId="{C9355748-2E5A-FF43-B041-EDECD4D2DAAD}"/>
          </ac:spMkLst>
        </pc:spChg>
        <pc:spChg chg="mod">
          <ac:chgData name="Jeung Hoon Park" userId="beddcffd-ce47-4056-b815-24814e3fbfe9" providerId="ADAL" clId="{B4A89210-D43A-44D0-9F26-7F0779D60D26}" dt="2022-10-19T04:58:16.268" v="44441" actId="6549"/>
          <ac:spMkLst>
            <pc:docMk/>
            <pc:sldMk cId="1580311081" sldId="2147470341"/>
            <ac:spMk id="5" creationId="{0F85905A-5E01-8F50-E18C-9D227C507F1C}"/>
          </ac:spMkLst>
        </pc:spChg>
        <pc:picChg chg="del">
          <ac:chgData name="Jeung Hoon Park" userId="beddcffd-ce47-4056-b815-24814e3fbfe9" providerId="ADAL" clId="{B4A89210-D43A-44D0-9F26-7F0779D60D26}" dt="2022-09-28T01:47:39.802" v="16014" actId="478"/>
          <ac:picMkLst>
            <pc:docMk/>
            <pc:sldMk cId="1580311081" sldId="2147470341"/>
            <ac:picMk id="4" creationId="{D854B36B-73BB-5602-84C2-FA2AF3047C61}"/>
          </ac:picMkLst>
        </pc:picChg>
        <pc:picChg chg="add del mod">
          <ac:chgData name="Jeung Hoon Park" userId="beddcffd-ce47-4056-b815-24814e3fbfe9" providerId="ADAL" clId="{B4A89210-D43A-44D0-9F26-7F0779D60D26}" dt="2022-09-28T01:48:36.908" v="16122" actId="22"/>
          <ac:picMkLst>
            <pc:docMk/>
            <pc:sldMk cId="1580311081" sldId="2147470341"/>
            <ac:picMk id="6" creationId="{641B669F-D807-ECEB-0DEB-0F67256358EA}"/>
          </ac:picMkLst>
        </pc:picChg>
        <pc:picChg chg="del">
          <ac:chgData name="Jeung Hoon Park" userId="beddcffd-ce47-4056-b815-24814e3fbfe9" providerId="ADAL" clId="{B4A89210-D43A-44D0-9F26-7F0779D60D26}" dt="2022-09-28T01:47:40.167" v="16015" actId="478"/>
          <ac:picMkLst>
            <pc:docMk/>
            <pc:sldMk cId="1580311081" sldId="2147470341"/>
            <ac:picMk id="7" creationId="{124AE460-F555-925D-EC5D-BDD7D24F9653}"/>
          </ac:picMkLst>
        </pc:picChg>
        <pc:picChg chg="add mod">
          <ac:chgData name="Jeung Hoon Park" userId="beddcffd-ce47-4056-b815-24814e3fbfe9" providerId="ADAL" clId="{B4A89210-D43A-44D0-9F26-7F0779D60D26}" dt="2022-10-19T04:56:37.071" v="44368" actId="1076"/>
          <ac:picMkLst>
            <pc:docMk/>
            <pc:sldMk cId="1580311081" sldId="2147470341"/>
            <ac:picMk id="9" creationId="{18A3D20C-E2BB-6F8A-3E93-FF918A01C7A4}"/>
          </ac:picMkLst>
        </pc:picChg>
        <pc:picChg chg="add mod">
          <ac:chgData name="Jeung Hoon Park" userId="beddcffd-ce47-4056-b815-24814e3fbfe9" providerId="ADAL" clId="{B4A89210-D43A-44D0-9F26-7F0779D60D26}" dt="2022-10-19T04:56:37.071" v="44368" actId="1076"/>
          <ac:picMkLst>
            <pc:docMk/>
            <pc:sldMk cId="1580311081" sldId="2147470341"/>
            <ac:picMk id="11" creationId="{8D9072D0-4284-1229-8F47-D3A458FC9BAC}"/>
          </ac:picMkLst>
        </pc:picChg>
        <pc:picChg chg="add mod">
          <ac:chgData name="Jeung Hoon Park" userId="beddcffd-ce47-4056-b815-24814e3fbfe9" providerId="ADAL" clId="{B4A89210-D43A-44D0-9F26-7F0779D60D26}" dt="2022-10-19T04:57:34.116" v="44402" actId="1076"/>
          <ac:picMkLst>
            <pc:docMk/>
            <pc:sldMk cId="1580311081" sldId="2147470341"/>
            <ac:picMk id="13" creationId="{A705FBCE-F9CF-734D-F840-77F8369608CD}"/>
          </ac:picMkLst>
        </pc:picChg>
      </pc:sldChg>
      <pc:sldChg chg="addSp delSp modSp add mod">
        <pc:chgData name="Jeung Hoon Park" userId="beddcffd-ce47-4056-b815-24814e3fbfe9" providerId="ADAL" clId="{B4A89210-D43A-44D0-9F26-7F0779D60D26}" dt="2022-10-19T05:00:25.181" v="44473" actId="6549"/>
        <pc:sldMkLst>
          <pc:docMk/>
          <pc:sldMk cId="2063809896" sldId="2147470342"/>
        </pc:sldMkLst>
        <pc:spChg chg="mod">
          <ac:chgData name="Jeung Hoon Park" userId="beddcffd-ce47-4056-b815-24814e3fbfe9" providerId="ADAL" clId="{B4A89210-D43A-44D0-9F26-7F0779D60D26}" dt="2022-10-19T04:58:45.228" v="44452" actId="20577"/>
          <ac:spMkLst>
            <pc:docMk/>
            <pc:sldMk cId="2063809896" sldId="2147470342"/>
            <ac:spMk id="2" creationId="{C9355748-2E5A-FF43-B041-EDECD4D2DAAD}"/>
          </ac:spMkLst>
        </pc:spChg>
        <pc:spChg chg="mod">
          <ac:chgData name="Jeung Hoon Park" userId="beddcffd-ce47-4056-b815-24814e3fbfe9" providerId="ADAL" clId="{B4A89210-D43A-44D0-9F26-7F0779D60D26}" dt="2022-10-19T05:00:25.181" v="44473" actId="6549"/>
          <ac:spMkLst>
            <pc:docMk/>
            <pc:sldMk cId="2063809896" sldId="2147470342"/>
            <ac:spMk id="5" creationId="{0F85905A-5E01-8F50-E18C-9D227C507F1C}"/>
          </ac:spMkLst>
        </pc:spChg>
        <pc:picChg chg="add mod">
          <ac:chgData name="Jeung Hoon Park" userId="beddcffd-ce47-4056-b815-24814e3fbfe9" providerId="ADAL" clId="{B4A89210-D43A-44D0-9F26-7F0779D60D26}" dt="2022-10-19T04:59:03.666" v="44457" actId="14861"/>
          <ac:picMkLst>
            <pc:docMk/>
            <pc:sldMk cId="2063809896" sldId="2147470342"/>
            <ac:picMk id="4" creationId="{1AEE7120-F524-5ECB-FCE3-F36025A29498}"/>
          </ac:picMkLst>
        </pc:picChg>
        <pc:picChg chg="add del mod">
          <ac:chgData name="Jeung Hoon Park" userId="beddcffd-ce47-4056-b815-24814e3fbfe9" providerId="ADAL" clId="{B4A89210-D43A-44D0-9F26-7F0779D60D26}" dt="2022-09-28T02:20:04.746" v="17439" actId="478"/>
          <ac:picMkLst>
            <pc:docMk/>
            <pc:sldMk cId="2063809896" sldId="2147470342"/>
            <ac:picMk id="7" creationId="{FFA13FDB-40B5-BFCC-C01B-EA8BF5E1BDC8}"/>
          </ac:picMkLst>
        </pc:picChg>
        <pc:picChg chg="del">
          <ac:chgData name="Jeung Hoon Park" userId="beddcffd-ce47-4056-b815-24814e3fbfe9" providerId="ADAL" clId="{B4A89210-D43A-44D0-9F26-7F0779D60D26}" dt="2022-09-28T01:57:42.819" v="16667" actId="478"/>
          <ac:picMkLst>
            <pc:docMk/>
            <pc:sldMk cId="2063809896" sldId="2147470342"/>
            <ac:picMk id="9" creationId="{18A3D20C-E2BB-6F8A-3E93-FF918A01C7A4}"/>
          </ac:picMkLst>
        </pc:picChg>
        <pc:picChg chg="add del mod">
          <ac:chgData name="Jeung Hoon Park" userId="beddcffd-ce47-4056-b815-24814e3fbfe9" providerId="ADAL" clId="{B4A89210-D43A-44D0-9F26-7F0779D60D26}" dt="2022-09-28T02:20:05.312" v="17440" actId="478"/>
          <ac:picMkLst>
            <pc:docMk/>
            <pc:sldMk cId="2063809896" sldId="2147470342"/>
            <ac:picMk id="10" creationId="{0818A485-97EA-51D0-E87B-1DED87616223}"/>
          </ac:picMkLst>
        </pc:picChg>
        <pc:picChg chg="del">
          <ac:chgData name="Jeung Hoon Park" userId="beddcffd-ce47-4056-b815-24814e3fbfe9" providerId="ADAL" clId="{B4A89210-D43A-44D0-9F26-7F0779D60D26}" dt="2022-09-28T01:57:43.237" v="16668" actId="478"/>
          <ac:picMkLst>
            <pc:docMk/>
            <pc:sldMk cId="2063809896" sldId="2147470342"/>
            <ac:picMk id="11" creationId="{8D9072D0-4284-1229-8F47-D3A458FC9BAC}"/>
          </ac:picMkLst>
        </pc:picChg>
        <pc:picChg chg="del">
          <ac:chgData name="Jeung Hoon Park" userId="beddcffd-ce47-4056-b815-24814e3fbfe9" providerId="ADAL" clId="{B4A89210-D43A-44D0-9F26-7F0779D60D26}" dt="2022-09-28T01:57:43.725" v="16669" actId="478"/>
          <ac:picMkLst>
            <pc:docMk/>
            <pc:sldMk cId="2063809896" sldId="2147470342"/>
            <ac:picMk id="13" creationId="{A705FBCE-F9CF-734D-F840-77F8369608CD}"/>
          </ac:picMkLst>
        </pc:picChg>
        <pc:picChg chg="add del mod">
          <ac:chgData name="Jeung Hoon Park" userId="beddcffd-ce47-4056-b815-24814e3fbfe9" providerId="ADAL" clId="{B4A89210-D43A-44D0-9F26-7F0779D60D26}" dt="2022-09-28T02:20:05.660" v="17442" actId="478"/>
          <ac:picMkLst>
            <pc:docMk/>
            <pc:sldMk cId="2063809896" sldId="2147470342"/>
            <ac:picMk id="14" creationId="{08D938A7-D91F-559F-2B2C-0B9662DDDA94}"/>
          </ac:picMkLst>
        </pc:picChg>
        <pc:picChg chg="add mod">
          <ac:chgData name="Jeung Hoon Park" userId="beddcffd-ce47-4056-b815-24814e3fbfe9" providerId="ADAL" clId="{B4A89210-D43A-44D0-9F26-7F0779D60D26}" dt="2022-10-19T04:59:31.377" v="44468" actId="1076"/>
          <ac:picMkLst>
            <pc:docMk/>
            <pc:sldMk cId="2063809896" sldId="2147470342"/>
            <ac:picMk id="16" creationId="{5F68138B-99F2-CB3D-DE31-30163014FEFF}"/>
          </ac:picMkLst>
        </pc:picChg>
      </pc:sldChg>
      <pc:sldChg chg="addSp delSp modSp add mod ord">
        <pc:chgData name="Jeung Hoon Park" userId="beddcffd-ce47-4056-b815-24814e3fbfe9" providerId="ADAL" clId="{B4A89210-D43A-44D0-9F26-7F0779D60D26}" dt="2022-10-19T05:06:42.864" v="44726" actId="1076"/>
        <pc:sldMkLst>
          <pc:docMk/>
          <pc:sldMk cId="3428403811" sldId="2147470344"/>
        </pc:sldMkLst>
        <pc:spChg chg="mod">
          <ac:chgData name="Jeung Hoon Park" userId="beddcffd-ce47-4056-b815-24814e3fbfe9" providerId="ADAL" clId="{B4A89210-D43A-44D0-9F26-7F0779D60D26}" dt="2022-10-19T05:04:32.354" v="44594" actId="20577"/>
          <ac:spMkLst>
            <pc:docMk/>
            <pc:sldMk cId="3428403811" sldId="2147470344"/>
            <ac:spMk id="2" creationId="{C9355748-2E5A-FF43-B041-EDECD4D2DAAD}"/>
          </ac:spMkLst>
        </pc:spChg>
        <pc:spChg chg="mod">
          <ac:chgData name="Jeung Hoon Park" userId="beddcffd-ce47-4056-b815-24814e3fbfe9" providerId="ADAL" clId="{B4A89210-D43A-44D0-9F26-7F0779D60D26}" dt="2022-10-19T05:06:26.447" v="44724" actId="255"/>
          <ac:spMkLst>
            <pc:docMk/>
            <pc:sldMk cId="3428403811" sldId="2147470344"/>
            <ac:spMk id="5" creationId="{0F85905A-5E01-8F50-E18C-9D227C507F1C}"/>
          </ac:spMkLst>
        </pc:spChg>
        <pc:graphicFrameChg chg="add mod modGraphic">
          <ac:chgData name="Jeung Hoon Park" userId="beddcffd-ce47-4056-b815-24814e3fbfe9" providerId="ADAL" clId="{B4A89210-D43A-44D0-9F26-7F0779D60D26}" dt="2022-10-19T05:06:42.864" v="44726" actId="1076"/>
          <ac:graphicFrameMkLst>
            <pc:docMk/>
            <pc:sldMk cId="3428403811" sldId="2147470344"/>
            <ac:graphicFrameMk id="9" creationId="{3479E060-17B0-42F2-E646-26FD2AB38C8C}"/>
          </ac:graphicFrameMkLst>
        </pc:graphicFrameChg>
        <pc:graphicFrameChg chg="add mod modGraphic">
          <ac:chgData name="Jeung Hoon Park" userId="beddcffd-ce47-4056-b815-24814e3fbfe9" providerId="ADAL" clId="{B4A89210-D43A-44D0-9F26-7F0779D60D26}" dt="2022-10-19T05:06:32.393" v="44725" actId="1076"/>
          <ac:graphicFrameMkLst>
            <pc:docMk/>
            <pc:sldMk cId="3428403811" sldId="2147470344"/>
            <ac:graphicFrameMk id="10" creationId="{DEC34766-DDAD-C154-FFB6-BFAAD6027336}"/>
          </ac:graphicFrameMkLst>
        </pc:graphicFrameChg>
        <pc:picChg chg="del">
          <ac:chgData name="Jeung Hoon Park" userId="beddcffd-ce47-4056-b815-24814e3fbfe9" providerId="ADAL" clId="{B4A89210-D43A-44D0-9F26-7F0779D60D26}" dt="2022-09-28T04:57:37.815" v="17704" actId="478"/>
          <ac:picMkLst>
            <pc:docMk/>
            <pc:sldMk cId="3428403811" sldId="2147470344"/>
            <ac:picMk id="4" creationId="{1AEE7120-F524-5ECB-FCE3-F36025A29498}"/>
          </ac:picMkLst>
        </pc:picChg>
        <pc:picChg chg="add del mod">
          <ac:chgData name="Jeung Hoon Park" userId="beddcffd-ce47-4056-b815-24814e3fbfe9" providerId="ADAL" clId="{B4A89210-D43A-44D0-9F26-7F0779D60D26}" dt="2022-09-28T05:26:31.781" v="19034" actId="478"/>
          <ac:picMkLst>
            <pc:docMk/>
            <pc:sldMk cId="3428403811" sldId="2147470344"/>
            <ac:picMk id="6" creationId="{7B67586B-155F-FEF4-AC48-95A1471F6EE6}"/>
          </ac:picMkLst>
        </pc:picChg>
        <pc:picChg chg="add mod">
          <ac:chgData name="Jeung Hoon Park" userId="beddcffd-ce47-4056-b815-24814e3fbfe9" providerId="ADAL" clId="{B4A89210-D43A-44D0-9F26-7F0779D60D26}" dt="2022-10-19T05:06:17.049" v="44722" actId="1076"/>
          <ac:picMkLst>
            <pc:docMk/>
            <pc:sldMk cId="3428403811" sldId="2147470344"/>
            <ac:picMk id="8" creationId="{4911D575-6C5B-52F6-2539-648F71A0FC80}"/>
          </ac:picMkLst>
        </pc:picChg>
        <pc:picChg chg="del">
          <ac:chgData name="Jeung Hoon Park" userId="beddcffd-ce47-4056-b815-24814e3fbfe9" providerId="ADAL" clId="{B4A89210-D43A-44D0-9F26-7F0779D60D26}" dt="2022-09-28T04:57:37.210" v="17703" actId="478"/>
          <ac:picMkLst>
            <pc:docMk/>
            <pc:sldMk cId="3428403811" sldId="2147470344"/>
            <ac:picMk id="16" creationId="{5F68138B-99F2-CB3D-DE31-30163014FEFF}"/>
          </ac:picMkLst>
        </pc:picChg>
      </pc:sldChg>
      <pc:sldChg chg="modSp add mod">
        <pc:chgData name="Jeung Hoon Park" userId="beddcffd-ce47-4056-b815-24814e3fbfe9" providerId="ADAL" clId="{B4A89210-D43A-44D0-9F26-7F0779D60D26}" dt="2022-10-19T05:03:58.543" v="44568" actId="6549"/>
        <pc:sldMkLst>
          <pc:docMk/>
          <pc:sldMk cId="1423702067" sldId="2147470346"/>
        </pc:sldMkLst>
        <pc:spChg chg="mod">
          <ac:chgData name="Jeung Hoon Park" userId="beddcffd-ce47-4056-b815-24814e3fbfe9" providerId="ADAL" clId="{B4A89210-D43A-44D0-9F26-7F0779D60D26}" dt="2022-10-19T05:03:58.543" v="44568" actId="6549"/>
          <ac:spMkLst>
            <pc:docMk/>
            <pc:sldMk cId="1423702067" sldId="2147470346"/>
            <ac:spMk id="5" creationId="{0F85905A-5E01-8F50-E18C-9D227C507F1C}"/>
          </ac:spMkLst>
        </pc:spChg>
        <pc:picChg chg="mod">
          <ac:chgData name="Jeung Hoon Park" userId="beddcffd-ce47-4056-b815-24814e3fbfe9" providerId="ADAL" clId="{B4A89210-D43A-44D0-9F26-7F0779D60D26}" dt="2022-10-19T05:03:21.232" v="44534" actId="1076"/>
          <ac:picMkLst>
            <pc:docMk/>
            <pc:sldMk cId="1423702067" sldId="2147470346"/>
            <ac:picMk id="6" creationId="{7B67586B-155F-FEF4-AC48-95A1471F6EE6}"/>
          </ac:picMkLst>
        </pc:picChg>
      </pc:sldChg>
      <pc:sldChg chg="addSp delSp modSp add mod">
        <pc:chgData name="Jeung Hoon Park" userId="beddcffd-ce47-4056-b815-24814e3fbfe9" providerId="ADAL" clId="{B4A89210-D43A-44D0-9F26-7F0779D60D26}" dt="2022-10-19T05:08:36.369" v="44832" actId="20577"/>
        <pc:sldMkLst>
          <pc:docMk/>
          <pc:sldMk cId="1154410655" sldId="2147470348"/>
        </pc:sldMkLst>
        <pc:spChg chg="mod">
          <ac:chgData name="Jeung Hoon Park" userId="beddcffd-ce47-4056-b815-24814e3fbfe9" providerId="ADAL" clId="{B4A89210-D43A-44D0-9F26-7F0779D60D26}" dt="2022-10-19T05:07:12.585" v="44746" actId="20577"/>
          <ac:spMkLst>
            <pc:docMk/>
            <pc:sldMk cId="1154410655" sldId="2147470348"/>
            <ac:spMk id="2" creationId="{C9355748-2E5A-FF43-B041-EDECD4D2DAAD}"/>
          </ac:spMkLst>
        </pc:spChg>
        <pc:spChg chg="mod">
          <ac:chgData name="Jeung Hoon Park" userId="beddcffd-ce47-4056-b815-24814e3fbfe9" providerId="ADAL" clId="{B4A89210-D43A-44D0-9F26-7F0779D60D26}" dt="2022-10-19T05:08:36.369" v="44832" actId="20577"/>
          <ac:spMkLst>
            <pc:docMk/>
            <pc:sldMk cId="1154410655" sldId="2147470348"/>
            <ac:spMk id="5" creationId="{0F85905A-5E01-8F50-E18C-9D227C507F1C}"/>
          </ac:spMkLst>
        </pc:spChg>
        <pc:graphicFrameChg chg="add mod modGraphic">
          <ac:chgData name="Jeung Hoon Park" userId="beddcffd-ce47-4056-b815-24814e3fbfe9" providerId="ADAL" clId="{B4A89210-D43A-44D0-9F26-7F0779D60D26}" dt="2022-10-19T05:07:26.336" v="44749" actId="1076"/>
          <ac:graphicFrameMkLst>
            <pc:docMk/>
            <pc:sldMk cId="1154410655" sldId="2147470348"/>
            <ac:graphicFrameMk id="3" creationId="{EE9A1A85-6698-04B9-8CFA-431556A8089D}"/>
          </ac:graphicFrameMkLst>
        </pc:graphicFrameChg>
        <pc:graphicFrameChg chg="del">
          <ac:chgData name="Jeung Hoon Park" userId="beddcffd-ce47-4056-b815-24814e3fbfe9" providerId="ADAL" clId="{B4A89210-D43A-44D0-9F26-7F0779D60D26}" dt="2022-09-28T05:37:29.945" v="19520" actId="478"/>
          <ac:graphicFrameMkLst>
            <pc:docMk/>
            <pc:sldMk cId="1154410655" sldId="2147470348"/>
            <ac:graphicFrameMk id="9" creationId="{3479E060-17B0-42F2-E646-26FD2AB38C8C}"/>
          </ac:graphicFrameMkLst>
        </pc:graphicFrameChg>
        <pc:graphicFrameChg chg="del">
          <ac:chgData name="Jeung Hoon Park" userId="beddcffd-ce47-4056-b815-24814e3fbfe9" providerId="ADAL" clId="{B4A89210-D43A-44D0-9F26-7F0779D60D26}" dt="2022-09-28T05:37:30.772" v="19521" actId="478"/>
          <ac:graphicFrameMkLst>
            <pc:docMk/>
            <pc:sldMk cId="1154410655" sldId="2147470348"/>
            <ac:graphicFrameMk id="10" creationId="{DEC34766-DDAD-C154-FFB6-BFAAD6027336}"/>
          </ac:graphicFrameMkLst>
        </pc:graphicFrameChg>
        <pc:picChg chg="add mod">
          <ac:chgData name="Jeung Hoon Park" userId="beddcffd-ce47-4056-b815-24814e3fbfe9" providerId="ADAL" clId="{B4A89210-D43A-44D0-9F26-7F0779D60D26}" dt="2022-10-19T05:08:02.107" v="44773" actId="1038"/>
          <ac:picMkLst>
            <pc:docMk/>
            <pc:sldMk cId="1154410655" sldId="2147470348"/>
            <ac:picMk id="6" creationId="{D1A06198-7562-6D06-B5AA-0B221BA1366E}"/>
          </ac:picMkLst>
        </pc:picChg>
        <pc:picChg chg="del">
          <ac:chgData name="Jeung Hoon Park" userId="beddcffd-ce47-4056-b815-24814e3fbfe9" providerId="ADAL" clId="{B4A89210-D43A-44D0-9F26-7F0779D60D26}" dt="2022-09-28T05:37:26.748" v="19518" actId="478"/>
          <ac:picMkLst>
            <pc:docMk/>
            <pc:sldMk cId="1154410655" sldId="2147470348"/>
            <ac:picMk id="8" creationId="{4911D575-6C5B-52F6-2539-648F71A0FC80}"/>
          </ac:picMkLst>
        </pc:picChg>
        <pc:picChg chg="add mod">
          <ac:chgData name="Jeung Hoon Park" userId="beddcffd-ce47-4056-b815-24814e3fbfe9" providerId="ADAL" clId="{B4A89210-D43A-44D0-9F26-7F0779D60D26}" dt="2022-10-19T05:07:56.337" v="44766" actId="1038"/>
          <ac:picMkLst>
            <pc:docMk/>
            <pc:sldMk cId="1154410655" sldId="2147470348"/>
            <ac:picMk id="11" creationId="{9E52DCDB-0A86-0E1B-267D-A75C58A2BD0F}"/>
          </ac:picMkLst>
        </pc:picChg>
        <pc:picChg chg="add del mod">
          <ac:chgData name="Jeung Hoon Park" userId="beddcffd-ce47-4056-b815-24814e3fbfe9" providerId="ADAL" clId="{B4A89210-D43A-44D0-9F26-7F0779D60D26}" dt="2022-09-28T05:47:56.666" v="19629" actId="478"/>
          <ac:picMkLst>
            <pc:docMk/>
            <pc:sldMk cId="1154410655" sldId="2147470348"/>
            <ac:picMk id="13" creationId="{4AC9B57F-3664-5731-54BE-A2FC5197D1FB}"/>
          </ac:picMkLst>
        </pc:picChg>
      </pc:sldChg>
      <pc:sldChg chg="addSp delSp modSp add mod">
        <pc:chgData name="Jeung Hoon Park" userId="beddcffd-ce47-4056-b815-24814e3fbfe9" providerId="ADAL" clId="{B4A89210-D43A-44D0-9F26-7F0779D60D26}" dt="2022-10-19T05:10:29.595" v="44892" actId="6549"/>
        <pc:sldMkLst>
          <pc:docMk/>
          <pc:sldMk cId="939806284" sldId="2147470350"/>
        </pc:sldMkLst>
        <pc:spChg chg="mod">
          <ac:chgData name="Jeung Hoon Park" userId="beddcffd-ce47-4056-b815-24814e3fbfe9" providerId="ADAL" clId="{B4A89210-D43A-44D0-9F26-7F0779D60D26}" dt="2022-10-19T05:08:56.486" v="44856" actId="20577"/>
          <ac:spMkLst>
            <pc:docMk/>
            <pc:sldMk cId="939806284" sldId="2147470350"/>
            <ac:spMk id="2" creationId="{C9355748-2E5A-FF43-B041-EDECD4D2DAAD}"/>
          </ac:spMkLst>
        </pc:spChg>
        <pc:spChg chg="mod">
          <ac:chgData name="Jeung Hoon Park" userId="beddcffd-ce47-4056-b815-24814e3fbfe9" providerId="ADAL" clId="{B4A89210-D43A-44D0-9F26-7F0779D60D26}" dt="2022-10-19T05:10:29.595" v="44892" actId="6549"/>
          <ac:spMkLst>
            <pc:docMk/>
            <pc:sldMk cId="939806284" sldId="2147470350"/>
            <ac:spMk id="5" creationId="{0F85905A-5E01-8F50-E18C-9D227C507F1C}"/>
          </ac:spMkLst>
        </pc:spChg>
        <pc:spChg chg="add del mod">
          <ac:chgData name="Jeung Hoon Park" userId="beddcffd-ce47-4056-b815-24814e3fbfe9" providerId="ADAL" clId="{B4A89210-D43A-44D0-9F26-7F0779D60D26}" dt="2022-09-28T06:57:47.488" v="22250" actId="1076"/>
          <ac:spMkLst>
            <pc:docMk/>
            <pc:sldMk cId="939806284" sldId="2147470350"/>
            <ac:spMk id="8" creationId="{4D4B535E-DC90-483E-9CA1-EF39FC7DD6E6}"/>
          </ac:spMkLst>
        </pc:spChg>
        <pc:spChg chg="add mod">
          <ac:chgData name="Jeung Hoon Park" userId="beddcffd-ce47-4056-b815-24814e3fbfe9" providerId="ADAL" clId="{B4A89210-D43A-44D0-9F26-7F0779D60D26}" dt="2022-09-28T06:41:15.732" v="22011" actId="1076"/>
          <ac:spMkLst>
            <pc:docMk/>
            <pc:sldMk cId="939806284" sldId="2147470350"/>
            <ac:spMk id="14" creationId="{AAD62933-8C20-498E-9BE0-9A801A27FDD6}"/>
          </ac:spMkLst>
        </pc:spChg>
        <pc:spChg chg="add mod">
          <ac:chgData name="Jeung Hoon Park" userId="beddcffd-ce47-4056-b815-24814e3fbfe9" providerId="ADAL" clId="{B4A89210-D43A-44D0-9F26-7F0779D60D26}" dt="2022-09-28T06:41:28.330" v="22013" actId="1076"/>
          <ac:spMkLst>
            <pc:docMk/>
            <pc:sldMk cId="939806284" sldId="2147470350"/>
            <ac:spMk id="15" creationId="{02B0A5EF-23DB-49A4-99FB-7EE987955000}"/>
          </ac:spMkLst>
        </pc:spChg>
        <pc:spChg chg="add del mod">
          <ac:chgData name="Jeung Hoon Park" userId="beddcffd-ce47-4056-b815-24814e3fbfe9" providerId="ADAL" clId="{B4A89210-D43A-44D0-9F26-7F0779D60D26}" dt="2022-09-28T06:54:22.495" v="22174" actId="478"/>
          <ac:spMkLst>
            <pc:docMk/>
            <pc:sldMk cId="939806284" sldId="2147470350"/>
            <ac:spMk id="16" creationId="{E060DCC0-3390-4E07-92EF-AEC52080E6CC}"/>
          </ac:spMkLst>
        </pc:spChg>
        <pc:spChg chg="add del mod">
          <ac:chgData name="Jeung Hoon Park" userId="beddcffd-ce47-4056-b815-24814e3fbfe9" providerId="ADAL" clId="{B4A89210-D43A-44D0-9F26-7F0779D60D26}" dt="2022-09-28T06:52:57.477" v="22145" actId="478"/>
          <ac:spMkLst>
            <pc:docMk/>
            <pc:sldMk cId="939806284" sldId="2147470350"/>
            <ac:spMk id="17" creationId="{035080D4-C845-CABB-434C-E02AA91285BB}"/>
          </ac:spMkLst>
        </pc:spChg>
        <pc:spChg chg="add del mod">
          <ac:chgData name="Jeung Hoon Park" userId="beddcffd-ce47-4056-b815-24814e3fbfe9" providerId="ADAL" clId="{B4A89210-D43A-44D0-9F26-7F0779D60D26}" dt="2022-09-28T06:54:11.324" v="22170" actId="478"/>
          <ac:spMkLst>
            <pc:docMk/>
            <pc:sldMk cId="939806284" sldId="2147470350"/>
            <ac:spMk id="18" creationId="{B1C7977F-7D47-792E-FFE3-8C43A5CC9D64}"/>
          </ac:spMkLst>
        </pc:spChg>
        <pc:spChg chg="add del mod">
          <ac:chgData name="Jeung Hoon Park" userId="beddcffd-ce47-4056-b815-24814e3fbfe9" providerId="ADAL" clId="{B4A89210-D43A-44D0-9F26-7F0779D60D26}" dt="2022-09-28T06:52:56.845" v="22144" actId="478"/>
          <ac:spMkLst>
            <pc:docMk/>
            <pc:sldMk cId="939806284" sldId="2147470350"/>
            <ac:spMk id="19" creationId="{EB48A9B8-890E-3D30-284F-217BF82DD692}"/>
          </ac:spMkLst>
        </pc:spChg>
        <pc:spChg chg="add del mod">
          <ac:chgData name="Jeung Hoon Park" userId="beddcffd-ce47-4056-b815-24814e3fbfe9" providerId="ADAL" clId="{B4A89210-D43A-44D0-9F26-7F0779D60D26}" dt="2022-09-28T06:54:32.239" v="22176" actId="478"/>
          <ac:spMkLst>
            <pc:docMk/>
            <pc:sldMk cId="939806284" sldId="2147470350"/>
            <ac:spMk id="20" creationId="{8AA92338-3881-579C-4E42-A48A03478794}"/>
          </ac:spMkLst>
        </pc:spChg>
        <pc:spChg chg="add mod">
          <ac:chgData name="Jeung Hoon Park" userId="beddcffd-ce47-4056-b815-24814e3fbfe9" providerId="ADAL" clId="{B4A89210-D43A-44D0-9F26-7F0779D60D26}" dt="2022-09-28T06:55:45.526" v="22231" actId="14100"/>
          <ac:spMkLst>
            <pc:docMk/>
            <pc:sldMk cId="939806284" sldId="2147470350"/>
            <ac:spMk id="26" creationId="{92569A8E-23DE-A702-D165-E5CB91E9DACB}"/>
          </ac:spMkLst>
        </pc:spChg>
        <pc:grpChg chg="add del mod">
          <ac:chgData name="Jeung Hoon Park" userId="beddcffd-ce47-4056-b815-24814e3fbfe9" providerId="ADAL" clId="{B4A89210-D43A-44D0-9F26-7F0779D60D26}" dt="2022-09-28T06:54:29.083" v="22175" actId="1076"/>
          <ac:grpSpMkLst>
            <pc:docMk/>
            <pc:sldMk cId="939806284" sldId="2147470350"/>
            <ac:grpSpMk id="4" creationId="{6FEDC583-5772-45FD-B974-F49EDCADCE33}"/>
          </ac:grpSpMkLst>
        </pc:grpChg>
        <pc:grpChg chg="add del mod">
          <ac:chgData name="Jeung Hoon Park" userId="beddcffd-ce47-4056-b815-24814e3fbfe9" providerId="ADAL" clId="{B4A89210-D43A-44D0-9F26-7F0779D60D26}" dt="2022-09-28T06:54:17.091" v="22173" actId="478"/>
          <ac:grpSpMkLst>
            <pc:docMk/>
            <pc:sldMk cId="939806284" sldId="2147470350"/>
            <ac:grpSpMk id="10" creationId="{C08F6BDA-A277-4096-BA26-7E4913E99F10}"/>
          </ac:grpSpMkLst>
        </pc:grpChg>
        <pc:grpChg chg="add mod">
          <ac:chgData name="Jeung Hoon Park" userId="beddcffd-ce47-4056-b815-24814e3fbfe9" providerId="ADAL" clId="{B4A89210-D43A-44D0-9F26-7F0779D60D26}" dt="2022-09-28T06:15:27.967" v="20557"/>
          <ac:grpSpMkLst>
            <pc:docMk/>
            <pc:sldMk cId="939806284" sldId="2147470350"/>
            <ac:grpSpMk id="12" creationId="{A9D22B4F-BD94-4C4D-8F84-7A03057E4F40}"/>
          </ac:grpSpMkLst>
        </pc:grpChg>
        <pc:graphicFrameChg chg="del">
          <ac:chgData name="Jeung Hoon Park" userId="beddcffd-ce47-4056-b815-24814e3fbfe9" providerId="ADAL" clId="{B4A89210-D43A-44D0-9F26-7F0779D60D26}" dt="2022-09-28T06:11:18.788" v="20187" actId="478"/>
          <ac:graphicFrameMkLst>
            <pc:docMk/>
            <pc:sldMk cId="939806284" sldId="2147470350"/>
            <ac:graphicFrameMk id="3" creationId="{EE9A1A85-6698-04B9-8CFA-431556A8089D}"/>
          </ac:graphicFrameMkLst>
        </pc:graphicFrameChg>
        <pc:picChg chg="del">
          <ac:chgData name="Jeung Hoon Park" userId="beddcffd-ce47-4056-b815-24814e3fbfe9" providerId="ADAL" clId="{B4A89210-D43A-44D0-9F26-7F0779D60D26}" dt="2022-09-28T06:11:19.741" v="20188" actId="478"/>
          <ac:picMkLst>
            <pc:docMk/>
            <pc:sldMk cId="939806284" sldId="2147470350"/>
            <ac:picMk id="6" creationId="{D1A06198-7562-6D06-B5AA-0B221BA1366E}"/>
          </ac:picMkLst>
        </pc:picChg>
        <pc:picChg chg="add del mod">
          <ac:chgData name="Jeung Hoon Park" userId="beddcffd-ce47-4056-b815-24814e3fbfe9" providerId="ADAL" clId="{B4A89210-D43A-44D0-9F26-7F0779D60D26}" dt="2022-09-28T06:54:37.281" v="22177" actId="1076"/>
          <ac:picMkLst>
            <pc:docMk/>
            <pc:sldMk cId="939806284" sldId="2147470350"/>
            <ac:picMk id="7" creationId="{E6C144DB-5B9D-4E8B-B6CA-2408161E232A}"/>
          </ac:picMkLst>
        </pc:picChg>
        <pc:picChg chg="add mod">
          <ac:chgData name="Jeung Hoon Park" userId="beddcffd-ce47-4056-b815-24814e3fbfe9" providerId="ADAL" clId="{B4A89210-D43A-44D0-9F26-7F0779D60D26}" dt="2022-09-28T06:41:22.932" v="22012" actId="1076"/>
          <ac:picMkLst>
            <pc:docMk/>
            <pc:sldMk cId="939806284" sldId="2147470350"/>
            <ac:picMk id="9" creationId="{9B3D8119-E2AF-4E2B-8DAE-D621393F3D42}"/>
          </ac:picMkLst>
        </pc:picChg>
        <pc:picChg chg="del">
          <ac:chgData name="Jeung Hoon Park" userId="beddcffd-ce47-4056-b815-24814e3fbfe9" providerId="ADAL" clId="{B4A89210-D43A-44D0-9F26-7F0779D60D26}" dt="2022-09-28T06:11:20.205" v="20189" actId="478"/>
          <ac:picMkLst>
            <pc:docMk/>
            <pc:sldMk cId="939806284" sldId="2147470350"/>
            <ac:picMk id="11" creationId="{9E52DCDB-0A86-0E1B-267D-A75C58A2BD0F}"/>
          </ac:picMkLst>
        </pc:picChg>
        <pc:picChg chg="add del mod">
          <ac:chgData name="Jeung Hoon Park" userId="beddcffd-ce47-4056-b815-24814e3fbfe9" providerId="ADAL" clId="{B4A89210-D43A-44D0-9F26-7F0779D60D26}" dt="2022-09-28T06:54:17.091" v="22173" actId="478"/>
          <ac:picMkLst>
            <pc:docMk/>
            <pc:sldMk cId="939806284" sldId="2147470350"/>
            <ac:picMk id="13" creationId="{4AA4DA4F-F5EE-47D4-90B7-D3699DBCD390}"/>
          </ac:picMkLst>
        </pc:picChg>
        <pc:picChg chg="add mod">
          <ac:chgData name="Jeung Hoon Park" userId="beddcffd-ce47-4056-b815-24814e3fbfe9" providerId="ADAL" clId="{B4A89210-D43A-44D0-9F26-7F0779D60D26}" dt="2022-09-28T06:55:18.818" v="22180" actId="1076"/>
          <ac:picMkLst>
            <pc:docMk/>
            <pc:sldMk cId="939806284" sldId="2147470350"/>
            <ac:picMk id="25" creationId="{78545212-B4B5-4C83-A2A0-BF56149B80E4}"/>
          </ac:picMkLst>
        </pc:picChg>
        <pc:cxnChg chg="add del mod">
          <ac:chgData name="Jeung Hoon Park" userId="beddcffd-ce47-4056-b815-24814e3fbfe9" providerId="ADAL" clId="{B4A89210-D43A-44D0-9F26-7F0779D60D26}" dt="2022-09-28T06:54:04.509" v="22164"/>
          <ac:cxnSpMkLst>
            <pc:docMk/>
            <pc:sldMk cId="939806284" sldId="2147470350"/>
            <ac:cxnSpMk id="21" creationId="{9BEE8889-B6B8-B885-F606-E1B108FA5675}"/>
          </ac:cxnSpMkLst>
        </pc:cxnChg>
        <pc:cxnChg chg="add del mod">
          <ac:chgData name="Jeung Hoon Park" userId="beddcffd-ce47-4056-b815-24814e3fbfe9" providerId="ADAL" clId="{B4A89210-D43A-44D0-9F26-7F0779D60D26}" dt="2022-09-28T06:54:04.509" v="22164"/>
          <ac:cxnSpMkLst>
            <pc:docMk/>
            <pc:sldMk cId="939806284" sldId="2147470350"/>
            <ac:cxnSpMk id="22" creationId="{7E1D748C-931D-45DB-39A1-214406020EB0}"/>
          </ac:cxnSpMkLst>
        </pc:cxnChg>
        <pc:cxnChg chg="add mod">
          <ac:chgData name="Jeung Hoon Park" userId="beddcffd-ce47-4056-b815-24814e3fbfe9" providerId="ADAL" clId="{B4A89210-D43A-44D0-9F26-7F0779D60D26}" dt="2022-09-28T06:56:49.588" v="22238" actId="14100"/>
          <ac:cxnSpMkLst>
            <pc:docMk/>
            <pc:sldMk cId="939806284" sldId="2147470350"/>
            <ac:cxnSpMk id="27" creationId="{1735FB2B-741D-D1CF-C475-A0AA1DDCC78B}"/>
          </ac:cxnSpMkLst>
        </pc:cxnChg>
        <pc:cxnChg chg="add del mod">
          <ac:chgData name="Jeung Hoon Park" userId="beddcffd-ce47-4056-b815-24814e3fbfe9" providerId="ADAL" clId="{B4A89210-D43A-44D0-9F26-7F0779D60D26}" dt="2022-09-28T06:58:48.311" v="22267" actId="478"/>
          <ac:cxnSpMkLst>
            <pc:docMk/>
            <pc:sldMk cId="939806284" sldId="2147470350"/>
            <ac:cxnSpMk id="32" creationId="{CC611E5E-F4A5-1996-1A25-943886B18183}"/>
          </ac:cxnSpMkLst>
        </pc:cxnChg>
        <pc:cxnChg chg="add del mod">
          <ac:chgData name="Jeung Hoon Park" userId="beddcffd-ce47-4056-b815-24814e3fbfe9" providerId="ADAL" clId="{B4A89210-D43A-44D0-9F26-7F0779D60D26}" dt="2022-09-28T07:00:07.108" v="22279" actId="478"/>
          <ac:cxnSpMkLst>
            <pc:docMk/>
            <pc:sldMk cId="939806284" sldId="2147470350"/>
            <ac:cxnSpMk id="57" creationId="{8085EAB8-C400-CC11-E87B-463788A6F701}"/>
          </ac:cxnSpMkLst>
        </pc:cxnChg>
        <pc:cxnChg chg="add mod">
          <ac:chgData name="Jeung Hoon Park" userId="beddcffd-ce47-4056-b815-24814e3fbfe9" providerId="ADAL" clId="{B4A89210-D43A-44D0-9F26-7F0779D60D26}" dt="2022-09-28T07:00:17.108" v="22282" actId="14100"/>
          <ac:cxnSpMkLst>
            <pc:docMk/>
            <pc:sldMk cId="939806284" sldId="2147470350"/>
            <ac:cxnSpMk id="66" creationId="{8C5C562A-20FE-84F1-786D-B3EBB231E6B6}"/>
          </ac:cxnSpMkLst>
        </pc:cxnChg>
        <pc:cxnChg chg="add mod">
          <ac:chgData name="Jeung Hoon Park" userId="beddcffd-ce47-4056-b815-24814e3fbfe9" providerId="ADAL" clId="{B4A89210-D43A-44D0-9F26-7F0779D60D26}" dt="2022-09-28T07:00:38.806" v="22289" actId="14100"/>
          <ac:cxnSpMkLst>
            <pc:docMk/>
            <pc:sldMk cId="939806284" sldId="2147470350"/>
            <ac:cxnSpMk id="68" creationId="{37D589F0-E430-2B3B-FDF7-2BDB7E695946}"/>
          </ac:cxnSpMkLst>
        </pc:cxnChg>
        <pc:cxnChg chg="add mod">
          <ac:chgData name="Jeung Hoon Park" userId="beddcffd-ce47-4056-b815-24814e3fbfe9" providerId="ADAL" clId="{B4A89210-D43A-44D0-9F26-7F0779D60D26}" dt="2022-09-28T07:00:42.212" v="22290" actId="14100"/>
          <ac:cxnSpMkLst>
            <pc:docMk/>
            <pc:sldMk cId="939806284" sldId="2147470350"/>
            <ac:cxnSpMk id="70" creationId="{C838F886-9487-8EC7-78E9-0779179800AD}"/>
          </ac:cxnSpMkLst>
        </pc:cxnChg>
      </pc:sldChg>
      <pc:sldChg chg="addSp delSp modSp add mod">
        <pc:chgData name="Jeung Hoon Park" userId="beddcffd-ce47-4056-b815-24814e3fbfe9" providerId="ADAL" clId="{B4A89210-D43A-44D0-9F26-7F0779D60D26}" dt="2022-10-19T05:12:40.106" v="44992" actId="6549"/>
        <pc:sldMkLst>
          <pc:docMk/>
          <pc:sldMk cId="3170705865" sldId="2147470351"/>
        </pc:sldMkLst>
        <pc:spChg chg="mod">
          <ac:chgData name="Jeung Hoon Park" userId="beddcffd-ce47-4056-b815-24814e3fbfe9" providerId="ADAL" clId="{B4A89210-D43A-44D0-9F26-7F0779D60D26}" dt="2022-10-19T05:10:47.007" v="44894"/>
          <ac:spMkLst>
            <pc:docMk/>
            <pc:sldMk cId="3170705865" sldId="2147470351"/>
            <ac:spMk id="2" creationId="{C9355748-2E5A-FF43-B041-EDECD4D2DAAD}"/>
          </ac:spMkLst>
        </pc:spChg>
        <pc:spChg chg="mod">
          <ac:chgData name="Jeung Hoon Park" userId="beddcffd-ce47-4056-b815-24814e3fbfe9" providerId="ADAL" clId="{B4A89210-D43A-44D0-9F26-7F0779D60D26}" dt="2022-10-19T05:12:40.106" v="44992" actId="6549"/>
          <ac:spMkLst>
            <pc:docMk/>
            <pc:sldMk cId="3170705865" sldId="2147470351"/>
            <ac:spMk id="5" creationId="{0F85905A-5E01-8F50-E18C-9D227C507F1C}"/>
          </ac:spMkLst>
        </pc:spChg>
        <pc:spChg chg="del">
          <ac:chgData name="Jeung Hoon Park" userId="beddcffd-ce47-4056-b815-24814e3fbfe9" providerId="ADAL" clId="{B4A89210-D43A-44D0-9F26-7F0779D60D26}" dt="2022-09-28T06:32:15.863" v="21399" actId="478"/>
          <ac:spMkLst>
            <pc:docMk/>
            <pc:sldMk cId="3170705865" sldId="2147470351"/>
            <ac:spMk id="8" creationId="{4D4B535E-DC90-483E-9CA1-EF39FC7DD6E6}"/>
          </ac:spMkLst>
        </pc:spChg>
        <pc:spChg chg="del">
          <ac:chgData name="Jeung Hoon Park" userId="beddcffd-ce47-4056-b815-24814e3fbfe9" providerId="ADAL" clId="{B4A89210-D43A-44D0-9F26-7F0779D60D26}" dt="2022-09-28T06:32:17.049" v="21401" actId="478"/>
          <ac:spMkLst>
            <pc:docMk/>
            <pc:sldMk cId="3170705865" sldId="2147470351"/>
            <ac:spMk id="17" creationId="{035080D4-C845-CABB-434C-E02AA91285BB}"/>
          </ac:spMkLst>
        </pc:spChg>
        <pc:spChg chg="del">
          <ac:chgData name="Jeung Hoon Park" userId="beddcffd-ce47-4056-b815-24814e3fbfe9" providerId="ADAL" clId="{B4A89210-D43A-44D0-9F26-7F0779D60D26}" dt="2022-09-28T06:32:16.418" v="21400" actId="478"/>
          <ac:spMkLst>
            <pc:docMk/>
            <pc:sldMk cId="3170705865" sldId="2147470351"/>
            <ac:spMk id="18" creationId="{B1C7977F-7D47-792E-FFE3-8C43A5CC9D64}"/>
          </ac:spMkLst>
        </pc:spChg>
        <pc:spChg chg="del mod">
          <ac:chgData name="Jeung Hoon Park" userId="beddcffd-ce47-4056-b815-24814e3fbfe9" providerId="ADAL" clId="{B4A89210-D43A-44D0-9F26-7F0779D60D26}" dt="2022-09-28T06:32:19.601" v="21403" actId="478"/>
          <ac:spMkLst>
            <pc:docMk/>
            <pc:sldMk cId="3170705865" sldId="2147470351"/>
            <ac:spMk id="19" creationId="{EB48A9B8-890E-3D30-284F-217BF82DD692}"/>
          </ac:spMkLst>
        </pc:spChg>
        <pc:spChg chg="del">
          <ac:chgData name="Jeung Hoon Park" userId="beddcffd-ce47-4056-b815-24814e3fbfe9" providerId="ADAL" clId="{B4A89210-D43A-44D0-9F26-7F0779D60D26}" dt="2022-09-28T06:32:15.243" v="21398" actId="478"/>
          <ac:spMkLst>
            <pc:docMk/>
            <pc:sldMk cId="3170705865" sldId="2147470351"/>
            <ac:spMk id="20" creationId="{8AA92338-3881-579C-4E42-A48A03478794}"/>
          </ac:spMkLst>
        </pc:spChg>
        <pc:grpChg chg="del">
          <ac:chgData name="Jeung Hoon Park" userId="beddcffd-ce47-4056-b815-24814e3fbfe9" providerId="ADAL" clId="{B4A89210-D43A-44D0-9F26-7F0779D60D26}" dt="2022-09-28T06:32:14.439" v="21397" actId="478"/>
          <ac:grpSpMkLst>
            <pc:docMk/>
            <pc:sldMk cId="3170705865" sldId="2147470351"/>
            <ac:grpSpMk id="4" creationId="{6FEDC583-5772-45FD-B974-F49EDCADCE33}"/>
          </ac:grpSpMkLst>
        </pc:grpChg>
        <pc:graphicFrameChg chg="add mod modGraphic">
          <ac:chgData name="Jeung Hoon Park" userId="beddcffd-ce47-4056-b815-24814e3fbfe9" providerId="ADAL" clId="{B4A89210-D43A-44D0-9F26-7F0779D60D26}" dt="2022-10-19T05:12:24.620" v="44933" actId="1076"/>
          <ac:graphicFrameMkLst>
            <pc:docMk/>
            <pc:sldMk cId="3170705865" sldId="2147470351"/>
            <ac:graphicFrameMk id="3" creationId="{B2691129-9D03-7ACB-799D-CCBA5FC4DC31}"/>
          </ac:graphicFrameMkLst>
        </pc:graphicFrameChg>
        <pc:picChg chg="del">
          <ac:chgData name="Jeung Hoon Park" userId="beddcffd-ce47-4056-b815-24814e3fbfe9" providerId="ADAL" clId="{B4A89210-D43A-44D0-9F26-7F0779D60D26}" dt="2022-09-28T06:32:20.137" v="21404" actId="478"/>
          <ac:picMkLst>
            <pc:docMk/>
            <pc:sldMk cId="3170705865" sldId="2147470351"/>
            <ac:picMk id="7" creationId="{E6C144DB-5B9D-4E8B-B6CA-2408161E232A}"/>
          </ac:picMkLst>
        </pc:picChg>
      </pc:sldChg>
      <pc:sldChg chg="modSp add mod">
        <pc:chgData name="Jeung Hoon Park" userId="beddcffd-ce47-4056-b815-24814e3fbfe9" providerId="ADAL" clId="{B4A89210-D43A-44D0-9F26-7F0779D60D26}" dt="2022-10-11T02:29:29.088" v="35290" actId="20577"/>
        <pc:sldMkLst>
          <pc:docMk/>
          <pc:sldMk cId="1440193458" sldId="2147470352"/>
        </pc:sldMkLst>
        <pc:spChg chg="mod">
          <ac:chgData name="Jeung Hoon Park" userId="beddcffd-ce47-4056-b815-24814e3fbfe9" providerId="ADAL" clId="{B4A89210-D43A-44D0-9F26-7F0779D60D26}" dt="2022-10-11T02:29:29.088" v="35290" actId="20577"/>
          <ac:spMkLst>
            <pc:docMk/>
            <pc:sldMk cId="1440193458" sldId="2147470352"/>
            <ac:spMk id="5" creationId="{F01C4DE8-FED9-4360-822F-E4430EDF3049}"/>
          </ac:spMkLst>
        </pc:spChg>
      </pc:sldChg>
      <pc:sldChg chg="addSp delSp modSp add mod">
        <pc:chgData name="Jeung Hoon Park" userId="beddcffd-ce47-4056-b815-24814e3fbfe9" providerId="ADAL" clId="{B4A89210-D43A-44D0-9F26-7F0779D60D26}" dt="2022-10-19T05:29:25.692" v="45435" actId="20577"/>
        <pc:sldMkLst>
          <pc:docMk/>
          <pc:sldMk cId="1553434701" sldId="2147470353"/>
        </pc:sldMkLst>
        <pc:spChg chg="mod">
          <ac:chgData name="Jeung Hoon Park" userId="beddcffd-ce47-4056-b815-24814e3fbfe9" providerId="ADAL" clId="{B4A89210-D43A-44D0-9F26-7F0779D60D26}" dt="2022-10-19T05:28:11.097" v="45395" actId="20577"/>
          <ac:spMkLst>
            <pc:docMk/>
            <pc:sldMk cId="1553434701" sldId="2147470353"/>
            <ac:spMk id="2" creationId="{C9355748-2E5A-FF43-B041-EDECD4D2DAAD}"/>
          </ac:spMkLst>
        </pc:spChg>
        <pc:spChg chg="mod">
          <ac:chgData name="Jeung Hoon Park" userId="beddcffd-ce47-4056-b815-24814e3fbfe9" providerId="ADAL" clId="{B4A89210-D43A-44D0-9F26-7F0779D60D26}" dt="2022-10-19T05:29:25.692" v="45435" actId="20577"/>
          <ac:spMkLst>
            <pc:docMk/>
            <pc:sldMk cId="1553434701" sldId="2147470353"/>
            <ac:spMk id="5" creationId="{0F85905A-5E01-8F50-E18C-9D227C507F1C}"/>
          </ac:spMkLst>
        </pc:spChg>
        <pc:spChg chg="del">
          <ac:chgData name="Jeung Hoon Park" userId="beddcffd-ce47-4056-b815-24814e3fbfe9" providerId="ADAL" clId="{B4A89210-D43A-44D0-9F26-7F0779D60D26}" dt="2022-10-04T01:38:31.291" v="22403" actId="478"/>
          <ac:spMkLst>
            <pc:docMk/>
            <pc:sldMk cId="1553434701" sldId="2147470353"/>
            <ac:spMk id="8" creationId="{4D4B535E-DC90-483E-9CA1-EF39FC7DD6E6}"/>
          </ac:spMkLst>
        </pc:spChg>
        <pc:spChg chg="del">
          <ac:chgData name="Jeung Hoon Park" userId="beddcffd-ce47-4056-b815-24814e3fbfe9" providerId="ADAL" clId="{B4A89210-D43A-44D0-9F26-7F0779D60D26}" dt="2022-10-04T01:38:33.999" v="22404" actId="478"/>
          <ac:spMkLst>
            <pc:docMk/>
            <pc:sldMk cId="1553434701" sldId="2147470353"/>
            <ac:spMk id="26" creationId="{92569A8E-23DE-A702-D165-E5CB91E9DACB}"/>
          </ac:spMkLst>
        </pc:spChg>
        <pc:grpChg chg="del">
          <ac:chgData name="Jeung Hoon Park" userId="beddcffd-ce47-4056-b815-24814e3fbfe9" providerId="ADAL" clId="{B4A89210-D43A-44D0-9F26-7F0779D60D26}" dt="2022-10-04T01:38:26.601" v="22398" actId="478"/>
          <ac:grpSpMkLst>
            <pc:docMk/>
            <pc:sldMk cId="1553434701" sldId="2147470353"/>
            <ac:grpSpMk id="4" creationId="{6FEDC583-5772-45FD-B974-F49EDCADCE33}"/>
          </ac:grpSpMkLst>
        </pc:grpChg>
        <pc:picChg chg="add mod">
          <ac:chgData name="Jeung Hoon Park" userId="beddcffd-ce47-4056-b815-24814e3fbfe9" providerId="ADAL" clId="{B4A89210-D43A-44D0-9F26-7F0779D60D26}" dt="2022-10-19T05:28:39.202" v="45421" actId="1076"/>
          <ac:picMkLst>
            <pc:docMk/>
            <pc:sldMk cId="1553434701" sldId="2147470353"/>
            <ac:picMk id="6" creationId="{08E965E8-4244-F9A4-8F09-97FF8A94FFD7}"/>
          </ac:picMkLst>
        </pc:picChg>
        <pc:picChg chg="del">
          <ac:chgData name="Jeung Hoon Park" userId="beddcffd-ce47-4056-b815-24814e3fbfe9" providerId="ADAL" clId="{B4A89210-D43A-44D0-9F26-7F0779D60D26}" dt="2022-10-04T01:38:28.143" v="22400" actId="478"/>
          <ac:picMkLst>
            <pc:docMk/>
            <pc:sldMk cId="1553434701" sldId="2147470353"/>
            <ac:picMk id="7" creationId="{E6C144DB-5B9D-4E8B-B6CA-2408161E232A}"/>
          </ac:picMkLst>
        </pc:picChg>
        <pc:picChg chg="add del mod">
          <ac:chgData name="Jeung Hoon Park" userId="beddcffd-ce47-4056-b815-24814e3fbfe9" providerId="ADAL" clId="{B4A89210-D43A-44D0-9F26-7F0779D60D26}" dt="2022-10-04T01:43:21.504" v="22567" actId="478"/>
          <ac:picMkLst>
            <pc:docMk/>
            <pc:sldMk cId="1553434701" sldId="2147470353"/>
            <ac:picMk id="11" creationId="{A2D5D4E7-B587-03EE-D3D6-ECA6A045E766}"/>
          </ac:picMkLst>
        </pc:picChg>
        <pc:picChg chg="add mod">
          <ac:chgData name="Jeung Hoon Park" userId="beddcffd-ce47-4056-b815-24814e3fbfe9" providerId="ADAL" clId="{B4A89210-D43A-44D0-9F26-7F0779D60D26}" dt="2022-10-19T05:28:55.963" v="45430" actId="1076"/>
          <ac:picMkLst>
            <pc:docMk/>
            <pc:sldMk cId="1553434701" sldId="2147470353"/>
            <ac:picMk id="16" creationId="{B14644E4-BAC3-7470-5587-6DA5951695FF}"/>
          </ac:picMkLst>
        </pc:picChg>
        <pc:picChg chg="del">
          <ac:chgData name="Jeung Hoon Park" userId="beddcffd-ce47-4056-b815-24814e3fbfe9" providerId="ADAL" clId="{B4A89210-D43A-44D0-9F26-7F0779D60D26}" dt="2022-10-04T01:38:34.562" v="22405" actId="478"/>
          <ac:picMkLst>
            <pc:docMk/>
            <pc:sldMk cId="1553434701" sldId="2147470353"/>
            <ac:picMk id="25" creationId="{78545212-B4B5-4C83-A2A0-BF56149B80E4}"/>
          </ac:picMkLst>
        </pc:picChg>
        <pc:cxnChg chg="del">
          <ac:chgData name="Jeung Hoon Park" userId="beddcffd-ce47-4056-b815-24814e3fbfe9" providerId="ADAL" clId="{B4A89210-D43A-44D0-9F26-7F0779D60D26}" dt="2022-10-04T01:38:35.272" v="22406" actId="478"/>
          <ac:cxnSpMkLst>
            <pc:docMk/>
            <pc:sldMk cId="1553434701" sldId="2147470353"/>
            <ac:cxnSpMk id="27" creationId="{1735FB2B-741D-D1CF-C475-A0AA1DDCC78B}"/>
          </ac:cxnSpMkLst>
        </pc:cxnChg>
        <pc:cxnChg chg="del">
          <ac:chgData name="Jeung Hoon Park" userId="beddcffd-ce47-4056-b815-24814e3fbfe9" providerId="ADAL" clId="{B4A89210-D43A-44D0-9F26-7F0779D60D26}" dt="2022-10-04T01:38:29.720" v="22402" actId="478"/>
          <ac:cxnSpMkLst>
            <pc:docMk/>
            <pc:sldMk cId="1553434701" sldId="2147470353"/>
            <ac:cxnSpMk id="66" creationId="{8C5C562A-20FE-84F1-786D-B3EBB231E6B6}"/>
          </ac:cxnSpMkLst>
        </pc:cxnChg>
        <pc:cxnChg chg="del">
          <ac:chgData name="Jeung Hoon Park" userId="beddcffd-ce47-4056-b815-24814e3fbfe9" providerId="ADAL" clId="{B4A89210-D43A-44D0-9F26-7F0779D60D26}" dt="2022-10-04T01:38:27.716" v="22399" actId="478"/>
          <ac:cxnSpMkLst>
            <pc:docMk/>
            <pc:sldMk cId="1553434701" sldId="2147470353"/>
            <ac:cxnSpMk id="68" creationId="{37D589F0-E430-2B3B-FDF7-2BDB7E695946}"/>
          </ac:cxnSpMkLst>
        </pc:cxnChg>
        <pc:cxnChg chg="del">
          <ac:chgData name="Jeung Hoon Park" userId="beddcffd-ce47-4056-b815-24814e3fbfe9" providerId="ADAL" clId="{B4A89210-D43A-44D0-9F26-7F0779D60D26}" dt="2022-10-04T01:38:28.999" v="22401" actId="478"/>
          <ac:cxnSpMkLst>
            <pc:docMk/>
            <pc:sldMk cId="1553434701" sldId="2147470353"/>
            <ac:cxnSpMk id="70" creationId="{C838F886-9487-8EC7-78E9-0779179800AD}"/>
          </ac:cxnSpMkLst>
        </pc:cxnChg>
      </pc:sldChg>
      <pc:sldChg chg="addSp delSp modSp add mod">
        <pc:chgData name="Jeung Hoon Park" userId="beddcffd-ce47-4056-b815-24814e3fbfe9" providerId="ADAL" clId="{B4A89210-D43A-44D0-9F26-7F0779D60D26}" dt="2022-10-19T05:30:37.550" v="45514" actId="1076"/>
        <pc:sldMkLst>
          <pc:docMk/>
          <pc:sldMk cId="899189971" sldId="2147470355"/>
        </pc:sldMkLst>
        <pc:spChg chg="mod">
          <ac:chgData name="Jeung Hoon Park" userId="beddcffd-ce47-4056-b815-24814e3fbfe9" providerId="ADAL" clId="{B4A89210-D43A-44D0-9F26-7F0779D60D26}" dt="2022-10-19T05:29:39.676" v="45465" actId="20577"/>
          <ac:spMkLst>
            <pc:docMk/>
            <pc:sldMk cId="899189971" sldId="2147470355"/>
            <ac:spMk id="2" creationId="{C9355748-2E5A-FF43-B041-EDECD4D2DAAD}"/>
          </ac:spMkLst>
        </pc:spChg>
        <pc:spChg chg="mod">
          <ac:chgData name="Jeung Hoon Park" userId="beddcffd-ce47-4056-b815-24814e3fbfe9" providerId="ADAL" clId="{B4A89210-D43A-44D0-9F26-7F0779D60D26}" dt="2022-10-19T05:30:27.198" v="45511" actId="255"/>
          <ac:spMkLst>
            <pc:docMk/>
            <pc:sldMk cId="899189971" sldId="2147470355"/>
            <ac:spMk id="5" creationId="{0F85905A-5E01-8F50-E18C-9D227C507F1C}"/>
          </ac:spMkLst>
        </pc:spChg>
        <pc:picChg chg="add del">
          <ac:chgData name="Jeung Hoon Park" userId="beddcffd-ce47-4056-b815-24814e3fbfe9" providerId="ADAL" clId="{B4A89210-D43A-44D0-9F26-7F0779D60D26}" dt="2022-10-04T02:07:27.754" v="22712" actId="22"/>
          <ac:picMkLst>
            <pc:docMk/>
            <pc:sldMk cId="899189971" sldId="2147470355"/>
            <ac:picMk id="4" creationId="{A01C4522-1B69-DBFD-84A3-E57D12B1034C}"/>
          </ac:picMkLst>
        </pc:picChg>
        <pc:picChg chg="del">
          <ac:chgData name="Jeung Hoon Park" userId="beddcffd-ce47-4056-b815-24814e3fbfe9" providerId="ADAL" clId="{B4A89210-D43A-44D0-9F26-7F0779D60D26}" dt="2022-10-04T02:07:05.197" v="22710" actId="478"/>
          <ac:picMkLst>
            <pc:docMk/>
            <pc:sldMk cId="899189971" sldId="2147470355"/>
            <ac:picMk id="6" creationId="{08E965E8-4244-F9A4-8F09-97FF8A94FFD7}"/>
          </ac:picMkLst>
        </pc:picChg>
        <pc:picChg chg="add mod">
          <ac:chgData name="Jeung Hoon Park" userId="beddcffd-ce47-4056-b815-24814e3fbfe9" providerId="ADAL" clId="{B4A89210-D43A-44D0-9F26-7F0779D60D26}" dt="2022-10-19T05:30:32.503" v="45513" actId="1076"/>
          <ac:picMkLst>
            <pc:docMk/>
            <pc:sldMk cId="899189971" sldId="2147470355"/>
            <ac:picMk id="8" creationId="{A415A531-EECD-CA9A-50BF-5292C39A9747}"/>
          </ac:picMkLst>
        </pc:picChg>
        <pc:picChg chg="add mod">
          <ac:chgData name="Jeung Hoon Park" userId="beddcffd-ce47-4056-b815-24814e3fbfe9" providerId="ADAL" clId="{B4A89210-D43A-44D0-9F26-7F0779D60D26}" dt="2022-10-19T05:30:37.550" v="45514" actId="1076"/>
          <ac:picMkLst>
            <pc:docMk/>
            <pc:sldMk cId="899189971" sldId="2147470355"/>
            <ac:picMk id="10" creationId="{F3BC5A8E-4B8D-FB07-964E-CE10E53A0D6A}"/>
          </ac:picMkLst>
        </pc:picChg>
        <pc:picChg chg="del">
          <ac:chgData name="Jeung Hoon Park" userId="beddcffd-ce47-4056-b815-24814e3fbfe9" providerId="ADAL" clId="{B4A89210-D43A-44D0-9F26-7F0779D60D26}" dt="2022-10-04T02:07:03.167" v="22708" actId="478"/>
          <ac:picMkLst>
            <pc:docMk/>
            <pc:sldMk cId="899189971" sldId="2147470355"/>
            <ac:picMk id="16" creationId="{B14644E4-BAC3-7470-5587-6DA5951695FF}"/>
          </ac:picMkLst>
        </pc:picChg>
      </pc:sldChg>
      <pc:sldChg chg="addSp delSp modSp add mod">
        <pc:chgData name="Jeung Hoon Park" userId="beddcffd-ce47-4056-b815-24814e3fbfe9" providerId="ADAL" clId="{B4A89210-D43A-44D0-9F26-7F0779D60D26}" dt="2022-10-19T05:33:21.104" v="45759" actId="6549"/>
        <pc:sldMkLst>
          <pc:docMk/>
          <pc:sldMk cId="1902512517" sldId="2147470356"/>
        </pc:sldMkLst>
        <pc:spChg chg="mod">
          <ac:chgData name="Jeung Hoon Park" userId="beddcffd-ce47-4056-b815-24814e3fbfe9" providerId="ADAL" clId="{B4A89210-D43A-44D0-9F26-7F0779D60D26}" dt="2022-10-19T05:30:56.708" v="45558" actId="20577"/>
          <ac:spMkLst>
            <pc:docMk/>
            <pc:sldMk cId="1902512517" sldId="2147470356"/>
            <ac:spMk id="2" creationId="{C9355748-2E5A-FF43-B041-EDECD4D2DAAD}"/>
          </ac:spMkLst>
        </pc:spChg>
        <pc:spChg chg="mod">
          <ac:chgData name="Jeung Hoon Park" userId="beddcffd-ce47-4056-b815-24814e3fbfe9" providerId="ADAL" clId="{B4A89210-D43A-44D0-9F26-7F0779D60D26}" dt="2022-10-19T05:33:21.104" v="45759" actId="6549"/>
          <ac:spMkLst>
            <pc:docMk/>
            <pc:sldMk cId="1902512517" sldId="2147470356"/>
            <ac:spMk id="5" creationId="{0F85905A-5E01-8F50-E18C-9D227C507F1C}"/>
          </ac:spMkLst>
        </pc:spChg>
        <pc:picChg chg="add mod">
          <ac:chgData name="Jeung Hoon Park" userId="beddcffd-ce47-4056-b815-24814e3fbfe9" providerId="ADAL" clId="{B4A89210-D43A-44D0-9F26-7F0779D60D26}" dt="2022-10-19T05:31:40.451" v="45571" actId="14861"/>
          <ac:picMkLst>
            <pc:docMk/>
            <pc:sldMk cId="1902512517" sldId="2147470356"/>
            <ac:picMk id="4" creationId="{39D9FACF-6FDB-EA3D-E4A4-C2A08F1103BE}"/>
          </ac:picMkLst>
        </pc:picChg>
        <pc:picChg chg="add mod">
          <ac:chgData name="Jeung Hoon Park" userId="beddcffd-ce47-4056-b815-24814e3fbfe9" providerId="ADAL" clId="{B4A89210-D43A-44D0-9F26-7F0779D60D26}" dt="2022-10-19T05:32:07.645" v="45575" actId="1076"/>
          <ac:picMkLst>
            <pc:docMk/>
            <pc:sldMk cId="1902512517" sldId="2147470356"/>
            <ac:picMk id="7" creationId="{A6737A10-EB43-DEB9-847A-0181DBC8EEE6}"/>
          </ac:picMkLst>
        </pc:picChg>
        <pc:picChg chg="del">
          <ac:chgData name="Jeung Hoon Park" userId="beddcffd-ce47-4056-b815-24814e3fbfe9" providerId="ADAL" clId="{B4A89210-D43A-44D0-9F26-7F0779D60D26}" dt="2022-10-04T03:55:36.477" v="23170" actId="478"/>
          <ac:picMkLst>
            <pc:docMk/>
            <pc:sldMk cId="1902512517" sldId="2147470356"/>
            <ac:picMk id="8" creationId="{A415A531-EECD-CA9A-50BF-5292C39A9747}"/>
          </ac:picMkLst>
        </pc:picChg>
        <pc:picChg chg="del">
          <ac:chgData name="Jeung Hoon Park" userId="beddcffd-ce47-4056-b815-24814e3fbfe9" providerId="ADAL" clId="{B4A89210-D43A-44D0-9F26-7F0779D60D26}" dt="2022-10-04T03:55:36.986" v="23171" actId="478"/>
          <ac:picMkLst>
            <pc:docMk/>
            <pc:sldMk cId="1902512517" sldId="2147470356"/>
            <ac:picMk id="10" creationId="{F3BC5A8E-4B8D-FB07-964E-CE10E53A0D6A}"/>
          </ac:picMkLst>
        </pc:picChg>
        <pc:picChg chg="add mod">
          <ac:chgData name="Jeung Hoon Park" userId="beddcffd-ce47-4056-b815-24814e3fbfe9" providerId="ADAL" clId="{B4A89210-D43A-44D0-9F26-7F0779D60D26}" dt="2022-10-19T05:32:04.533" v="45574" actId="1076"/>
          <ac:picMkLst>
            <pc:docMk/>
            <pc:sldMk cId="1902512517" sldId="2147470356"/>
            <ac:picMk id="11" creationId="{22EF6E99-5BEB-027F-2969-5E63508ECB52}"/>
          </ac:picMkLst>
        </pc:picChg>
        <pc:picChg chg="add del mod">
          <ac:chgData name="Jeung Hoon Park" userId="beddcffd-ce47-4056-b815-24814e3fbfe9" providerId="ADAL" clId="{B4A89210-D43A-44D0-9F26-7F0779D60D26}" dt="2022-10-04T04:02:37.248" v="23703" actId="478"/>
          <ac:picMkLst>
            <pc:docMk/>
            <pc:sldMk cId="1902512517" sldId="2147470356"/>
            <ac:picMk id="13" creationId="{B81046BA-966C-09A2-1B9E-FF2369D88913}"/>
          </ac:picMkLst>
        </pc:picChg>
        <pc:picChg chg="add mod">
          <ac:chgData name="Jeung Hoon Park" userId="beddcffd-ce47-4056-b815-24814e3fbfe9" providerId="ADAL" clId="{B4A89210-D43A-44D0-9F26-7F0779D60D26}" dt="2022-10-19T05:32:09.725" v="45576" actId="1076"/>
          <ac:picMkLst>
            <pc:docMk/>
            <pc:sldMk cId="1902512517" sldId="2147470356"/>
            <ac:picMk id="15" creationId="{A4A19579-4E0A-9812-4932-17F9C873B51F}"/>
          </ac:picMkLst>
        </pc:picChg>
      </pc:sldChg>
      <pc:sldChg chg="addSp delSp modSp add mod">
        <pc:chgData name="Jeung Hoon Park" userId="beddcffd-ce47-4056-b815-24814e3fbfe9" providerId="ADAL" clId="{B4A89210-D43A-44D0-9F26-7F0779D60D26}" dt="2022-10-19T05:34:57.837" v="45802" actId="14100"/>
        <pc:sldMkLst>
          <pc:docMk/>
          <pc:sldMk cId="812290709" sldId="2147470357"/>
        </pc:sldMkLst>
        <pc:spChg chg="mod">
          <ac:chgData name="Jeung Hoon Park" userId="beddcffd-ce47-4056-b815-24814e3fbfe9" providerId="ADAL" clId="{B4A89210-D43A-44D0-9F26-7F0779D60D26}" dt="2022-10-19T05:33:51.785" v="45790" actId="20577"/>
          <ac:spMkLst>
            <pc:docMk/>
            <pc:sldMk cId="812290709" sldId="2147470357"/>
            <ac:spMk id="2" creationId="{C9355748-2E5A-FF43-B041-EDECD4D2DAAD}"/>
          </ac:spMkLst>
        </pc:spChg>
        <pc:spChg chg="mod">
          <ac:chgData name="Jeung Hoon Park" userId="beddcffd-ce47-4056-b815-24814e3fbfe9" providerId="ADAL" clId="{B4A89210-D43A-44D0-9F26-7F0779D60D26}" dt="2022-10-19T05:34:04.555" v="45794" actId="255"/>
          <ac:spMkLst>
            <pc:docMk/>
            <pc:sldMk cId="812290709" sldId="2147470357"/>
            <ac:spMk id="5" creationId="{0F85905A-5E01-8F50-E18C-9D227C507F1C}"/>
          </ac:spMkLst>
        </pc:spChg>
        <pc:spChg chg="add del mod">
          <ac:chgData name="Jeung Hoon Park" userId="beddcffd-ce47-4056-b815-24814e3fbfe9" providerId="ADAL" clId="{B4A89210-D43A-44D0-9F26-7F0779D60D26}" dt="2022-10-04T04:13:14.171" v="24175"/>
          <ac:spMkLst>
            <pc:docMk/>
            <pc:sldMk cId="812290709" sldId="2147470357"/>
            <ac:spMk id="9" creationId="{4C0C01CE-4078-689B-0107-A974472E9905}"/>
          </ac:spMkLst>
        </pc:spChg>
        <pc:spChg chg="add mod">
          <ac:chgData name="Jeung Hoon Park" userId="beddcffd-ce47-4056-b815-24814e3fbfe9" providerId="ADAL" clId="{B4A89210-D43A-44D0-9F26-7F0779D60D26}" dt="2022-10-19T05:34:47.150" v="45800" actId="1076"/>
          <ac:spMkLst>
            <pc:docMk/>
            <pc:sldMk cId="812290709" sldId="2147470357"/>
            <ac:spMk id="11" creationId="{F1B9581F-0C5E-4D78-CE60-156FF2079FF2}"/>
          </ac:spMkLst>
        </pc:spChg>
        <pc:spChg chg="add mod">
          <ac:chgData name="Jeung Hoon Park" userId="beddcffd-ce47-4056-b815-24814e3fbfe9" providerId="ADAL" clId="{B4A89210-D43A-44D0-9F26-7F0779D60D26}" dt="2022-10-19T05:34:35.616" v="45799" actId="1076"/>
          <ac:spMkLst>
            <pc:docMk/>
            <pc:sldMk cId="812290709" sldId="2147470357"/>
            <ac:spMk id="12" creationId="{647C7189-E427-57AC-B289-2A1302957B83}"/>
          </ac:spMkLst>
        </pc:spChg>
        <pc:picChg chg="add mod">
          <ac:chgData name="Jeung Hoon Park" userId="beddcffd-ce47-4056-b815-24814e3fbfe9" providerId="ADAL" clId="{B4A89210-D43A-44D0-9F26-7F0779D60D26}" dt="2022-10-19T05:34:13.010" v="45796" actId="14861"/>
          <ac:picMkLst>
            <pc:docMk/>
            <pc:sldMk cId="812290709" sldId="2147470357"/>
            <ac:picMk id="4" creationId="{A15E293B-C8DB-9E6C-602D-7ECA656E0DD5}"/>
          </ac:picMkLst>
        </pc:picChg>
        <pc:picChg chg="add mod">
          <ac:chgData name="Jeung Hoon Park" userId="beddcffd-ce47-4056-b815-24814e3fbfe9" providerId="ADAL" clId="{B4A89210-D43A-44D0-9F26-7F0779D60D26}" dt="2022-10-19T05:34:17.998" v="45798" actId="1076"/>
          <ac:picMkLst>
            <pc:docMk/>
            <pc:sldMk cId="812290709" sldId="2147470357"/>
            <ac:picMk id="7" creationId="{482459BA-F7A0-5F2D-2197-48F7C630ABA7}"/>
          </ac:picMkLst>
        </pc:picChg>
        <pc:picChg chg="del">
          <ac:chgData name="Jeung Hoon Park" userId="beddcffd-ce47-4056-b815-24814e3fbfe9" providerId="ADAL" clId="{B4A89210-D43A-44D0-9F26-7F0779D60D26}" dt="2022-10-04T04:08:43.459" v="24067" actId="478"/>
          <ac:picMkLst>
            <pc:docMk/>
            <pc:sldMk cId="812290709" sldId="2147470357"/>
            <ac:picMk id="8" creationId="{A415A531-EECD-CA9A-50BF-5292C39A9747}"/>
          </ac:picMkLst>
        </pc:picChg>
        <pc:picChg chg="del">
          <ac:chgData name="Jeung Hoon Park" userId="beddcffd-ce47-4056-b815-24814e3fbfe9" providerId="ADAL" clId="{B4A89210-D43A-44D0-9F26-7F0779D60D26}" dt="2022-10-04T04:08:43.932" v="24068" actId="478"/>
          <ac:picMkLst>
            <pc:docMk/>
            <pc:sldMk cId="812290709" sldId="2147470357"/>
            <ac:picMk id="10" creationId="{F3BC5A8E-4B8D-FB07-964E-CE10E53A0D6A}"/>
          </ac:picMkLst>
        </pc:picChg>
        <pc:picChg chg="add del mod">
          <ac:chgData name="Jeung Hoon Park" userId="beddcffd-ce47-4056-b815-24814e3fbfe9" providerId="ADAL" clId="{B4A89210-D43A-44D0-9F26-7F0779D60D26}" dt="2022-10-04T04:59:37.266" v="25798" actId="22"/>
          <ac:picMkLst>
            <pc:docMk/>
            <pc:sldMk cId="812290709" sldId="2147470357"/>
            <ac:picMk id="14" creationId="{C0AEFBA0-4962-6521-A47C-A0768700CBAF}"/>
          </ac:picMkLst>
        </pc:picChg>
        <pc:picChg chg="add mod">
          <ac:chgData name="Jeung Hoon Park" userId="beddcffd-ce47-4056-b815-24814e3fbfe9" providerId="ADAL" clId="{B4A89210-D43A-44D0-9F26-7F0779D60D26}" dt="2022-10-19T05:34:57.837" v="45802" actId="14100"/>
          <ac:picMkLst>
            <pc:docMk/>
            <pc:sldMk cId="812290709" sldId="2147470357"/>
            <ac:picMk id="16" creationId="{C264377C-08CF-3AE2-40D5-EB04DFE9EB69}"/>
          </ac:picMkLst>
        </pc:picChg>
      </pc:sldChg>
      <pc:sldChg chg="addSp delSp modSp add mod">
        <pc:chgData name="Jeung Hoon Park" userId="beddcffd-ce47-4056-b815-24814e3fbfe9" providerId="ADAL" clId="{B4A89210-D43A-44D0-9F26-7F0779D60D26}" dt="2022-10-19T05:35:54.668" v="45811" actId="1076"/>
        <pc:sldMkLst>
          <pc:docMk/>
          <pc:sldMk cId="3823023131" sldId="2147470358"/>
        </pc:sldMkLst>
        <pc:spChg chg="mod">
          <ac:chgData name="Jeung Hoon Park" userId="beddcffd-ce47-4056-b815-24814e3fbfe9" providerId="ADAL" clId="{B4A89210-D43A-44D0-9F26-7F0779D60D26}" dt="2022-10-19T05:35:20.528" v="45804"/>
          <ac:spMkLst>
            <pc:docMk/>
            <pc:sldMk cId="3823023131" sldId="2147470358"/>
            <ac:spMk id="2" creationId="{C9355748-2E5A-FF43-B041-EDECD4D2DAAD}"/>
          </ac:spMkLst>
        </pc:spChg>
        <pc:spChg chg="mod">
          <ac:chgData name="Jeung Hoon Park" userId="beddcffd-ce47-4056-b815-24814e3fbfe9" providerId="ADAL" clId="{B4A89210-D43A-44D0-9F26-7F0779D60D26}" dt="2022-10-19T05:35:31.636" v="45807" actId="255"/>
          <ac:spMkLst>
            <pc:docMk/>
            <pc:sldMk cId="3823023131" sldId="2147470358"/>
            <ac:spMk id="5" creationId="{0F85905A-5E01-8F50-E18C-9D227C507F1C}"/>
          </ac:spMkLst>
        </pc:spChg>
        <pc:spChg chg="del mod">
          <ac:chgData name="Jeung Hoon Park" userId="beddcffd-ce47-4056-b815-24814e3fbfe9" providerId="ADAL" clId="{B4A89210-D43A-44D0-9F26-7F0779D60D26}" dt="2022-10-04T04:39:18.219" v="24984" actId="478"/>
          <ac:spMkLst>
            <pc:docMk/>
            <pc:sldMk cId="3823023131" sldId="2147470358"/>
            <ac:spMk id="11" creationId="{F1B9581F-0C5E-4D78-CE60-156FF2079FF2}"/>
          </ac:spMkLst>
        </pc:spChg>
        <pc:spChg chg="mod">
          <ac:chgData name="Jeung Hoon Park" userId="beddcffd-ce47-4056-b815-24814e3fbfe9" providerId="ADAL" clId="{B4A89210-D43A-44D0-9F26-7F0779D60D26}" dt="2022-10-19T05:35:48.731" v="45809" actId="1076"/>
          <ac:spMkLst>
            <pc:docMk/>
            <pc:sldMk cId="3823023131" sldId="2147470358"/>
            <ac:spMk id="12" creationId="{647C7189-E427-57AC-B289-2A1302957B83}"/>
          </ac:spMkLst>
        </pc:spChg>
        <pc:spChg chg="add mod">
          <ac:chgData name="Jeung Hoon Park" userId="beddcffd-ce47-4056-b815-24814e3fbfe9" providerId="ADAL" clId="{B4A89210-D43A-44D0-9F26-7F0779D60D26}" dt="2022-10-19T05:35:54.668" v="45811" actId="1076"/>
          <ac:spMkLst>
            <pc:docMk/>
            <pc:sldMk cId="3823023131" sldId="2147470358"/>
            <ac:spMk id="14" creationId="{1060157F-4AE0-CE6F-FA90-B98F0DF0CB12}"/>
          </ac:spMkLst>
        </pc:spChg>
        <pc:picChg chg="del">
          <ac:chgData name="Jeung Hoon Park" userId="beddcffd-ce47-4056-b815-24814e3fbfe9" providerId="ADAL" clId="{B4A89210-D43A-44D0-9F26-7F0779D60D26}" dt="2022-10-04T04:24:10.362" v="24681" actId="478"/>
          <ac:picMkLst>
            <pc:docMk/>
            <pc:sldMk cId="3823023131" sldId="2147470358"/>
            <ac:picMk id="4" creationId="{A15E293B-C8DB-9E6C-602D-7ECA656E0DD5}"/>
          </ac:picMkLst>
        </pc:picChg>
        <pc:picChg chg="add mod">
          <ac:chgData name="Jeung Hoon Park" userId="beddcffd-ce47-4056-b815-24814e3fbfe9" providerId="ADAL" clId="{B4A89210-D43A-44D0-9F26-7F0779D60D26}" dt="2022-10-19T05:35:44.981" v="45808" actId="1076"/>
          <ac:picMkLst>
            <pc:docMk/>
            <pc:sldMk cId="3823023131" sldId="2147470358"/>
            <ac:picMk id="6" creationId="{1A28D9B0-EF01-F023-2EB2-972457150A71}"/>
          </ac:picMkLst>
        </pc:picChg>
        <pc:picChg chg="del">
          <ac:chgData name="Jeung Hoon Park" userId="beddcffd-ce47-4056-b815-24814e3fbfe9" providerId="ADAL" clId="{B4A89210-D43A-44D0-9F26-7F0779D60D26}" dt="2022-10-04T04:24:08.953" v="24680" actId="478"/>
          <ac:picMkLst>
            <pc:docMk/>
            <pc:sldMk cId="3823023131" sldId="2147470358"/>
            <ac:picMk id="7" creationId="{482459BA-F7A0-5F2D-2197-48F7C630ABA7}"/>
          </ac:picMkLst>
        </pc:picChg>
        <pc:picChg chg="add del mod">
          <ac:chgData name="Jeung Hoon Park" userId="beddcffd-ce47-4056-b815-24814e3fbfe9" providerId="ADAL" clId="{B4A89210-D43A-44D0-9F26-7F0779D60D26}" dt="2022-10-04T04:39:16.671" v="24983" actId="478"/>
          <ac:picMkLst>
            <pc:docMk/>
            <pc:sldMk cId="3823023131" sldId="2147470358"/>
            <ac:picMk id="9" creationId="{928820B4-BD0C-2111-7A41-F731197BAE68}"/>
          </ac:picMkLst>
        </pc:picChg>
        <pc:picChg chg="add mod">
          <ac:chgData name="Jeung Hoon Park" userId="beddcffd-ce47-4056-b815-24814e3fbfe9" providerId="ADAL" clId="{B4A89210-D43A-44D0-9F26-7F0779D60D26}" dt="2022-10-19T05:35:51.542" v="45810" actId="1076"/>
          <ac:picMkLst>
            <pc:docMk/>
            <pc:sldMk cId="3823023131" sldId="2147470358"/>
            <ac:picMk id="13" creationId="{789397A2-198F-E498-863C-249291B1DDDB}"/>
          </ac:picMkLst>
        </pc:picChg>
      </pc:sldChg>
      <pc:sldChg chg="addSp delSp modSp add mod">
        <pc:chgData name="Jeung Hoon Park" userId="beddcffd-ce47-4056-b815-24814e3fbfe9" providerId="ADAL" clId="{B4A89210-D43A-44D0-9F26-7F0779D60D26}" dt="2022-10-19T05:38:20.604" v="45840" actId="6549"/>
        <pc:sldMkLst>
          <pc:docMk/>
          <pc:sldMk cId="2764392082" sldId="2147470359"/>
        </pc:sldMkLst>
        <pc:spChg chg="mod">
          <ac:chgData name="Jeung Hoon Park" userId="beddcffd-ce47-4056-b815-24814e3fbfe9" providerId="ADAL" clId="{B4A89210-D43A-44D0-9F26-7F0779D60D26}" dt="2022-10-19T05:36:33.552" v="45813"/>
          <ac:spMkLst>
            <pc:docMk/>
            <pc:sldMk cId="2764392082" sldId="2147470359"/>
            <ac:spMk id="2" creationId="{C9355748-2E5A-FF43-B041-EDECD4D2DAAD}"/>
          </ac:spMkLst>
        </pc:spChg>
        <pc:spChg chg="mod">
          <ac:chgData name="Jeung Hoon Park" userId="beddcffd-ce47-4056-b815-24814e3fbfe9" providerId="ADAL" clId="{B4A89210-D43A-44D0-9F26-7F0779D60D26}" dt="2022-10-19T05:38:20.604" v="45840" actId="6549"/>
          <ac:spMkLst>
            <pc:docMk/>
            <pc:sldMk cId="2764392082" sldId="2147470359"/>
            <ac:spMk id="5" creationId="{0F85905A-5E01-8F50-E18C-9D227C507F1C}"/>
          </ac:spMkLst>
        </pc:spChg>
        <pc:spChg chg="del">
          <ac:chgData name="Jeung Hoon Park" userId="beddcffd-ce47-4056-b815-24814e3fbfe9" providerId="ADAL" clId="{B4A89210-D43A-44D0-9F26-7F0779D60D26}" dt="2022-10-04T04:48:28.483" v="25320" actId="478"/>
          <ac:spMkLst>
            <pc:docMk/>
            <pc:sldMk cId="2764392082" sldId="2147470359"/>
            <ac:spMk id="12" creationId="{647C7189-E427-57AC-B289-2A1302957B83}"/>
          </ac:spMkLst>
        </pc:spChg>
        <pc:spChg chg="del">
          <ac:chgData name="Jeung Hoon Park" userId="beddcffd-ce47-4056-b815-24814e3fbfe9" providerId="ADAL" clId="{B4A89210-D43A-44D0-9F26-7F0779D60D26}" dt="2022-10-04T04:48:29.931" v="25321" actId="478"/>
          <ac:spMkLst>
            <pc:docMk/>
            <pc:sldMk cId="2764392082" sldId="2147470359"/>
            <ac:spMk id="14" creationId="{1060157F-4AE0-CE6F-FA90-B98F0DF0CB12}"/>
          </ac:spMkLst>
        </pc:spChg>
        <pc:picChg chg="add mod">
          <ac:chgData name="Jeung Hoon Park" userId="beddcffd-ce47-4056-b815-24814e3fbfe9" providerId="ADAL" clId="{B4A89210-D43A-44D0-9F26-7F0779D60D26}" dt="2022-10-19T05:37:47.818" v="45830" actId="1076"/>
          <ac:picMkLst>
            <pc:docMk/>
            <pc:sldMk cId="2764392082" sldId="2147470359"/>
            <ac:picMk id="4" creationId="{1508F925-AB43-EC1B-3186-0F76BAFD2F6C}"/>
          </ac:picMkLst>
        </pc:picChg>
        <pc:picChg chg="del">
          <ac:chgData name="Jeung Hoon Park" userId="beddcffd-ce47-4056-b815-24814e3fbfe9" providerId="ADAL" clId="{B4A89210-D43A-44D0-9F26-7F0779D60D26}" dt="2022-10-04T04:47:17.136" v="25316" actId="478"/>
          <ac:picMkLst>
            <pc:docMk/>
            <pc:sldMk cId="2764392082" sldId="2147470359"/>
            <ac:picMk id="6" creationId="{1A28D9B0-EF01-F023-2EB2-972457150A71}"/>
          </ac:picMkLst>
        </pc:picChg>
        <pc:picChg chg="add mod">
          <ac:chgData name="Jeung Hoon Park" userId="beddcffd-ce47-4056-b815-24814e3fbfe9" providerId="ADAL" clId="{B4A89210-D43A-44D0-9F26-7F0779D60D26}" dt="2022-10-19T05:38:12.071" v="45833" actId="1076"/>
          <ac:picMkLst>
            <pc:docMk/>
            <pc:sldMk cId="2764392082" sldId="2147470359"/>
            <ac:picMk id="8" creationId="{5946CAF5-1E41-B295-4D62-5FEB665893B8}"/>
          </ac:picMkLst>
        </pc:picChg>
        <pc:picChg chg="del">
          <ac:chgData name="Jeung Hoon Park" userId="beddcffd-ce47-4056-b815-24814e3fbfe9" providerId="ADAL" clId="{B4A89210-D43A-44D0-9F26-7F0779D60D26}" dt="2022-10-04T04:47:17.575" v="25317" actId="478"/>
          <ac:picMkLst>
            <pc:docMk/>
            <pc:sldMk cId="2764392082" sldId="2147470359"/>
            <ac:picMk id="13" creationId="{789397A2-198F-E498-863C-249291B1DDDB}"/>
          </ac:picMkLst>
        </pc:picChg>
      </pc:sldChg>
      <pc:sldChg chg="addSp delSp modSp add mod">
        <pc:chgData name="Jeung Hoon Park" userId="beddcffd-ce47-4056-b815-24814e3fbfe9" providerId="ADAL" clId="{B4A89210-D43A-44D0-9F26-7F0779D60D26}" dt="2022-10-19T05:41:31.673" v="45948" actId="14100"/>
        <pc:sldMkLst>
          <pc:docMk/>
          <pc:sldMk cId="3644051226" sldId="2147470361"/>
        </pc:sldMkLst>
        <pc:spChg chg="mod">
          <ac:chgData name="Jeung Hoon Park" userId="beddcffd-ce47-4056-b815-24814e3fbfe9" providerId="ADAL" clId="{B4A89210-D43A-44D0-9F26-7F0779D60D26}" dt="2022-10-19T05:39:13.062" v="45873" actId="20577"/>
          <ac:spMkLst>
            <pc:docMk/>
            <pc:sldMk cId="3644051226" sldId="2147470361"/>
            <ac:spMk id="2" creationId="{C9355748-2E5A-FF43-B041-EDECD4D2DAAD}"/>
          </ac:spMkLst>
        </pc:spChg>
        <pc:spChg chg="mod">
          <ac:chgData name="Jeung Hoon Park" userId="beddcffd-ce47-4056-b815-24814e3fbfe9" providerId="ADAL" clId="{B4A89210-D43A-44D0-9F26-7F0779D60D26}" dt="2022-10-19T05:41:16.034" v="45944" actId="255"/>
          <ac:spMkLst>
            <pc:docMk/>
            <pc:sldMk cId="3644051226" sldId="2147470361"/>
            <ac:spMk id="5" creationId="{0F85905A-5E01-8F50-E18C-9D227C507F1C}"/>
          </ac:spMkLst>
        </pc:spChg>
        <pc:picChg chg="del">
          <ac:chgData name="Jeung Hoon Park" userId="beddcffd-ce47-4056-b815-24814e3fbfe9" providerId="ADAL" clId="{B4A89210-D43A-44D0-9F26-7F0779D60D26}" dt="2022-10-04T05:03:33.541" v="25886" actId="478"/>
          <ac:picMkLst>
            <pc:docMk/>
            <pc:sldMk cId="3644051226" sldId="2147470361"/>
            <ac:picMk id="4" creationId="{1508F925-AB43-EC1B-3186-0F76BAFD2F6C}"/>
          </ac:picMkLst>
        </pc:picChg>
        <pc:picChg chg="add mod">
          <ac:chgData name="Jeung Hoon Park" userId="beddcffd-ce47-4056-b815-24814e3fbfe9" providerId="ADAL" clId="{B4A89210-D43A-44D0-9F26-7F0779D60D26}" dt="2022-10-19T05:41:31.673" v="45948" actId="14100"/>
          <ac:picMkLst>
            <pc:docMk/>
            <pc:sldMk cId="3644051226" sldId="2147470361"/>
            <ac:picMk id="6" creationId="{87D1F378-A048-7DDD-5088-AF6840B791E3}"/>
          </ac:picMkLst>
        </pc:picChg>
        <pc:picChg chg="del">
          <ac:chgData name="Jeung Hoon Park" userId="beddcffd-ce47-4056-b815-24814e3fbfe9" providerId="ADAL" clId="{B4A89210-D43A-44D0-9F26-7F0779D60D26}" dt="2022-10-04T05:03:33.997" v="25887" actId="478"/>
          <ac:picMkLst>
            <pc:docMk/>
            <pc:sldMk cId="3644051226" sldId="2147470361"/>
            <ac:picMk id="8" creationId="{5946CAF5-1E41-B295-4D62-5FEB665893B8}"/>
          </ac:picMkLst>
        </pc:picChg>
      </pc:sldChg>
      <pc:sldChg chg="addSp delSp modSp add mod">
        <pc:chgData name="Jeung Hoon Park" userId="beddcffd-ce47-4056-b815-24814e3fbfe9" providerId="ADAL" clId="{B4A89210-D43A-44D0-9F26-7F0779D60D26}" dt="2022-10-19T05:44:05.163" v="46055" actId="1076"/>
        <pc:sldMkLst>
          <pc:docMk/>
          <pc:sldMk cId="3639746908" sldId="2147470362"/>
        </pc:sldMkLst>
        <pc:spChg chg="mod">
          <ac:chgData name="Jeung Hoon Park" userId="beddcffd-ce47-4056-b815-24814e3fbfe9" providerId="ADAL" clId="{B4A89210-D43A-44D0-9F26-7F0779D60D26}" dt="2022-10-19T05:43:24.651" v="46046" actId="20577"/>
          <ac:spMkLst>
            <pc:docMk/>
            <pc:sldMk cId="3639746908" sldId="2147470362"/>
            <ac:spMk id="2" creationId="{C9355748-2E5A-FF43-B041-EDECD4D2DAAD}"/>
          </ac:spMkLst>
        </pc:spChg>
        <pc:spChg chg="mod">
          <ac:chgData name="Jeung Hoon Park" userId="beddcffd-ce47-4056-b815-24814e3fbfe9" providerId="ADAL" clId="{B4A89210-D43A-44D0-9F26-7F0779D60D26}" dt="2022-10-19T05:43:59.717" v="46054" actId="255"/>
          <ac:spMkLst>
            <pc:docMk/>
            <pc:sldMk cId="3639746908" sldId="2147470362"/>
            <ac:spMk id="5" creationId="{0F85905A-5E01-8F50-E18C-9D227C507F1C}"/>
          </ac:spMkLst>
        </pc:spChg>
        <pc:picChg chg="add mod">
          <ac:chgData name="Jeung Hoon Park" userId="beddcffd-ce47-4056-b815-24814e3fbfe9" providerId="ADAL" clId="{B4A89210-D43A-44D0-9F26-7F0779D60D26}" dt="2022-10-19T05:44:05.163" v="46055" actId="1076"/>
          <ac:picMkLst>
            <pc:docMk/>
            <pc:sldMk cId="3639746908" sldId="2147470362"/>
            <ac:picMk id="4" creationId="{C8DEAF02-C36E-FAFF-B685-143482D0644B}"/>
          </ac:picMkLst>
        </pc:picChg>
        <pc:picChg chg="del">
          <ac:chgData name="Jeung Hoon Park" userId="beddcffd-ce47-4056-b815-24814e3fbfe9" providerId="ADAL" clId="{B4A89210-D43A-44D0-9F26-7F0779D60D26}" dt="2022-10-04T05:29:30.284" v="26763" actId="478"/>
          <ac:picMkLst>
            <pc:docMk/>
            <pc:sldMk cId="3639746908" sldId="2147470362"/>
            <ac:picMk id="6" creationId="{87D1F378-A048-7DDD-5088-AF6840B791E3}"/>
          </ac:picMkLst>
        </pc:picChg>
      </pc:sldChg>
      <pc:sldChg chg="addSp delSp modSp add mod">
        <pc:chgData name="Jeung Hoon Park" userId="beddcffd-ce47-4056-b815-24814e3fbfe9" providerId="ADAL" clId="{B4A89210-D43A-44D0-9F26-7F0779D60D26}" dt="2022-10-19T05:46:01.144" v="46186" actId="6549"/>
        <pc:sldMkLst>
          <pc:docMk/>
          <pc:sldMk cId="488341291" sldId="2147470363"/>
        </pc:sldMkLst>
        <pc:spChg chg="mod">
          <ac:chgData name="Jeung Hoon Park" userId="beddcffd-ce47-4056-b815-24814e3fbfe9" providerId="ADAL" clId="{B4A89210-D43A-44D0-9F26-7F0779D60D26}" dt="2022-10-19T05:44:32.542" v="46057"/>
          <ac:spMkLst>
            <pc:docMk/>
            <pc:sldMk cId="488341291" sldId="2147470363"/>
            <ac:spMk id="2" creationId="{C9355748-2E5A-FF43-B041-EDECD4D2DAAD}"/>
          </ac:spMkLst>
        </pc:spChg>
        <pc:spChg chg="mod">
          <ac:chgData name="Jeung Hoon Park" userId="beddcffd-ce47-4056-b815-24814e3fbfe9" providerId="ADAL" clId="{B4A89210-D43A-44D0-9F26-7F0779D60D26}" dt="2022-10-19T05:46:01.144" v="46186" actId="6549"/>
          <ac:spMkLst>
            <pc:docMk/>
            <pc:sldMk cId="488341291" sldId="2147470363"/>
            <ac:spMk id="5" creationId="{0F85905A-5E01-8F50-E18C-9D227C507F1C}"/>
          </ac:spMkLst>
        </pc:spChg>
        <pc:picChg chg="del">
          <ac:chgData name="Jeung Hoon Park" userId="beddcffd-ce47-4056-b815-24814e3fbfe9" providerId="ADAL" clId="{B4A89210-D43A-44D0-9F26-7F0779D60D26}" dt="2022-10-04T05:41:50.922" v="27718" actId="478"/>
          <ac:picMkLst>
            <pc:docMk/>
            <pc:sldMk cId="488341291" sldId="2147470363"/>
            <ac:picMk id="4" creationId="{C8DEAF02-C36E-FAFF-B685-143482D0644B}"/>
          </ac:picMkLst>
        </pc:picChg>
        <pc:picChg chg="add mod">
          <ac:chgData name="Jeung Hoon Park" userId="beddcffd-ce47-4056-b815-24814e3fbfe9" providerId="ADAL" clId="{B4A89210-D43A-44D0-9F26-7F0779D60D26}" dt="2022-10-19T05:45:31.361" v="46113" actId="1076"/>
          <ac:picMkLst>
            <pc:docMk/>
            <pc:sldMk cId="488341291" sldId="2147470363"/>
            <ac:picMk id="6" creationId="{02675616-7BBF-5DF3-43AB-9702B242C1BA}"/>
          </ac:picMkLst>
        </pc:picChg>
      </pc:sldChg>
      <pc:sldChg chg="addSp delSp modSp add mod">
        <pc:chgData name="Jeung Hoon Park" userId="beddcffd-ce47-4056-b815-24814e3fbfe9" providerId="ADAL" clId="{B4A89210-D43A-44D0-9F26-7F0779D60D26}" dt="2022-10-19T04:22:51.163" v="42775" actId="14861"/>
        <pc:sldMkLst>
          <pc:docMk/>
          <pc:sldMk cId="704714508" sldId="2147470364"/>
        </pc:sldMkLst>
        <pc:spChg chg="mod">
          <ac:chgData name="Jeung Hoon Park" userId="beddcffd-ce47-4056-b815-24814e3fbfe9" providerId="ADAL" clId="{B4A89210-D43A-44D0-9F26-7F0779D60D26}" dt="2022-10-05T01:12:20.215" v="28347" actId="20577"/>
          <ac:spMkLst>
            <pc:docMk/>
            <pc:sldMk cId="704714508" sldId="2147470364"/>
            <ac:spMk id="2" creationId="{C9355748-2E5A-FF43-B041-EDECD4D2DAAD}"/>
          </ac:spMkLst>
        </pc:spChg>
        <pc:spChg chg="mod">
          <ac:chgData name="Jeung Hoon Park" userId="beddcffd-ce47-4056-b815-24814e3fbfe9" providerId="ADAL" clId="{B4A89210-D43A-44D0-9F26-7F0779D60D26}" dt="2022-10-19T04:22:02.350" v="42771" actId="6549"/>
          <ac:spMkLst>
            <pc:docMk/>
            <pc:sldMk cId="704714508" sldId="2147470364"/>
            <ac:spMk id="5" creationId="{0F85905A-5E01-8F50-E18C-9D227C507F1C}"/>
          </ac:spMkLst>
        </pc:spChg>
        <pc:graphicFrameChg chg="add mod modGraphic">
          <ac:chgData name="Jeung Hoon Park" userId="beddcffd-ce47-4056-b815-24814e3fbfe9" providerId="ADAL" clId="{B4A89210-D43A-44D0-9F26-7F0779D60D26}" dt="2022-10-19T04:22:51.163" v="42775" actId="14861"/>
          <ac:graphicFrameMkLst>
            <pc:docMk/>
            <pc:sldMk cId="704714508" sldId="2147470364"/>
            <ac:graphicFrameMk id="3" creationId="{CEAC1445-4175-B414-D44C-906234D4284D}"/>
          </ac:graphicFrameMkLst>
        </pc:graphicFrameChg>
        <pc:picChg chg="add del mod">
          <ac:chgData name="Jeung Hoon Park" userId="beddcffd-ce47-4056-b815-24814e3fbfe9" providerId="ADAL" clId="{B4A89210-D43A-44D0-9F26-7F0779D60D26}" dt="2022-10-05T01:27:25.381" v="29461" actId="478"/>
          <ac:picMkLst>
            <pc:docMk/>
            <pc:sldMk cId="704714508" sldId="2147470364"/>
            <ac:picMk id="6" creationId="{AB988A67-A893-E54D-6525-79908C74DD47}"/>
          </ac:picMkLst>
        </pc:picChg>
        <pc:picChg chg="add mod">
          <ac:chgData name="Jeung Hoon Park" userId="beddcffd-ce47-4056-b815-24814e3fbfe9" providerId="ADAL" clId="{B4A89210-D43A-44D0-9F26-7F0779D60D26}" dt="2022-10-19T04:22:45.231" v="42774" actId="14861"/>
          <ac:picMkLst>
            <pc:docMk/>
            <pc:sldMk cId="704714508" sldId="2147470364"/>
            <ac:picMk id="8" creationId="{05FBD3DC-FDC6-3BA5-02E1-77A50505C502}"/>
          </ac:picMkLst>
        </pc:picChg>
        <pc:picChg chg="del">
          <ac:chgData name="Jeung Hoon Park" userId="beddcffd-ce47-4056-b815-24814e3fbfe9" providerId="ADAL" clId="{B4A89210-D43A-44D0-9F26-7F0779D60D26}" dt="2022-10-05T01:12:36.760" v="28348" actId="478"/>
          <ac:picMkLst>
            <pc:docMk/>
            <pc:sldMk cId="704714508" sldId="2147470364"/>
            <ac:picMk id="9" creationId="{FB9EACC9-2407-B445-8FEC-0BF08674698C}"/>
          </ac:picMkLst>
        </pc:picChg>
        <pc:picChg chg="del">
          <ac:chgData name="Jeung Hoon Park" userId="beddcffd-ce47-4056-b815-24814e3fbfe9" providerId="ADAL" clId="{B4A89210-D43A-44D0-9F26-7F0779D60D26}" dt="2022-10-05T01:12:37.216" v="28349" actId="478"/>
          <ac:picMkLst>
            <pc:docMk/>
            <pc:sldMk cId="704714508" sldId="2147470364"/>
            <ac:picMk id="11" creationId="{FA88494D-35D9-0BDC-B8BB-42BE11968DAC}"/>
          </ac:picMkLst>
        </pc:picChg>
        <pc:picChg chg="del mod">
          <ac:chgData name="Jeung Hoon Park" userId="beddcffd-ce47-4056-b815-24814e3fbfe9" providerId="ADAL" clId="{B4A89210-D43A-44D0-9F26-7F0779D60D26}" dt="2022-10-05T01:12:37.626" v="28351" actId="478"/>
          <ac:picMkLst>
            <pc:docMk/>
            <pc:sldMk cId="704714508" sldId="2147470364"/>
            <ac:picMk id="13" creationId="{35EAEA8B-903F-4E32-B257-AC1D4B403C72}"/>
          </ac:picMkLst>
        </pc:picChg>
      </pc:sldChg>
      <pc:sldChg chg="addSp delSp modSp add mod">
        <pc:chgData name="Jeung Hoon Park" userId="beddcffd-ce47-4056-b815-24814e3fbfe9" providerId="ADAL" clId="{B4A89210-D43A-44D0-9F26-7F0779D60D26}" dt="2022-10-20T05:21:40.668" v="46668" actId="1036"/>
        <pc:sldMkLst>
          <pc:docMk/>
          <pc:sldMk cId="80441370" sldId="2147470366"/>
        </pc:sldMkLst>
        <pc:spChg chg="mod">
          <ac:chgData name="Jeung Hoon Park" userId="beddcffd-ce47-4056-b815-24814e3fbfe9" providerId="ADAL" clId="{B4A89210-D43A-44D0-9F26-7F0779D60D26}" dt="2022-10-19T04:23:37.146" v="42809" actId="20577"/>
          <ac:spMkLst>
            <pc:docMk/>
            <pc:sldMk cId="80441370" sldId="2147470366"/>
            <ac:spMk id="2" creationId="{C9355748-2E5A-FF43-B041-EDECD4D2DAAD}"/>
          </ac:spMkLst>
        </pc:spChg>
        <pc:spChg chg="mod">
          <ac:chgData name="Jeung Hoon Park" userId="beddcffd-ce47-4056-b815-24814e3fbfe9" providerId="ADAL" clId="{B4A89210-D43A-44D0-9F26-7F0779D60D26}" dt="2022-10-19T04:25:56.229" v="42932" actId="255"/>
          <ac:spMkLst>
            <pc:docMk/>
            <pc:sldMk cId="80441370" sldId="2147470366"/>
            <ac:spMk id="5" creationId="{0F85905A-5E01-8F50-E18C-9D227C507F1C}"/>
          </ac:spMkLst>
        </pc:spChg>
        <pc:graphicFrameChg chg="del">
          <ac:chgData name="Jeung Hoon Park" userId="beddcffd-ce47-4056-b815-24814e3fbfe9" providerId="ADAL" clId="{B4A89210-D43A-44D0-9F26-7F0779D60D26}" dt="2022-10-05T01:33:16.446" v="29707" actId="478"/>
          <ac:graphicFrameMkLst>
            <pc:docMk/>
            <pc:sldMk cId="80441370" sldId="2147470366"/>
            <ac:graphicFrameMk id="3" creationId="{CEAC1445-4175-B414-D44C-906234D4284D}"/>
          </ac:graphicFrameMkLst>
        </pc:graphicFrameChg>
        <pc:picChg chg="add mod">
          <ac:chgData name="Jeung Hoon Park" userId="beddcffd-ce47-4056-b815-24814e3fbfe9" providerId="ADAL" clId="{B4A89210-D43A-44D0-9F26-7F0779D60D26}" dt="2022-10-20T05:21:40.668" v="46668" actId="1036"/>
          <ac:picMkLst>
            <pc:docMk/>
            <pc:sldMk cId="80441370" sldId="2147470366"/>
            <ac:picMk id="6" creationId="{47719BE8-ECFD-C3AA-3E8B-A682D3FEAE66}"/>
          </ac:picMkLst>
        </pc:picChg>
        <pc:picChg chg="del">
          <ac:chgData name="Jeung Hoon Park" userId="beddcffd-ce47-4056-b815-24814e3fbfe9" providerId="ADAL" clId="{B4A89210-D43A-44D0-9F26-7F0779D60D26}" dt="2022-10-05T01:33:15.067" v="29706" actId="478"/>
          <ac:picMkLst>
            <pc:docMk/>
            <pc:sldMk cId="80441370" sldId="2147470366"/>
            <ac:picMk id="8" creationId="{05FBD3DC-FDC6-3BA5-02E1-77A50505C502}"/>
          </ac:picMkLst>
        </pc:picChg>
      </pc:sldChg>
      <pc:sldChg chg="modSp add del mod">
        <pc:chgData name="Jeung Hoon Park" userId="beddcffd-ce47-4056-b815-24814e3fbfe9" providerId="ADAL" clId="{B4A89210-D43A-44D0-9F26-7F0779D60D26}" dt="2022-10-19T04:26:43.766" v="42936" actId="47"/>
        <pc:sldMkLst>
          <pc:docMk/>
          <pc:sldMk cId="3187239357" sldId="2147470367"/>
        </pc:sldMkLst>
        <pc:picChg chg="mod">
          <ac:chgData name="Jeung Hoon Park" userId="beddcffd-ce47-4056-b815-24814e3fbfe9" providerId="ADAL" clId="{B4A89210-D43A-44D0-9F26-7F0779D60D26}" dt="2022-10-19T04:26:34.101" v="42935" actId="1076"/>
          <ac:picMkLst>
            <pc:docMk/>
            <pc:sldMk cId="3187239357" sldId="2147470367"/>
            <ac:picMk id="6" creationId="{47719BE8-ECFD-C3AA-3E8B-A682D3FEAE66}"/>
          </ac:picMkLst>
        </pc:picChg>
      </pc:sldChg>
      <pc:sldChg chg="addSp delSp modSp add mod">
        <pc:chgData name="Jeung Hoon Park" userId="beddcffd-ce47-4056-b815-24814e3fbfe9" providerId="ADAL" clId="{B4A89210-D43A-44D0-9F26-7F0779D60D26}" dt="2022-10-19T04:29:07.376" v="42984" actId="14861"/>
        <pc:sldMkLst>
          <pc:docMk/>
          <pc:sldMk cId="1071111" sldId="2147470368"/>
        </pc:sldMkLst>
        <pc:spChg chg="mod">
          <ac:chgData name="Jeung Hoon Park" userId="beddcffd-ce47-4056-b815-24814e3fbfe9" providerId="ADAL" clId="{B4A89210-D43A-44D0-9F26-7F0779D60D26}" dt="2022-10-19T04:27:03.613" v="42937" actId="20577"/>
          <ac:spMkLst>
            <pc:docMk/>
            <pc:sldMk cId="1071111" sldId="2147470368"/>
            <ac:spMk id="2" creationId="{C9355748-2E5A-FF43-B041-EDECD4D2DAAD}"/>
          </ac:spMkLst>
        </pc:spChg>
        <pc:spChg chg="mod">
          <ac:chgData name="Jeung Hoon Park" userId="beddcffd-ce47-4056-b815-24814e3fbfe9" providerId="ADAL" clId="{B4A89210-D43A-44D0-9F26-7F0779D60D26}" dt="2022-10-19T04:28:47.728" v="42981" actId="255"/>
          <ac:spMkLst>
            <pc:docMk/>
            <pc:sldMk cId="1071111" sldId="2147470368"/>
            <ac:spMk id="5" creationId="{0F85905A-5E01-8F50-E18C-9D227C507F1C}"/>
          </ac:spMkLst>
        </pc:spChg>
        <pc:picChg chg="del">
          <ac:chgData name="Jeung Hoon Park" userId="beddcffd-ce47-4056-b815-24814e3fbfe9" providerId="ADAL" clId="{B4A89210-D43A-44D0-9F26-7F0779D60D26}" dt="2022-10-05T02:17:15.261" v="30451" actId="478"/>
          <ac:picMkLst>
            <pc:docMk/>
            <pc:sldMk cId="1071111" sldId="2147470368"/>
            <ac:picMk id="6" creationId="{47719BE8-ECFD-C3AA-3E8B-A682D3FEAE66}"/>
          </ac:picMkLst>
        </pc:picChg>
        <pc:picChg chg="add mod">
          <ac:chgData name="Jeung Hoon Park" userId="beddcffd-ce47-4056-b815-24814e3fbfe9" providerId="ADAL" clId="{B4A89210-D43A-44D0-9F26-7F0779D60D26}" dt="2022-10-19T04:29:00.343" v="42982" actId="1076"/>
          <ac:picMkLst>
            <pc:docMk/>
            <pc:sldMk cId="1071111" sldId="2147470368"/>
            <ac:picMk id="1026" creationId="{17366573-3F76-ED23-B408-BF0D0D3F6D5F}"/>
          </ac:picMkLst>
        </pc:picChg>
        <pc:picChg chg="add mod">
          <ac:chgData name="Jeung Hoon Park" userId="beddcffd-ce47-4056-b815-24814e3fbfe9" providerId="ADAL" clId="{B4A89210-D43A-44D0-9F26-7F0779D60D26}" dt="2022-10-19T04:29:07.376" v="42984" actId="14861"/>
          <ac:picMkLst>
            <pc:docMk/>
            <pc:sldMk cId="1071111" sldId="2147470368"/>
            <ac:picMk id="1028" creationId="{3A252B45-BBA3-16B7-C0BF-F12EEE51AC3B}"/>
          </ac:picMkLst>
        </pc:picChg>
      </pc:sldChg>
      <pc:sldChg chg="addSp delSp modSp add mod setBg setClrOvrMap">
        <pc:chgData name="Jeung Hoon Park" userId="beddcffd-ce47-4056-b815-24814e3fbfe9" providerId="ADAL" clId="{B4A89210-D43A-44D0-9F26-7F0779D60D26}" dt="2022-10-19T04:30:43.958" v="43045" actId="14100"/>
        <pc:sldMkLst>
          <pc:docMk/>
          <pc:sldMk cId="2634061669" sldId="2147470369"/>
        </pc:sldMkLst>
        <pc:spChg chg="mod">
          <ac:chgData name="Jeung Hoon Park" userId="beddcffd-ce47-4056-b815-24814e3fbfe9" providerId="ADAL" clId="{B4A89210-D43A-44D0-9F26-7F0779D60D26}" dt="2022-10-19T04:29:35.566" v="43010" actId="20577"/>
          <ac:spMkLst>
            <pc:docMk/>
            <pc:sldMk cId="2634061669" sldId="2147470369"/>
            <ac:spMk id="2" creationId="{C9355748-2E5A-FF43-B041-EDECD4D2DAAD}"/>
          </ac:spMkLst>
        </pc:spChg>
        <pc:spChg chg="mod ord">
          <ac:chgData name="Jeung Hoon Park" userId="beddcffd-ce47-4056-b815-24814e3fbfe9" providerId="ADAL" clId="{B4A89210-D43A-44D0-9F26-7F0779D60D26}" dt="2022-10-19T04:30:21.335" v="43040" actId="20577"/>
          <ac:spMkLst>
            <pc:docMk/>
            <pc:sldMk cId="2634061669" sldId="2147470369"/>
            <ac:spMk id="5" creationId="{0F85905A-5E01-8F50-E18C-9D227C507F1C}"/>
          </ac:spMkLst>
        </pc:spChg>
        <pc:spChg chg="add mod">
          <ac:chgData name="Jeung Hoon Park" userId="beddcffd-ce47-4056-b815-24814e3fbfe9" providerId="ADAL" clId="{B4A89210-D43A-44D0-9F26-7F0779D60D26}" dt="2022-10-19T04:30:43.958" v="43045" actId="14100"/>
          <ac:spMkLst>
            <pc:docMk/>
            <pc:sldMk cId="2634061669" sldId="2147470369"/>
            <ac:spMk id="10" creationId="{0BA87D67-0A1A-6F73-51C7-FDC4BFBB40F2}"/>
          </ac:spMkLst>
        </pc:spChg>
        <pc:spChg chg="add del">
          <ac:chgData name="Jeung Hoon Park" userId="beddcffd-ce47-4056-b815-24814e3fbfe9" providerId="ADAL" clId="{B4A89210-D43A-44D0-9F26-7F0779D60D26}" dt="2022-10-05T03:41:03.974" v="31757" actId="26606"/>
          <ac:spMkLst>
            <pc:docMk/>
            <pc:sldMk cId="2634061669" sldId="2147470369"/>
            <ac:spMk id="14" creationId="{2EEE8F11-3582-44B7-9869-F2D26D7DD9D4}"/>
          </ac:spMkLst>
        </pc:spChg>
        <pc:spChg chg="add del">
          <ac:chgData name="Jeung Hoon Park" userId="beddcffd-ce47-4056-b815-24814e3fbfe9" providerId="ADAL" clId="{B4A89210-D43A-44D0-9F26-7F0779D60D26}" dt="2022-10-05T03:41:03.974" v="31757" actId="26606"/>
          <ac:spMkLst>
            <pc:docMk/>
            <pc:sldMk cId="2634061669" sldId="2147470369"/>
            <ac:spMk id="16" creationId="{2141F1CC-6A53-4BCF-9127-AABB52E2497E}"/>
          </ac:spMkLst>
        </pc:spChg>
        <pc:spChg chg="add del">
          <ac:chgData name="Jeung Hoon Park" userId="beddcffd-ce47-4056-b815-24814e3fbfe9" providerId="ADAL" clId="{B4A89210-D43A-44D0-9F26-7F0779D60D26}" dt="2022-10-05T03:41:03.974" v="31757" actId="26606"/>
          <ac:spMkLst>
            <pc:docMk/>
            <pc:sldMk cId="2634061669" sldId="2147470369"/>
            <ac:spMk id="18" creationId="{561B2B49-7142-4CA8-A929-4671548E6A5A}"/>
          </ac:spMkLst>
        </pc:spChg>
        <pc:spChg chg="add del">
          <ac:chgData name="Jeung Hoon Park" userId="beddcffd-ce47-4056-b815-24814e3fbfe9" providerId="ADAL" clId="{B4A89210-D43A-44D0-9F26-7F0779D60D26}" dt="2022-10-05T03:41:10.597" v="31759" actId="26606"/>
          <ac:spMkLst>
            <pc:docMk/>
            <pc:sldMk cId="2634061669" sldId="2147470369"/>
            <ac:spMk id="20" creationId="{4038CB10-1F5C-4D54-9DF7-12586DE5B007}"/>
          </ac:spMkLst>
        </pc:spChg>
        <pc:spChg chg="add del">
          <ac:chgData name="Jeung Hoon Park" userId="beddcffd-ce47-4056-b815-24814e3fbfe9" providerId="ADAL" clId="{B4A89210-D43A-44D0-9F26-7F0779D60D26}" dt="2022-10-05T03:41:10.597" v="31759" actId="26606"/>
          <ac:spMkLst>
            <pc:docMk/>
            <pc:sldMk cId="2634061669" sldId="2147470369"/>
            <ac:spMk id="21" creationId="{73ED6512-6858-4552-B699-9A97FE9A4EA2}"/>
          </ac:spMkLst>
        </pc:spChg>
        <pc:spChg chg="add del">
          <ac:chgData name="Jeung Hoon Park" userId="beddcffd-ce47-4056-b815-24814e3fbfe9" providerId="ADAL" clId="{B4A89210-D43A-44D0-9F26-7F0779D60D26}" dt="2022-10-05T03:41:22.280" v="31761" actId="26606"/>
          <ac:spMkLst>
            <pc:docMk/>
            <pc:sldMk cId="2634061669" sldId="2147470369"/>
            <ac:spMk id="23" creationId="{ED4D6CE2-C4FB-4B4D-991A-84C9705CD762}"/>
          </ac:spMkLst>
        </pc:spChg>
        <pc:spChg chg="add del">
          <ac:chgData name="Jeung Hoon Park" userId="beddcffd-ce47-4056-b815-24814e3fbfe9" providerId="ADAL" clId="{B4A89210-D43A-44D0-9F26-7F0779D60D26}" dt="2022-10-05T03:41:26.827" v="31763" actId="26606"/>
          <ac:spMkLst>
            <pc:docMk/>
            <pc:sldMk cId="2634061669" sldId="2147470369"/>
            <ac:spMk id="26" creationId="{45BEE692-38FF-45D5-BACD-3ED0107AB1E2}"/>
          </ac:spMkLst>
        </pc:spChg>
        <pc:spChg chg="add del">
          <ac:chgData name="Jeung Hoon Park" userId="beddcffd-ce47-4056-b815-24814e3fbfe9" providerId="ADAL" clId="{B4A89210-D43A-44D0-9F26-7F0779D60D26}" dt="2022-10-05T03:41:26.827" v="31763" actId="26606"/>
          <ac:spMkLst>
            <pc:docMk/>
            <pc:sldMk cId="2634061669" sldId="2147470369"/>
            <ac:spMk id="27" creationId="{FFC0ABB7-3FF2-48CA-AF41-7C90BA14B7C9}"/>
          </ac:spMkLst>
        </pc:spChg>
        <pc:spChg chg="add del">
          <ac:chgData name="Jeung Hoon Park" userId="beddcffd-ce47-4056-b815-24814e3fbfe9" providerId="ADAL" clId="{B4A89210-D43A-44D0-9F26-7F0779D60D26}" dt="2022-10-05T03:41:27.950" v="31765" actId="26606"/>
          <ac:spMkLst>
            <pc:docMk/>
            <pc:sldMk cId="2634061669" sldId="2147470369"/>
            <ac:spMk id="29" creationId="{5EBC18B6-E5C3-4AD1-97A4-E6A3477A0BB9}"/>
          </ac:spMkLst>
        </pc:spChg>
        <pc:spChg chg="add del">
          <ac:chgData name="Jeung Hoon Park" userId="beddcffd-ce47-4056-b815-24814e3fbfe9" providerId="ADAL" clId="{B4A89210-D43A-44D0-9F26-7F0779D60D26}" dt="2022-10-05T03:41:27.950" v="31765" actId="26606"/>
          <ac:spMkLst>
            <pc:docMk/>
            <pc:sldMk cId="2634061669" sldId="2147470369"/>
            <ac:spMk id="30" creationId="{136A4AB6-B72B-4CC6-ADCF-BE807B6C3D71}"/>
          </ac:spMkLst>
        </pc:spChg>
        <pc:spChg chg="add del">
          <ac:chgData name="Jeung Hoon Park" userId="beddcffd-ce47-4056-b815-24814e3fbfe9" providerId="ADAL" clId="{B4A89210-D43A-44D0-9F26-7F0779D60D26}" dt="2022-10-05T03:41:27.950" v="31765" actId="26606"/>
          <ac:spMkLst>
            <pc:docMk/>
            <pc:sldMk cId="2634061669" sldId="2147470369"/>
            <ac:spMk id="31" creationId="{B35D540D-9486-4236-952A-F72DC52D79BF}"/>
          </ac:spMkLst>
        </pc:spChg>
        <pc:spChg chg="add del">
          <ac:chgData name="Jeung Hoon Park" userId="beddcffd-ce47-4056-b815-24814e3fbfe9" providerId="ADAL" clId="{B4A89210-D43A-44D0-9F26-7F0779D60D26}" dt="2022-10-05T03:41:43.427" v="31767" actId="26606"/>
          <ac:spMkLst>
            <pc:docMk/>
            <pc:sldMk cId="2634061669" sldId="2147470369"/>
            <ac:spMk id="33" creationId="{2EEE8F11-3582-44B7-9869-F2D26D7DD9D4}"/>
          </ac:spMkLst>
        </pc:spChg>
        <pc:spChg chg="add del">
          <ac:chgData name="Jeung Hoon Park" userId="beddcffd-ce47-4056-b815-24814e3fbfe9" providerId="ADAL" clId="{B4A89210-D43A-44D0-9F26-7F0779D60D26}" dt="2022-10-05T03:41:43.427" v="31767" actId="26606"/>
          <ac:spMkLst>
            <pc:docMk/>
            <pc:sldMk cId="2634061669" sldId="2147470369"/>
            <ac:spMk id="34" creationId="{2141F1CC-6A53-4BCF-9127-AABB52E2497E}"/>
          </ac:spMkLst>
        </pc:spChg>
        <pc:spChg chg="add del">
          <ac:chgData name="Jeung Hoon Park" userId="beddcffd-ce47-4056-b815-24814e3fbfe9" providerId="ADAL" clId="{B4A89210-D43A-44D0-9F26-7F0779D60D26}" dt="2022-10-05T03:41:43.427" v="31767" actId="26606"/>
          <ac:spMkLst>
            <pc:docMk/>
            <pc:sldMk cId="2634061669" sldId="2147470369"/>
            <ac:spMk id="35" creationId="{561B2B49-7142-4CA8-A929-4671548E6A5A}"/>
          </ac:spMkLst>
        </pc:spChg>
        <pc:picChg chg="add mod ord">
          <ac:chgData name="Jeung Hoon Park" userId="beddcffd-ce47-4056-b815-24814e3fbfe9" providerId="ADAL" clId="{B4A89210-D43A-44D0-9F26-7F0779D60D26}" dt="2022-10-19T04:30:25.292" v="43041" actId="1076"/>
          <ac:picMkLst>
            <pc:docMk/>
            <pc:sldMk cId="2634061669" sldId="2147470369"/>
            <ac:picMk id="4" creationId="{7639AB06-8CC3-487B-FD15-19E9D1E926E8}"/>
          </ac:picMkLst>
        </pc:picChg>
        <pc:picChg chg="add mod ord">
          <ac:chgData name="Jeung Hoon Park" userId="beddcffd-ce47-4056-b815-24814e3fbfe9" providerId="ADAL" clId="{B4A89210-D43A-44D0-9F26-7F0779D60D26}" dt="2022-10-19T04:30:27.581" v="43042" actId="1076"/>
          <ac:picMkLst>
            <pc:docMk/>
            <pc:sldMk cId="2634061669" sldId="2147470369"/>
            <ac:picMk id="7" creationId="{BA7EF93C-79A6-FA0E-FE38-18A49F907179}"/>
          </ac:picMkLst>
        </pc:picChg>
        <pc:picChg chg="add mod">
          <ac:chgData name="Jeung Hoon Park" userId="beddcffd-ce47-4056-b815-24814e3fbfe9" providerId="ADAL" clId="{B4A89210-D43A-44D0-9F26-7F0779D60D26}" dt="2022-10-19T04:30:30.872" v="43043" actId="1076"/>
          <ac:picMkLst>
            <pc:docMk/>
            <pc:sldMk cId="2634061669" sldId="2147470369"/>
            <ac:picMk id="9" creationId="{C0F9EA26-28EB-C3AF-7B0F-452628674E1A}"/>
          </ac:picMkLst>
        </pc:picChg>
        <pc:picChg chg="del">
          <ac:chgData name="Jeung Hoon Park" userId="beddcffd-ce47-4056-b815-24814e3fbfe9" providerId="ADAL" clId="{B4A89210-D43A-44D0-9F26-7F0779D60D26}" dt="2022-10-05T03:34:20.834" v="31485" actId="478"/>
          <ac:picMkLst>
            <pc:docMk/>
            <pc:sldMk cId="2634061669" sldId="2147470369"/>
            <ac:picMk id="1026" creationId="{17366573-3F76-ED23-B408-BF0D0D3F6D5F}"/>
          </ac:picMkLst>
        </pc:picChg>
        <pc:picChg chg="del">
          <ac:chgData name="Jeung Hoon Park" userId="beddcffd-ce47-4056-b815-24814e3fbfe9" providerId="ADAL" clId="{B4A89210-D43A-44D0-9F26-7F0779D60D26}" dt="2022-10-05T03:34:20.401" v="31484" actId="478"/>
          <ac:picMkLst>
            <pc:docMk/>
            <pc:sldMk cId="2634061669" sldId="2147470369"/>
            <ac:picMk id="1028" creationId="{3A252B45-BBA3-16B7-C0BF-F12EEE51AC3B}"/>
          </ac:picMkLst>
        </pc:picChg>
        <pc:cxnChg chg="add del">
          <ac:chgData name="Jeung Hoon Park" userId="beddcffd-ce47-4056-b815-24814e3fbfe9" providerId="ADAL" clId="{B4A89210-D43A-44D0-9F26-7F0779D60D26}" dt="2022-10-05T03:41:22.280" v="31761" actId="26606"/>
          <ac:cxnSpMkLst>
            <pc:docMk/>
            <pc:sldMk cId="2634061669" sldId="2147470369"/>
            <ac:cxnSpMk id="24" creationId="{DF212C58-D7CC-47D6-AD5E-91C3F01B2F9E}"/>
          </ac:cxnSpMkLst>
        </pc:cxnChg>
      </pc:sldChg>
      <pc:sldChg chg="modSp add mod">
        <pc:chgData name="Jeung Hoon Park" userId="beddcffd-ce47-4056-b815-24814e3fbfe9" providerId="ADAL" clId="{B4A89210-D43A-44D0-9F26-7F0779D60D26}" dt="2022-10-05T04:09:02.123" v="32126"/>
        <pc:sldMkLst>
          <pc:docMk/>
          <pc:sldMk cId="2244023964" sldId="2147470370"/>
        </pc:sldMkLst>
        <pc:spChg chg="mod">
          <ac:chgData name="Jeung Hoon Park" userId="beddcffd-ce47-4056-b815-24814e3fbfe9" providerId="ADAL" clId="{B4A89210-D43A-44D0-9F26-7F0779D60D26}" dt="2022-10-05T04:09:02.123" v="32126"/>
          <ac:spMkLst>
            <pc:docMk/>
            <pc:sldMk cId="2244023964" sldId="2147470370"/>
            <ac:spMk id="5" creationId="{F01C4DE8-FED9-4360-822F-E4430EDF3049}"/>
          </ac:spMkLst>
        </pc:spChg>
      </pc:sldChg>
      <pc:sldChg chg="delSp modSp add mod">
        <pc:chgData name="Jeung Hoon Park" userId="beddcffd-ce47-4056-b815-24814e3fbfe9" providerId="ADAL" clId="{B4A89210-D43A-44D0-9F26-7F0779D60D26}" dt="2022-10-19T05:25:45.910" v="45145" actId="20577"/>
        <pc:sldMkLst>
          <pc:docMk/>
          <pc:sldMk cId="33089797" sldId="2147470371"/>
        </pc:sldMkLst>
        <pc:spChg chg="mod">
          <ac:chgData name="Jeung Hoon Park" userId="beddcffd-ce47-4056-b815-24814e3fbfe9" providerId="ADAL" clId="{B4A89210-D43A-44D0-9F26-7F0779D60D26}" dt="2022-10-19T05:23:03.138" v="45008" actId="6549"/>
          <ac:spMkLst>
            <pc:docMk/>
            <pc:sldMk cId="33089797" sldId="2147470371"/>
            <ac:spMk id="2" creationId="{C9355748-2E5A-FF43-B041-EDECD4D2DAAD}"/>
          </ac:spMkLst>
        </pc:spChg>
        <pc:spChg chg="mod">
          <ac:chgData name="Jeung Hoon Park" userId="beddcffd-ce47-4056-b815-24814e3fbfe9" providerId="ADAL" clId="{B4A89210-D43A-44D0-9F26-7F0779D60D26}" dt="2022-10-19T05:25:45.910" v="45145" actId="20577"/>
          <ac:spMkLst>
            <pc:docMk/>
            <pc:sldMk cId="33089797" sldId="2147470371"/>
            <ac:spMk id="5" creationId="{0F85905A-5E01-8F50-E18C-9D227C507F1C}"/>
          </ac:spMkLst>
        </pc:spChg>
        <pc:graphicFrameChg chg="del">
          <ac:chgData name="Jeung Hoon Park" userId="beddcffd-ce47-4056-b815-24814e3fbfe9" providerId="ADAL" clId="{B4A89210-D43A-44D0-9F26-7F0779D60D26}" dt="2022-10-05T04:15:41.277" v="32643" actId="478"/>
          <ac:graphicFrameMkLst>
            <pc:docMk/>
            <pc:sldMk cId="33089797" sldId="2147470371"/>
            <ac:graphicFrameMk id="3" creationId="{B2691129-9D03-7ACB-799D-CCBA5FC4DC31}"/>
          </ac:graphicFrameMkLst>
        </pc:graphicFrameChg>
      </pc:sldChg>
      <pc:sldChg chg="addSp modSp add mod">
        <pc:chgData name="Jeung Hoon Park" userId="beddcffd-ce47-4056-b815-24814e3fbfe9" providerId="ADAL" clId="{B4A89210-D43A-44D0-9F26-7F0779D60D26}" dt="2022-10-19T05:27:59.280" v="45383" actId="6549"/>
        <pc:sldMkLst>
          <pc:docMk/>
          <pc:sldMk cId="2346301381" sldId="2147470373"/>
        </pc:sldMkLst>
        <pc:spChg chg="mod">
          <ac:chgData name="Jeung Hoon Park" userId="beddcffd-ce47-4056-b815-24814e3fbfe9" providerId="ADAL" clId="{B4A89210-D43A-44D0-9F26-7F0779D60D26}" dt="2022-10-19T05:25:53.437" v="45155" actId="20577"/>
          <ac:spMkLst>
            <pc:docMk/>
            <pc:sldMk cId="2346301381" sldId="2147470373"/>
            <ac:spMk id="2" creationId="{C9355748-2E5A-FF43-B041-EDECD4D2DAAD}"/>
          </ac:spMkLst>
        </pc:spChg>
        <pc:spChg chg="mod">
          <ac:chgData name="Jeung Hoon Park" userId="beddcffd-ce47-4056-b815-24814e3fbfe9" providerId="ADAL" clId="{B4A89210-D43A-44D0-9F26-7F0779D60D26}" dt="2022-10-19T05:27:59.280" v="45383" actId="6549"/>
          <ac:spMkLst>
            <pc:docMk/>
            <pc:sldMk cId="2346301381" sldId="2147470373"/>
            <ac:spMk id="5" creationId="{0F85905A-5E01-8F50-E18C-9D227C507F1C}"/>
          </ac:spMkLst>
        </pc:spChg>
        <pc:graphicFrameChg chg="add mod modGraphic">
          <ac:chgData name="Jeung Hoon Park" userId="beddcffd-ce47-4056-b815-24814e3fbfe9" providerId="ADAL" clId="{B4A89210-D43A-44D0-9F26-7F0779D60D26}" dt="2022-10-19T05:27:26.419" v="45311" actId="113"/>
          <ac:graphicFrameMkLst>
            <pc:docMk/>
            <pc:sldMk cId="2346301381" sldId="2147470373"/>
            <ac:graphicFrameMk id="8" creationId="{7CC49CD8-24B8-CC15-9E84-317E2364CAFA}"/>
          </ac:graphicFrameMkLst>
        </pc:graphicFrameChg>
        <pc:picChg chg="add mod">
          <ac:chgData name="Jeung Hoon Park" userId="beddcffd-ce47-4056-b815-24814e3fbfe9" providerId="ADAL" clId="{B4A89210-D43A-44D0-9F26-7F0779D60D26}" dt="2022-10-19T05:27:35.126" v="45314" actId="14100"/>
          <ac:picMkLst>
            <pc:docMk/>
            <pc:sldMk cId="2346301381" sldId="2147470373"/>
            <ac:picMk id="4" creationId="{8976FAF8-6674-C2A4-5BE6-AE80B3208AEE}"/>
          </ac:picMkLst>
        </pc:picChg>
        <pc:picChg chg="add mod">
          <ac:chgData name="Jeung Hoon Park" userId="beddcffd-ce47-4056-b815-24814e3fbfe9" providerId="ADAL" clId="{B4A89210-D43A-44D0-9F26-7F0779D60D26}" dt="2022-10-19T05:27:45.558" v="45325" actId="1038"/>
          <ac:picMkLst>
            <pc:docMk/>
            <pc:sldMk cId="2346301381" sldId="2147470373"/>
            <ac:picMk id="7" creationId="{EBD540BC-4990-50D1-E041-2F3177CBB146}"/>
          </ac:picMkLst>
        </pc:picChg>
      </pc:sldChg>
      <pc:sldChg chg="addSp delSp modSp add mod">
        <pc:chgData name="Jeung Hoon Park" userId="beddcffd-ce47-4056-b815-24814e3fbfe9" providerId="ADAL" clId="{B4A89210-D43A-44D0-9F26-7F0779D60D26}" dt="2022-10-19T05:50:31.941" v="46372" actId="1076"/>
        <pc:sldMkLst>
          <pc:docMk/>
          <pc:sldMk cId="2781292973" sldId="2147470380"/>
        </pc:sldMkLst>
        <pc:spChg chg="mod">
          <ac:chgData name="Jeung Hoon Park" userId="beddcffd-ce47-4056-b815-24814e3fbfe9" providerId="ADAL" clId="{B4A89210-D43A-44D0-9F26-7F0779D60D26}" dt="2022-10-19T05:49:16.633" v="46339" actId="20577"/>
          <ac:spMkLst>
            <pc:docMk/>
            <pc:sldMk cId="2781292973" sldId="2147470380"/>
            <ac:spMk id="2" creationId="{C9355748-2E5A-FF43-B041-EDECD4D2DAAD}"/>
          </ac:spMkLst>
        </pc:spChg>
        <pc:spChg chg="mod">
          <ac:chgData name="Jeung Hoon Park" userId="beddcffd-ce47-4056-b815-24814e3fbfe9" providerId="ADAL" clId="{B4A89210-D43A-44D0-9F26-7F0779D60D26}" dt="2022-10-19T05:50:12.832" v="46368" actId="255"/>
          <ac:spMkLst>
            <pc:docMk/>
            <pc:sldMk cId="2781292973" sldId="2147470380"/>
            <ac:spMk id="5" creationId="{0F85905A-5E01-8F50-E18C-9D227C507F1C}"/>
          </ac:spMkLst>
        </pc:spChg>
        <pc:grpChg chg="del mod">
          <ac:chgData name="Jeung Hoon Park" userId="beddcffd-ce47-4056-b815-24814e3fbfe9" providerId="ADAL" clId="{B4A89210-D43A-44D0-9F26-7F0779D60D26}" dt="2022-10-11T02:27:45.664" v="35259"/>
          <ac:grpSpMkLst>
            <pc:docMk/>
            <pc:sldMk cId="2781292973" sldId="2147470380"/>
            <ac:grpSpMk id="17" creationId="{F2E193C6-13F3-FDC5-D4F5-5C9957DD7A0E}"/>
          </ac:grpSpMkLst>
        </pc:grpChg>
        <pc:grpChg chg="del mod">
          <ac:chgData name="Jeung Hoon Park" userId="beddcffd-ce47-4056-b815-24814e3fbfe9" providerId="ADAL" clId="{B4A89210-D43A-44D0-9F26-7F0779D60D26}" dt="2022-10-11T04:15:43.311" v="36530" actId="478"/>
          <ac:grpSpMkLst>
            <pc:docMk/>
            <pc:sldMk cId="2781292973" sldId="2147470380"/>
            <ac:grpSpMk id="19" creationId="{3F2B5031-989B-5D06-0EA0-8A1F5E197C29}"/>
          </ac:grpSpMkLst>
        </pc:grpChg>
        <pc:picChg chg="add del mod">
          <ac:chgData name="Jeung Hoon Park" userId="beddcffd-ce47-4056-b815-24814e3fbfe9" providerId="ADAL" clId="{B4A89210-D43A-44D0-9F26-7F0779D60D26}" dt="2022-10-11T02:16:22.484" v="34911" actId="478"/>
          <ac:picMkLst>
            <pc:docMk/>
            <pc:sldMk cId="2781292973" sldId="2147470380"/>
            <ac:picMk id="4" creationId="{2DC1CE74-395B-9729-C25D-83D81829AC80}"/>
          </ac:picMkLst>
        </pc:picChg>
        <pc:picChg chg="del">
          <ac:chgData name="Jeung Hoon Park" userId="beddcffd-ce47-4056-b815-24814e3fbfe9" providerId="ADAL" clId="{B4A89210-D43A-44D0-9F26-7F0779D60D26}" dt="2022-10-11T02:12:08.610" v="34396" actId="478"/>
          <ac:picMkLst>
            <pc:docMk/>
            <pc:sldMk cId="2781292973" sldId="2147470380"/>
            <ac:picMk id="6" creationId="{02675616-7BBF-5DF3-43AB-9702B242C1BA}"/>
          </ac:picMkLst>
        </pc:picChg>
        <pc:picChg chg="add mod">
          <ac:chgData name="Jeung Hoon Park" userId="beddcffd-ce47-4056-b815-24814e3fbfe9" providerId="ADAL" clId="{B4A89210-D43A-44D0-9F26-7F0779D60D26}" dt="2022-10-19T05:50:19.166" v="46369" actId="1076"/>
          <ac:picMkLst>
            <pc:docMk/>
            <pc:sldMk cId="2781292973" sldId="2147470380"/>
            <ac:picMk id="8" creationId="{373D7510-D2C5-0C54-2436-84731DB29204}"/>
          </ac:picMkLst>
        </pc:picChg>
        <pc:picChg chg="add mod">
          <ac:chgData name="Jeung Hoon Park" userId="beddcffd-ce47-4056-b815-24814e3fbfe9" providerId="ADAL" clId="{B4A89210-D43A-44D0-9F26-7F0779D60D26}" dt="2022-10-19T05:50:02.391" v="46366" actId="1076"/>
          <ac:picMkLst>
            <pc:docMk/>
            <pc:sldMk cId="2781292973" sldId="2147470380"/>
            <ac:picMk id="10" creationId="{58041543-D0B2-EF45-9307-D033C51B89D6}"/>
          </ac:picMkLst>
        </pc:picChg>
        <pc:picChg chg="add del">
          <ac:chgData name="Jeung Hoon Park" userId="beddcffd-ce47-4056-b815-24814e3fbfe9" providerId="ADAL" clId="{B4A89210-D43A-44D0-9F26-7F0779D60D26}" dt="2022-10-11T02:23:14.818" v="34943" actId="478"/>
          <ac:picMkLst>
            <pc:docMk/>
            <pc:sldMk cId="2781292973" sldId="2147470380"/>
            <ac:picMk id="12" creationId="{911B90CE-4F7D-B7B4-9D5F-06BC12D23DE5}"/>
          </ac:picMkLst>
        </pc:picChg>
        <pc:picChg chg="add mod">
          <ac:chgData name="Jeung Hoon Park" userId="beddcffd-ce47-4056-b815-24814e3fbfe9" providerId="ADAL" clId="{B4A89210-D43A-44D0-9F26-7F0779D60D26}" dt="2022-10-19T05:50:22.614" v="46370" actId="1076"/>
          <ac:picMkLst>
            <pc:docMk/>
            <pc:sldMk cId="2781292973" sldId="2147470380"/>
            <ac:picMk id="14" creationId="{E2478374-5057-FC68-98B0-C7793ADFFB86}"/>
          </ac:picMkLst>
        </pc:picChg>
        <pc:inkChg chg="add mod">
          <ac:chgData name="Jeung Hoon Park" userId="beddcffd-ce47-4056-b815-24814e3fbfe9" providerId="ADAL" clId="{B4A89210-D43A-44D0-9F26-7F0779D60D26}" dt="2022-10-11T02:27:45.664" v="35259"/>
          <ac:inkMkLst>
            <pc:docMk/>
            <pc:sldMk cId="2781292973" sldId="2147470380"/>
            <ac:inkMk id="15" creationId="{19E884AF-9D3B-E82B-FA92-2AF5AD909FC9}"/>
          </ac:inkMkLst>
        </pc:inkChg>
        <pc:inkChg chg="add mod">
          <ac:chgData name="Jeung Hoon Park" userId="beddcffd-ce47-4056-b815-24814e3fbfe9" providerId="ADAL" clId="{B4A89210-D43A-44D0-9F26-7F0779D60D26}" dt="2022-10-11T02:27:45.664" v="35259"/>
          <ac:inkMkLst>
            <pc:docMk/>
            <pc:sldMk cId="2781292973" sldId="2147470380"/>
            <ac:inkMk id="16" creationId="{D0EEC06F-310F-69FC-24C2-7BC227F95CFA}"/>
          </ac:inkMkLst>
        </pc:inkChg>
        <pc:inkChg chg="add mod">
          <ac:chgData name="Jeung Hoon Park" userId="beddcffd-ce47-4056-b815-24814e3fbfe9" providerId="ADAL" clId="{B4A89210-D43A-44D0-9F26-7F0779D60D26}" dt="2022-10-11T02:27:45.664" v="35259"/>
          <ac:inkMkLst>
            <pc:docMk/>
            <pc:sldMk cId="2781292973" sldId="2147470380"/>
            <ac:inkMk id="18" creationId="{F9849229-D87C-2913-40B1-240CBF613ABA}"/>
          </ac:inkMkLst>
        </pc:inkChg>
        <pc:cxnChg chg="add mod">
          <ac:chgData name="Jeung Hoon Park" userId="beddcffd-ce47-4056-b815-24814e3fbfe9" providerId="ADAL" clId="{B4A89210-D43A-44D0-9F26-7F0779D60D26}" dt="2022-10-19T05:50:31.941" v="46372" actId="1076"/>
          <ac:cxnSpMkLst>
            <pc:docMk/>
            <pc:sldMk cId="2781292973" sldId="2147470380"/>
            <ac:cxnSpMk id="21" creationId="{7627283F-025E-A71B-3979-A8FDFD78BA4D}"/>
          </ac:cxnSpMkLst>
        </pc:cxnChg>
        <pc:cxnChg chg="add mod">
          <ac:chgData name="Jeung Hoon Park" userId="beddcffd-ce47-4056-b815-24814e3fbfe9" providerId="ADAL" clId="{B4A89210-D43A-44D0-9F26-7F0779D60D26}" dt="2022-10-19T05:50:27.311" v="46371" actId="1076"/>
          <ac:cxnSpMkLst>
            <pc:docMk/>
            <pc:sldMk cId="2781292973" sldId="2147470380"/>
            <ac:cxnSpMk id="23" creationId="{AEFF5629-702F-43D2-210C-8F5A347567D6}"/>
          </ac:cxnSpMkLst>
        </pc:cxnChg>
      </pc:sldChg>
      <pc:sldChg chg="addSp delSp modSp add mod">
        <pc:chgData name="Jeung Hoon Park" userId="beddcffd-ce47-4056-b815-24814e3fbfe9" providerId="ADAL" clId="{B4A89210-D43A-44D0-9F26-7F0779D60D26}" dt="2022-10-19T05:53:22.343" v="46425" actId="1076"/>
        <pc:sldMkLst>
          <pc:docMk/>
          <pc:sldMk cId="792846997" sldId="2147470381"/>
        </pc:sldMkLst>
        <pc:spChg chg="mod">
          <ac:chgData name="Jeung Hoon Park" userId="beddcffd-ce47-4056-b815-24814e3fbfe9" providerId="ADAL" clId="{B4A89210-D43A-44D0-9F26-7F0779D60D26}" dt="2022-10-19T05:50:46.166" v="46383" actId="20577"/>
          <ac:spMkLst>
            <pc:docMk/>
            <pc:sldMk cId="792846997" sldId="2147470381"/>
            <ac:spMk id="2" creationId="{C9355748-2E5A-FF43-B041-EDECD4D2DAAD}"/>
          </ac:spMkLst>
        </pc:spChg>
        <pc:spChg chg="mod">
          <ac:chgData name="Jeung Hoon Park" userId="beddcffd-ce47-4056-b815-24814e3fbfe9" providerId="ADAL" clId="{B4A89210-D43A-44D0-9F26-7F0779D60D26}" dt="2022-10-19T05:52:54.783" v="46422" actId="6549"/>
          <ac:spMkLst>
            <pc:docMk/>
            <pc:sldMk cId="792846997" sldId="2147470381"/>
            <ac:spMk id="5" creationId="{0F85905A-5E01-8F50-E18C-9D227C507F1C}"/>
          </ac:spMkLst>
        </pc:spChg>
        <pc:grpChg chg="del mod">
          <ac:chgData name="Jeung Hoon Park" userId="beddcffd-ce47-4056-b815-24814e3fbfe9" providerId="ADAL" clId="{B4A89210-D43A-44D0-9F26-7F0779D60D26}" dt="2022-10-11T04:17:22.471" v="36540" actId="478"/>
          <ac:grpSpMkLst>
            <pc:docMk/>
            <pc:sldMk cId="792846997" sldId="2147470381"/>
            <ac:grpSpMk id="17" creationId="{08FDF4A7-FF8D-428C-A0C5-F3885AED03DB}"/>
          </ac:grpSpMkLst>
        </pc:grpChg>
        <pc:grpChg chg="del">
          <ac:chgData name="Jeung Hoon Park" userId="beddcffd-ce47-4056-b815-24814e3fbfe9" providerId="ADAL" clId="{B4A89210-D43A-44D0-9F26-7F0779D60D26}" dt="2022-10-11T02:30:39.390" v="35314" actId="478"/>
          <ac:grpSpMkLst>
            <pc:docMk/>
            <pc:sldMk cId="792846997" sldId="2147470381"/>
            <ac:grpSpMk id="19" creationId="{3F2B5031-989B-5D06-0EA0-8A1F5E197C29}"/>
          </ac:grpSpMkLst>
        </pc:grpChg>
        <pc:grpChg chg="del mod">
          <ac:chgData name="Jeung Hoon Park" userId="beddcffd-ce47-4056-b815-24814e3fbfe9" providerId="ADAL" clId="{B4A89210-D43A-44D0-9F26-7F0779D60D26}" dt="2022-10-11T04:17:40.065" v="36545" actId="478"/>
          <ac:grpSpMkLst>
            <pc:docMk/>
            <pc:sldMk cId="792846997" sldId="2147470381"/>
            <ac:grpSpMk id="22" creationId="{393D39C4-69A1-39C4-B2C4-090BED600E48}"/>
          </ac:grpSpMkLst>
        </pc:grpChg>
        <pc:picChg chg="add mod">
          <ac:chgData name="Jeung Hoon Park" userId="beddcffd-ce47-4056-b815-24814e3fbfe9" providerId="ADAL" clId="{B4A89210-D43A-44D0-9F26-7F0779D60D26}" dt="2022-10-19T05:51:03.447" v="46388" actId="1076"/>
          <ac:picMkLst>
            <pc:docMk/>
            <pc:sldMk cId="792846997" sldId="2147470381"/>
            <ac:picMk id="4" creationId="{DF63A07A-5EE0-16A8-D617-49EDBC56BAB7}"/>
          </ac:picMkLst>
        </pc:picChg>
        <pc:picChg chg="add mod">
          <ac:chgData name="Jeung Hoon Park" userId="beddcffd-ce47-4056-b815-24814e3fbfe9" providerId="ADAL" clId="{B4A89210-D43A-44D0-9F26-7F0779D60D26}" dt="2022-10-19T05:51:55.754" v="46406" actId="1076"/>
          <ac:picMkLst>
            <pc:docMk/>
            <pc:sldMk cId="792846997" sldId="2147470381"/>
            <ac:picMk id="7" creationId="{075F16C7-C3B9-3908-432F-EEBB87496EC5}"/>
          </ac:picMkLst>
        </pc:picChg>
        <pc:picChg chg="del">
          <ac:chgData name="Jeung Hoon Park" userId="beddcffd-ce47-4056-b815-24814e3fbfe9" providerId="ADAL" clId="{B4A89210-D43A-44D0-9F26-7F0779D60D26}" dt="2022-10-11T02:30:36.451" v="35311" actId="478"/>
          <ac:picMkLst>
            <pc:docMk/>
            <pc:sldMk cId="792846997" sldId="2147470381"/>
            <ac:picMk id="8" creationId="{373D7510-D2C5-0C54-2436-84731DB29204}"/>
          </ac:picMkLst>
        </pc:picChg>
        <pc:picChg chg="del">
          <ac:chgData name="Jeung Hoon Park" userId="beddcffd-ce47-4056-b815-24814e3fbfe9" providerId="ADAL" clId="{B4A89210-D43A-44D0-9F26-7F0779D60D26}" dt="2022-10-11T02:30:35.767" v="35310" actId="478"/>
          <ac:picMkLst>
            <pc:docMk/>
            <pc:sldMk cId="792846997" sldId="2147470381"/>
            <ac:picMk id="10" creationId="{58041543-D0B2-EF45-9307-D033C51B89D6}"/>
          </ac:picMkLst>
        </pc:picChg>
        <pc:picChg chg="add mod">
          <ac:chgData name="Jeung Hoon Park" userId="beddcffd-ce47-4056-b815-24814e3fbfe9" providerId="ADAL" clId="{B4A89210-D43A-44D0-9F26-7F0779D60D26}" dt="2022-10-19T05:53:22.343" v="46425" actId="1076"/>
          <ac:picMkLst>
            <pc:docMk/>
            <pc:sldMk cId="792846997" sldId="2147470381"/>
            <ac:picMk id="11" creationId="{B30EFB73-3203-3BCD-2AB6-9B32DD92FF57}"/>
          </ac:picMkLst>
        </pc:picChg>
        <pc:picChg chg="del">
          <ac:chgData name="Jeung Hoon Park" userId="beddcffd-ce47-4056-b815-24814e3fbfe9" providerId="ADAL" clId="{B4A89210-D43A-44D0-9F26-7F0779D60D26}" dt="2022-10-11T02:30:36.917" v="35312" actId="478"/>
          <ac:picMkLst>
            <pc:docMk/>
            <pc:sldMk cId="792846997" sldId="2147470381"/>
            <ac:picMk id="14" creationId="{E2478374-5057-FC68-98B0-C7793ADFFB86}"/>
          </ac:picMkLst>
        </pc:picChg>
        <pc:inkChg chg="add mod">
          <ac:chgData name="Jeung Hoon Park" userId="beddcffd-ce47-4056-b815-24814e3fbfe9" providerId="ADAL" clId="{B4A89210-D43A-44D0-9F26-7F0779D60D26}" dt="2022-10-11T03:37:41.441" v="35985"/>
          <ac:inkMkLst>
            <pc:docMk/>
            <pc:sldMk cId="792846997" sldId="2147470381"/>
            <ac:inkMk id="12" creationId="{FB5459C8-8D3B-5367-035E-9FDEA8EE0D62}"/>
          </ac:inkMkLst>
        </pc:inkChg>
        <pc:inkChg chg="add mod">
          <ac:chgData name="Jeung Hoon Park" userId="beddcffd-ce47-4056-b815-24814e3fbfe9" providerId="ADAL" clId="{B4A89210-D43A-44D0-9F26-7F0779D60D26}" dt="2022-10-11T03:37:41.441" v="35985"/>
          <ac:inkMkLst>
            <pc:docMk/>
            <pc:sldMk cId="792846997" sldId="2147470381"/>
            <ac:inkMk id="13" creationId="{172F231C-61A6-9FED-EA98-87B0A5E69DEF}"/>
          </ac:inkMkLst>
        </pc:inkChg>
        <pc:inkChg chg="add mod">
          <ac:chgData name="Jeung Hoon Park" userId="beddcffd-ce47-4056-b815-24814e3fbfe9" providerId="ADAL" clId="{B4A89210-D43A-44D0-9F26-7F0779D60D26}" dt="2022-10-11T03:37:49.236" v="35988"/>
          <ac:inkMkLst>
            <pc:docMk/>
            <pc:sldMk cId="792846997" sldId="2147470381"/>
            <ac:inkMk id="20" creationId="{73C9E768-0BE8-AD1D-22C3-0066AF42220C}"/>
          </ac:inkMkLst>
        </pc:inkChg>
        <pc:inkChg chg="add mod">
          <ac:chgData name="Jeung Hoon Park" userId="beddcffd-ce47-4056-b815-24814e3fbfe9" providerId="ADAL" clId="{B4A89210-D43A-44D0-9F26-7F0779D60D26}" dt="2022-10-11T03:37:49.236" v="35988"/>
          <ac:inkMkLst>
            <pc:docMk/>
            <pc:sldMk cId="792846997" sldId="2147470381"/>
            <ac:inkMk id="21" creationId="{4B3CEECA-D2ED-6E4B-A287-95BE24DD35A4}"/>
          </ac:inkMkLst>
        </pc:inkChg>
        <pc:cxnChg chg="add mod">
          <ac:chgData name="Jeung Hoon Park" userId="beddcffd-ce47-4056-b815-24814e3fbfe9" providerId="ADAL" clId="{B4A89210-D43A-44D0-9F26-7F0779D60D26}" dt="2022-10-19T05:51:11.133" v="46390" actId="14100"/>
          <ac:cxnSpMkLst>
            <pc:docMk/>
            <pc:sldMk cId="792846997" sldId="2147470381"/>
            <ac:cxnSpMk id="23" creationId="{7519D58A-D755-7725-5AA4-5914C6554BAD}"/>
          </ac:cxnSpMkLst>
        </pc:cxnChg>
        <pc:cxnChg chg="add mod">
          <ac:chgData name="Jeung Hoon Park" userId="beddcffd-ce47-4056-b815-24814e3fbfe9" providerId="ADAL" clId="{B4A89210-D43A-44D0-9F26-7F0779D60D26}" dt="2022-10-19T05:52:00.251" v="46407" actId="14100"/>
          <ac:cxnSpMkLst>
            <pc:docMk/>
            <pc:sldMk cId="792846997" sldId="2147470381"/>
            <ac:cxnSpMk id="26" creationId="{69312E31-67F5-290C-537E-B5870CE64F9F}"/>
          </ac:cxnSpMkLst>
        </pc:cxnChg>
      </pc:sldChg>
      <pc:sldChg chg="addSp delSp modSp add mod">
        <pc:chgData name="Jeung Hoon Park" userId="beddcffd-ce47-4056-b815-24814e3fbfe9" providerId="ADAL" clId="{B4A89210-D43A-44D0-9F26-7F0779D60D26}" dt="2022-10-19T05:55:53.355" v="46594" actId="20577"/>
        <pc:sldMkLst>
          <pc:docMk/>
          <pc:sldMk cId="657623066" sldId="2147470384"/>
        </pc:sldMkLst>
        <pc:spChg chg="mod">
          <ac:chgData name="Jeung Hoon Park" userId="beddcffd-ce47-4056-b815-24814e3fbfe9" providerId="ADAL" clId="{B4A89210-D43A-44D0-9F26-7F0779D60D26}" dt="2022-10-19T05:53:36.062" v="46436" actId="20577"/>
          <ac:spMkLst>
            <pc:docMk/>
            <pc:sldMk cId="657623066" sldId="2147470384"/>
            <ac:spMk id="2" creationId="{C9355748-2E5A-FF43-B041-EDECD4D2DAAD}"/>
          </ac:spMkLst>
        </pc:spChg>
        <pc:spChg chg="mod">
          <ac:chgData name="Jeung Hoon Park" userId="beddcffd-ce47-4056-b815-24814e3fbfe9" providerId="ADAL" clId="{B4A89210-D43A-44D0-9F26-7F0779D60D26}" dt="2022-10-19T05:55:53.355" v="46594" actId="20577"/>
          <ac:spMkLst>
            <pc:docMk/>
            <pc:sldMk cId="657623066" sldId="2147470384"/>
            <ac:spMk id="5" creationId="{0F85905A-5E01-8F50-E18C-9D227C507F1C}"/>
          </ac:spMkLst>
        </pc:spChg>
        <pc:grpChg chg="del mod">
          <ac:chgData name="Jeung Hoon Park" userId="beddcffd-ce47-4056-b815-24814e3fbfe9" providerId="ADAL" clId="{B4A89210-D43A-44D0-9F26-7F0779D60D26}" dt="2022-10-11T04:18:03.734" v="36550" actId="478"/>
          <ac:grpSpMkLst>
            <pc:docMk/>
            <pc:sldMk cId="657623066" sldId="2147470384"/>
            <ac:grpSpMk id="15" creationId="{C5496D06-6B0A-5C14-97FE-DCD07AAC24C6}"/>
          </ac:grpSpMkLst>
        </pc:grpChg>
        <pc:grpChg chg="del">
          <ac:chgData name="Jeung Hoon Park" userId="beddcffd-ce47-4056-b815-24814e3fbfe9" providerId="ADAL" clId="{B4A89210-D43A-44D0-9F26-7F0779D60D26}" dt="2022-10-11T03:42:39.602" v="35994" actId="478"/>
          <ac:grpSpMkLst>
            <pc:docMk/>
            <pc:sldMk cId="657623066" sldId="2147470384"/>
            <ac:grpSpMk id="17" creationId="{08FDF4A7-FF8D-428C-A0C5-F3885AED03DB}"/>
          </ac:grpSpMkLst>
        </pc:grpChg>
        <pc:grpChg chg="del mod">
          <ac:chgData name="Jeung Hoon Park" userId="beddcffd-ce47-4056-b815-24814e3fbfe9" providerId="ADAL" clId="{B4A89210-D43A-44D0-9F26-7F0779D60D26}" dt="2022-10-11T04:18:02.528" v="36549" actId="478"/>
          <ac:grpSpMkLst>
            <pc:docMk/>
            <pc:sldMk cId="657623066" sldId="2147470384"/>
            <ac:grpSpMk id="19" creationId="{2497FE4A-D167-4C2E-EF41-93F462926395}"/>
          </ac:grpSpMkLst>
        </pc:grpChg>
        <pc:grpChg chg="del">
          <ac:chgData name="Jeung Hoon Park" userId="beddcffd-ce47-4056-b815-24814e3fbfe9" providerId="ADAL" clId="{B4A89210-D43A-44D0-9F26-7F0779D60D26}" dt="2022-10-11T03:42:37.362" v="35993" actId="478"/>
          <ac:grpSpMkLst>
            <pc:docMk/>
            <pc:sldMk cId="657623066" sldId="2147470384"/>
            <ac:grpSpMk id="22" creationId="{393D39C4-69A1-39C4-B2C4-090BED600E48}"/>
          </ac:grpSpMkLst>
        </pc:grpChg>
        <pc:picChg chg="del mod">
          <ac:chgData name="Jeung Hoon Park" userId="beddcffd-ce47-4056-b815-24814e3fbfe9" providerId="ADAL" clId="{B4A89210-D43A-44D0-9F26-7F0779D60D26}" dt="2022-10-11T03:42:35.556" v="35991" actId="478"/>
          <ac:picMkLst>
            <pc:docMk/>
            <pc:sldMk cId="657623066" sldId="2147470384"/>
            <ac:picMk id="4" creationId="{DF63A07A-5EE0-16A8-D617-49EDBC56BAB7}"/>
          </ac:picMkLst>
        </pc:picChg>
        <pc:picChg chg="add mod">
          <ac:chgData name="Jeung Hoon Park" userId="beddcffd-ce47-4056-b815-24814e3fbfe9" providerId="ADAL" clId="{B4A89210-D43A-44D0-9F26-7F0779D60D26}" dt="2022-10-19T05:55:19.460" v="46558" actId="1076"/>
          <ac:picMkLst>
            <pc:docMk/>
            <pc:sldMk cId="657623066" sldId="2147470384"/>
            <ac:picMk id="6" creationId="{A27DB9B2-EACD-4B6A-869C-9F401EE80651}"/>
          </ac:picMkLst>
        </pc:picChg>
        <pc:picChg chg="del">
          <ac:chgData name="Jeung Hoon Park" userId="beddcffd-ce47-4056-b815-24814e3fbfe9" providerId="ADAL" clId="{B4A89210-D43A-44D0-9F26-7F0779D60D26}" dt="2022-10-11T03:42:36.140" v="35992" actId="478"/>
          <ac:picMkLst>
            <pc:docMk/>
            <pc:sldMk cId="657623066" sldId="2147470384"/>
            <ac:picMk id="7" creationId="{075F16C7-C3B9-3908-432F-EEBB87496EC5}"/>
          </ac:picMkLst>
        </pc:picChg>
        <pc:picChg chg="add mod">
          <ac:chgData name="Jeung Hoon Park" userId="beddcffd-ce47-4056-b815-24814e3fbfe9" providerId="ADAL" clId="{B4A89210-D43A-44D0-9F26-7F0779D60D26}" dt="2022-10-19T05:54:40.758" v="46547" actId="1076"/>
          <ac:picMkLst>
            <pc:docMk/>
            <pc:sldMk cId="657623066" sldId="2147470384"/>
            <ac:picMk id="9" creationId="{C90F8F96-35EB-59F9-7EEF-9A805CD0B2CD}"/>
          </ac:picMkLst>
        </pc:picChg>
        <pc:picChg chg="del">
          <ac:chgData name="Jeung Hoon Park" userId="beddcffd-ce47-4056-b815-24814e3fbfe9" providerId="ADAL" clId="{B4A89210-D43A-44D0-9F26-7F0779D60D26}" dt="2022-10-11T03:42:40.352" v="35995" actId="478"/>
          <ac:picMkLst>
            <pc:docMk/>
            <pc:sldMk cId="657623066" sldId="2147470384"/>
            <ac:picMk id="11" creationId="{B30EFB73-3203-3BCD-2AB6-9B32DD92FF57}"/>
          </ac:picMkLst>
        </pc:picChg>
        <pc:inkChg chg="add mod">
          <ac:chgData name="Jeung Hoon Park" userId="beddcffd-ce47-4056-b815-24814e3fbfe9" providerId="ADAL" clId="{B4A89210-D43A-44D0-9F26-7F0779D60D26}" dt="2022-10-11T03:55:15.718" v="36472"/>
          <ac:inkMkLst>
            <pc:docMk/>
            <pc:sldMk cId="657623066" sldId="2147470384"/>
            <ac:inkMk id="10" creationId="{3324667C-A988-79E3-46E4-41052D9D8749}"/>
          </ac:inkMkLst>
        </pc:inkChg>
        <pc:inkChg chg="add mod">
          <ac:chgData name="Jeung Hoon Park" userId="beddcffd-ce47-4056-b815-24814e3fbfe9" providerId="ADAL" clId="{B4A89210-D43A-44D0-9F26-7F0779D60D26}" dt="2022-10-11T03:55:15.718" v="36472"/>
          <ac:inkMkLst>
            <pc:docMk/>
            <pc:sldMk cId="657623066" sldId="2147470384"/>
            <ac:inkMk id="14" creationId="{E598EEBC-8948-1078-FF5E-632F7B35B2DF}"/>
          </ac:inkMkLst>
        </pc:inkChg>
        <pc:inkChg chg="add mod">
          <ac:chgData name="Jeung Hoon Park" userId="beddcffd-ce47-4056-b815-24814e3fbfe9" providerId="ADAL" clId="{B4A89210-D43A-44D0-9F26-7F0779D60D26}" dt="2022-10-11T03:55:21.615" v="36475"/>
          <ac:inkMkLst>
            <pc:docMk/>
            <pc:sldMk cId="657623066" sldId="2147470384"/>
            <ac:inkMk id="16" creationId="{020DA782-E386-514F-549F-1D16647CB037}"/>
          </ac:inkMkLst>
        </pc:inkChg>
        <pc:inkChg chg="add mod">
          <ac:chgData name="Jeung Hoon Park" userId="beddcffd-ce47-4056-b815-24814e3fbfe9" providerId="ADAL" clId="{B4A89210-D43A-44D0-9F26-7F0779D60D26}" dt="2022-10-11T03:55:21.615" v="36475"/>
          <ac:inkMkLst>
            <pc:docMk/>
            <pc:sldMk cId="657623066" sldId="2147470384"/>
            <ac:inkMk id="18" creationId="{D5FDFC7E-16E9-929B-F735-26D96216F85D}"/>
          </ac:inkMkLst>
        </pc:inkChg>
        <pc:cxnChg chg="add del mod">
          <ac:chgData name="Jeung Hoon Park" userId="beddcffd-ce47-4056-b815-24814e3fbfe9" providerId="ADAL" clId="{B4A89210-D43A-44D0-9F26-7F0779D60D26}" dt="2022-10-11T04:18:36.707" v="36559" actId="478"/>
          <ac:cxnSpMkLst>
            <pc:docMk/>
            <pc:sldMk cId="657623066" sldId="2147470384"/>
            <ac:cxnSpMk id="23" creationId="{1A6659E6-E24A-93C5-2290-2BC4DFDE1AEB}"/>
          </ac:cxnSpMkLst>
        </pc:cxnChg>
        <pc:cxnChg chg="add mod">
          <ac:chgData name="Jeung Hoon Park" userId="beddcffd-ce47-4056-b815-24814e3fbfe9" providerId="ADAL" clId="{B4A89210-D43A-44D0-9F26-7F0779D60D26}" dt="2022-10-19T05:55:11.412" v="46557" actId="14100"/>
          <ac:cxnSpMkLst>
            <pc:docMk/>
            <pc:sldMk cId="657623066" sldId="2147470384"/>
            <ac:cxnSpMk id="28" creationId="{8CA35359-2D99-02AD-EBAE-39A92C2AE08A}"/>
          </ac:cxnSpMkLst>
        </pc:cxnChg>
        <pc:cxnChg chg="add del mod">
          <ac:chgData name="Jeung Hoon Park" userId="beddcffd-ce47-4056-b815-24814e3fbfe9" providerId="ADAL" clId="{B4A89210-D43A-44D0-9F26-7F0779D60D26}" dt="2022-10-11T04:19:28.038" v="36569" actId="478"/>
          <ac:cxnSpMkLst>
            <pc:docMk/>
            <pc:sldMk cId="657623066" sldId="2147470384"/>
            <ac:cxnSpMk id="29" creationId="{F743A051-8002-5CB6-1BD2-972BFC5EBB70}"/>
          </ac:cxnSpMkLst>
        </pc:cxnChg>
      </pc:sldChg>
      <pc:sldChg chg="addSp delSp modSp add mod">
        <pc:chgData name="Jeung Hoon Park" userId="beddcffd-ce47-4056-b815-24814e3fbfe9" providerId="ADAL" clId="{B4A89210-D43A-44D0-9F26-7F0779D60D26}" dt="2022-10-19T05:49:01.857" v="46319" actId="1076"/>
        <pc:sldMkLst>
          <pc:docMk/>
          <pc:sldMk cId="1563875195" sldId="2147470387"/>
        </pc:sldMkLst>
        <pc:spChg chg="mod">
          <ac:chgData name="Jeung Hoon Park" userId="beddcffd-ce47-4056-b815-24814e3fbfe9" providerId="ADAL" clId="{B4A89210-D43A-44D0-9F26-7F0779D60D26}" dt="2022-10-19T05:46:13.455" v="46203" actId="20577"/>
          <ac:spMkLst>
            <pc:docMk/>
            <pc:sldMk cId="1563875195" sldId="2147470387"/>
            <ac:spMk id="2" creationId="{C9355748-2E5A-FF43-B041-EDECD4D2DAAD}"/>
          </ac:spMkLst>
        </pc:spChg>
        <pc:spChg chg="mod">
          <ac:chgData name="Jeung Hoon Park" userId="beddcffd-ce47-4056-b815-24814e3fbfe9" providerId="ADAL" clId="{B4A89210-D43A-44D0-9F26-7F0779D60D26}" dt="2022-10-19T05:48:48.623" v="46317" actId="6549"/>
          <ac:spMkLst>
            <pc:docMk/>
            <pc:sldMk cId="1563875195" sldId="2147470387"/>
            <ac:spMk id="5" creationId="{0F85905A-5E01-8F50-E18C-9D227C507F1C}"/>
          </ac:spMkLst>
        </pc:spChg>
        <pc:picChg chg="add mod">
          <ac:chgData name="Jeung Hoon Park" userId="beddcffd-ce47-4056-b815-24814e3fbfe9" providerId="ADAL" clId="{B4A89210-D43A-44D0-9F26-7F0779D60D26}" dt="2022-10-19T05:48:53.777" v="46318" actId="1076"/>
          <ac:picMkLst>
            <pc:docMk/>
            <pc:sldMk cId="1563875195" sldId="2147470387"/>
            <ac:picMk id="4" creationId="{AB5A61E9-3BB2-14DF-4A8C-EC60628A97E6}"/>
          </ac:picMkLst>
        </pc:picChg>
        <pc:picChg chg="del">
          <ac:chgData name="Jeung Hoon Park" userId="beddcffd-ce47-4056-b815-24814e3fbfe9" providerId="ADAL" clId="{B4A89210-D43A-44D0-9F26-7F0779D60D26}" dt="2022-10-12T01:48:18.288" v="37166" actId="478"/>
          <ac:picMkLst>
            <pc:docMk/>
            <pc:sldMk cId="1563875195" sldId="2147470387"/>
            <ac:picMk id="6" creationId="{02675616-7BBF-5DF3-43AB-9702B242C1BA}"/>
          </ac:picMkLst>
        </pc:picChg>
        <pc:picChg chg="add mod">
          <ac:chgData name="Jeung Hoon Park" userId="beddcffd-ce47-4056-b815-24814e3fbfe9" providerId="ADAL" clId="{B4A89210-D43A-44D0-9F26-7F0779D60D26}" dt="2022-10-19T05:49:01.857" v="46319" actId="1076"/>
          <ac:picMkLst>
            <pc:docMk/>
            <pc:sldMk cId="1563875195" sldId="2147470387"/>
            <ac:picMk id="8" creationId="{75C389C5-DAFC-9E5D-D11B-0BF11A52460A}"/>
          </ac:picMkLst>
        </pc:picChg>
      </pc:sldChg>
      <pc:sldChg chg="addSp delSp modSp add mod">
        <pc:chgData name="Jeung Hoon Park" userId="beddcffd-ce47-4056-b815-24814e3fbfe9" providerId="ADAL" clId="{B4A89210-D43A-44D0-9F26-7F0779D60D26}" dt="2022-10-19T05:42:45.566" v="46019" actId="1076"/>
        <pc:sldMkLst>
          <pc:docMk/>
          <pc:sldMk cId="469414327" sldId="2147470390"/>
        </pc:sldMkLst>
        <pc:spChg chg="mod">
          <ac:chgData name="Jeung Hoon Park" userId="beddcffd-ce47-4056-b815-24814e3fbfe9" providerId="ADAL" clId="{B4A89210-D43A-44D0-9F26-7F0779D60D26}" dt="2022-10-19T05:41:53.946" v="45988" actId="20577"/>
          <ac:spMkLst>
            <pc:docMk/>
            <pc:sldMk cId="469414327" sldId="2147470390"/>
            <ac:spMk id="2" creationId="{C9355748-2E5A-FF43-B041-EDECD4D2DAAD}"/>
          </ac:spMkLst>
        </pc:spChg>
        <pc:spChg chg="mod">
          <ac:chgData name="Jeung Hoon Park" userId="beddcffd-ce47-4056-b815-24814e3fbfe9" providerId="ADAL" clId="{B4A89210-D43A-44D0-9F26-7F0779D60D26}" dt="2022-10-19T05:42:41.545" v="46018" actId="255"/>
          <ac:spMkLst>
            <pc:docMk/>
            <pc:sldMk cId="469414327" sldId="2147470390"/>
            <ac:spMk id="5" creationId="{0F85905A-5E01-8F50-E18C-9D227C507F1C}"/>
          </ac:spMkLst>
        </pc:spChg>
        <pc:picChg chg="add mod">
          <ac:chgData name="Jeung Hoon Park" userId="beddcffd-ce47-4056-b815-24814e3fbfe9" providerId="ADAL" clId="{B4A89210-D43A-44D0-9F26-7F0779D60D26}" dt="2022-10-19T05:42:23.392" v="46002" actId="1076"/>
          <ac:picMkLst>
            <pc:docMk/>
            <pc:sldMk cId="469414327" sldId="2147470390"/>
            <ac:picMk id="4" creationId="{C04854B5-6634-2B04-51EB-51AC62A07D85}"/>
          </ac:picMkLst>
        </pc:picChg>
        <pc:picChg chg="del">
          <ac:chgData name="Jeung Hoon Park" userId="beddcffd-ce47-4056-b815-24814e3fbfe9" providerId="ADAL" clId="{B4A89210-D43A-44D0-9F26-7F0779D60D26}" dt="2022-10-12T05:37:02.249" v="38284" actId="478"/>
          <ac:picMkLst>
            <pc:docMk/>
            <pc:sldMk cId="469414327" sldId="2147470390"/>
            <ac:picMk id="6" creationId="{87D1F378-A048-7DDD-5088-AF6840B791E3}"/>
          </ac:picMkLst>
        </pc:picChg>
        <pc:picChg chg="add mod">
          <ac:chgData name="Jeung Hoon Park" userId="beddcffd-ce47-4056-b815-24814e3fbfe9" providerId="ADAL" clId="{B4A89210-D43A-44D0-9F26-7F0779D60D26}" dt="2022-10-19T05:42:45.566" v="46019" actId="1076"/>
          <ac:picMkLst>
            <pc:docMk/>
            <pc:sldMk cId="469414327" sldId="2147470390"/>
            <ac:picMk id="8" creationId="{2ACBDE9E-475C-7E08-D6C3-2AE1654CBCDD}"/>
          </ac:picMkLst>
        </pc:picChg>
      </pc:sldChg>
      <pc:sldChg chg="addSp delSp modSp add mod">
        <pc:chgData name="Jeung Hoon Park" userId="beddcffd-ce47-4056-b815-24814e3fbfe9" providerId="ADAL" clId="{B4A89210-D43A-44D0-9F26-7F0779D60D26}" dt="2022-10-19T05:57:56.247" v="46665" actId="1076"/>
        <pc:sldMkLst>
          <pc:docMk/>
          <pc:sldMk cId="4027616741" sldId="2147470391"/>
        </pc:sldMkLst>
        <pc:spChg chg="mod">
          <ac:chgData name="Jeung Hoon Park" userId="beddcffd-ce47-4056-b815-24814e3fbfe9" providerId="ADAL" clId="{B4A89210-D43A-44D0-9F26-7F0779D60D26}" dt="2022-10-19T05:56:06.602" v="46614" actId="20577"/>
          <ac:spMkLst>
            <pc:docMk/>
            <pc:sldMk cId="4027616741" sldId="2147470391"/>
            <ac:spMk id="2" creationId="{C9355748-2E5A-FF43-B041-EDECD4D2DAAD}"/>
          </ac:spMkLst>
        </pc:spChg>
        <pc:spChg chg="mod">
          <ac:chgData name="Jeung Hoon Park" userId="beddcffd-ce47-4056-b815-24814e3fbfe9" providerId="ADAL" clId="{B4A89210-D43A-44D0-9F26-7F0779D60D26}" dt="2022-10-19T05:57:35.361" v="46660" actId="255"/>
          <ac:spMkLst>
            <pc:docMk/>
            <pc:sldMk cId="4027616741" sldId="2147470391"/>
            <ac:spMk id="5" creationId="{0F85905A-5E01-8F50-E18C-9D227C507F1C}"/>
          </ac:spMkLst>
        </pc:spChg>
        <pc:picChg chg="add mod">
          <ac:chgData name="Jeung Hoon Park" userId="beddcffd-ce47-4056-b815-24814e3fbfe9" providerId="ADAL" clId="{B4A89210-D43A-44D0-9F26-7F0779D60D26}" dt="2022-10-19T05:56:21.971" v="46618" actId="1076"/>
          <ac:picMkLst>
            <pc:docMk/>
            <pc:sldMk cId="4027616741" sldId="2147470391"/>
            <ac:picMk id="4" creationId="{6E4D5119-0E76-1ACD-31FD-1D314B3EFB93}"/>
          </ac:picMkLst>
        </pc:picChg>
        <pc:picChg chg="del">
          <ac:chgData name="Jeung Hoon Park" userId="beddcffd-ce47-4056-b815-24814e3fbfe9" providerId="ADAL" clId="{B4A89210-D43A-44D0-9F26-7F0779D60D26}" dt="2022-10-12T05:48:28.099" v="39036" actId="478"/>
          <ac:picMkLst>
            <pc:docMk/>
            <pc:sldMk cId="4027616741" sldId="2147470391"/>
            <ac:picMk id="6" creationId="{A27DB9B2-EACD-4B6A-869C-9F401EE80651}"/>
          </ac:picMkLst>
        </pc:picChg>
        <pc:picChg chg="add mod">
          <ac:chgData name="Jeung Hoon Park" userId="beddcffd-ce47-4056-b815-24814e3fbfe9" providerId="ADAL" clId="{B4A89210-D43A-44D0-9F26-7F0779D60D26}" dt="2022-10-19T05:57:56.247" v="46665" actId="1076"/>
          <ac:picMkLst>
            <pc:docMk/>
            <pc:sldMk cId="4027616741" sldId="2147470391"/>
            <ac:picMk id="8" creationId="{D7FC7321-2D5B-A007-BCB4-F57125F3026B}"/>
          </ac:picMkLst>
        </pc:picChg>
        <pc:picChg chg="del">
          <ac:chgData name="Jeung Hoon Park" userId="beddcffd-ce47-4056-b815-24814e3fbfe9" providerId="ADAL" clId="{B4A89210-D43A-44D0-9F26-7F0779D60D26}" dt="2022-10-12T05:48:28.492" v="39037" actId="478"/>
          <ac:picMkLst>
            <pc:docMk/>
            <pc:sldMk cId="4027616741" sldId="2147470391"/>
            <ac:picMk id="9" creationId="{C90F8F96-35EB-59F9-7EEF-9A805CD0B2CD}"/>
          </ac:picMkLst>
        </pc:picChg>
        <pc:picChg chg="add mod">
          <ac:chgData name="Jeung Hoon Park" userId="beddcffd-ce47-4056-b815-24814e3fbfe9" providerId="ADAL" clId="{B4A89210-D43A-44D0-9F26-7F0779D60D26}" dt="2022-10-19T05:57:47.039" v="46662" actId="1076"/>
          <ac:picMkLst>
            <pc:docMk/>
            <pc:sldMk cId="4027616741" sldId="2147470391"/>
            <ac:picMk id="11" creationId="{EBC84CD7-ACDA-69B4-5079-1A610444B76E}"/>
          </ac:picMkLst>
        </pc:picChg>
        <pc:cxnChg chg="add mod">
          <ac:chgData name="Jeung Hoon Park" userId="beddcffd-ce47-4056-b815-24814e3fbfe9" providerId="ADAL" clId="{B4A89210-D43A-44D0-9F26-7F0779D60D26}" dt="2022-10-19T05:57:53.046" v="46664" actId="14100"/>
          <ac:cxnSpMkLst>
            <pc:docMk/>
            <pc:sldMk cId="4027616741" sldId="2147470391"/>
            <ac:cxnSpMk id="12" creationId="{F56A10B0-D2C7-A83D-517C-ED04A35ABB57}"/>
          </ac:cxnSpMkLst>
        </pc:cxnChg>
        <pc:cxnChg chg="del">
          <ac:chgData name="Jeung Hoon Park" userId="beddcffd-ce47-4056-b815-24814e3fbfe9" providerId="ADAL" clId="{B4A89210-D43A-44D0-9F26-7F0779D60D26}" dt="2022-10-12T05:48:29.263" v="39038" actId="478"/>
          <ac:cxnSpMkLst>
            <pc:docMk/>
            <pc:sldMk cId="4027616741" sldId="2147470391"/>
            <ac:cxnSpMk id="28" creationId="{8CA35359-2D99-02AD-EBAE-39A92C2AE08A}"/>
          </ac:cxnSpMkLst>
        </pc:cxnChg>
      </pc:sldChg>
      <pc:sldChg chg="addSp delSp modSp add mod">
        <pc:chgData name="Jeung Hoon Park" userId="beddcffd-ce47-4056-b815-24814e3fbfe9" providerId="ADAL" clId="{B4A89210-D43A-44D0-9F26-7F0779D60D26}" dt="2022-10-19T03:01:04.830" v="42133" actId="1076"/>
        <pc:sldMkLst>
          <pc:docMk/>
          <pc:sldMk cId="1057473564" sldId="2147470396"/>
        </pc:sldMkLst>
        <pc:spChg chg="mod">
          <ac:chgData name="Jeung Hoon Park" userId="beddcffd-ce47-4056-b815-24814e3fbfe9" providerId="ADAL" clId="{B4A89210-D43A-44D0-9F26-7F0779D60D26}" dt="2022-10-19T02:59:59.490" v="42108"/>
          <ac:spMkLst>
            <pc:docMk/>
            <pc:sldMk cId="1057473564" sldId="2147470396"/>
            <ac:spMk id="2" creationId="{C9355748-2E5A-FF43-B041-EDECD4D2DAAD}"/>
          </ac:spMkLst>
        </pc:spChg>
        <pc:spChg chg="mod">
          <ac:chgData name="Jeung Hoon Park" userId="beddcffd-ce47-4056-b815-24814e3fbfe9" providerId="ADAL" clId="{B4A89210-D43A-44D0-9F26-7F0779D60D26}" dt="2022-10-19T03:00:43.044" v="42129" actId="20577"/>
          <ac:spMkLst>
            <pc:docMk/>
            <pc:sldMk cId="1057473564" sldId="2147470396"/>
            <ac:spMk id="5" creationId="{0F85905A-5E01-8F50-E18C-9D227C507F1C}"/>
          </ac:spMkLst>
        </pc:spChg>
        <pc:graphicFrameChg chg="del">
          <ac:chgData name="Jeung Hoon Park" userId="beddcffd-ce47-4056-b815-24814e3fbfe9" providerId="ADAL" clId="{B4A89210-D43A-44D0-9F26-7F0779D60D26}" dt="2022-10-19T03:00:13.756" v="42110" actId="478"/>
          <ac:graphicFrameMkLst>
            <pc:docMk/>
            <pc:sldMk cId="1057473564" sldId="2147470396"/>
            <ac:graphicFrameMk id="7" creationId="{E4EF64A4-EC77-FE2F-FCA7-D33E43A34441}"/>
          </ac:graphicFrameMkLst>
        </pc:graphicFrameChg>
        <pc:picChg chg="add mod">
          <ac:chgData name="Jeung Hoon Park" userId="beddcffd-ce47-4056-b815-24814e3fbfe9" providerId="ADAL" clId="{B4A89210-D43A-44D0-9F26-7F0779D60D26}" dt="2022-10-19T03:01:04.830" v="42133" actId="1076"/>
          <ac:picMkLst>
            <pc:docMk/>
            <pc:sldMk cId="1057473564" sldId="2147470396"/>
            <ac:picMk id="3" creationId="{69037774-7F4A-0E92-7CD1-565044ACF28E}"/>
          </ac:picMkLst>
        </pc:picChg>
        <pc:picChg chg="del">
          <ac:chgData name="Jeung Hoon Park" userId="beddcffd-ce47-4056-b815-24814e3fbfe9" providerId="ADAL" clId="{B4A89210-D43A-44D0-9F26-7F0779D60D26}" dt="2022-10-19T03:00:15.433" v="42111" actId="478"/>
          <ac:picMkLst>
            <pc:docMk/>
            <pc:sldMk cId="1057473564" sldId="2147470396"/>
            <ac:picMk id="10" creationId="{F3487F00-621E-4C1B-3761-9A7C6790D3B1}"/>
          </ac:picMkLst>
        </pc:picChg>
        <pc:picChg chg="del">
          <ac:chgData name="Jeung Hoon Park" userId="beddcffd-ce47-4056-b815-24814e3fbfe9" providerId="ADAL" clId="{B4A89210-D43A-44D0-9F26-7F0779D60D26}" dt="2022-10-19T03:00:16.227" v="42112" actId="478"/>
          <ac:picMkLst>
            <pc:docMk/>
            <pc:sldMk cId="1057473564" sldId="2147470396"/>
            <ac:picMk id="13" creationId="{6806FD2B-7C14-2BD1-316B-8C56D8051068}"/>
          </ac:picMkLst>
        </pc:picChg>
      </pc:sldChg>
    </pc:docChg>
  </pc:docChgLst>
  <pc:docChgLst>
    <pc:chgData name="Kate Mun (KYOUNGRAN)" userId="S::kymun@microsoft.com::d8a93241-9b9d-4c25-8457-87ffab4b96e2" providerId="AD" clId="Web-{F87054D8-9E2F-4036-B467-696A174D196F}"/>
    <pc:docChg chg="delSld modSld modSection">
      <pc:chgData name="Kate Mun (KYOUNGRAN)" userId="S::kymun@microsoft.com::d8a93241-9b9d-4c25-8457-87ffab4b96e2" providerId="AD" clId="Web-{F87054D8-9E2F-4036-B467-696A174D196F}" dt="2022-09-20T08:04:16.649" v="8" actId="20577"/>
      <pc:docMkLst>
        <pc:docMk/>
      </pc:docMkLst>
      <pc:sldChg chg="modSp">
        <pc:chgData name="Kate Mun (KYOUNGRAN)" userId="S::kymun@microsoft.com::d8a93241-9b9d-4c25-8457-87ffab4b96e2" providerId="AD" clId="Web-{F87054D8-9E2F-4036-B467-696A174D196F}" dt="2022-09-20T08:04:16.649" v="8" actId="20577"/>
        <pc:sldMkLst>
          <pc:docMk/>
          <pc:sldMk cId="2125659258" sldId="664"/>
        </pc:sldMkLst>
        <pc:spChg chg="mod">
          <ac:chgData name="Kate Mun (KYOUNGRAN)" userId="S::kymun@microsoft.com::d8a93241-9b9d-4c25-8457-87ffab4b96e2" providerId="AD" clId="Web-{F87054D8-9E2F-4036-B467-696A174D196F}" dt="2022-09-20T08:04:16.649" v="8" actId="20577"/>
          <ac:spMkLst>
            <pc:docMk/>
            <pc:sldMk cId="2125659258" sldId="664"/>
            <ac:spMk id="5" creationId="{3AEF9BFD-FE95-4029-BBEB-74811694E894}"/>
          </ac:spMkLst>
        </pc:spChg>
      </pc:sldChg>
      <pc:sldChg chg="del">
        <pc:chgData name="Kate Mun (KYOUNGRAN)" userId="S::kymun@microsoft.com::d8a93241-9b9d-4c25-8457-87ffab4b96e2" providerId="AD" clId="Web-{F87054D8-9E2F-4036-B467-696A174D196F}" dt="2022-09-20T08:01:06.130" v="1"/>
        <pc:sldMkLst>
          <pc:docMk/>
          <pc:sldMk cId="2534708412" sldId="2076138427"/>
        </pc:sldMkLst>
      </pc:sldChg>
      <pc:sldChg chg="modSp">
        <pc:chgData name="Kate Mun (KYOUNGRAN)" userId="S::kymun@microsoft.com::d8a93241-9b9d-4c25-8457-87ffab4b96e2" providerId="AD" clId="Web-{F87054D8-9E2F-4036-B467-696A174D196F}" dt="2022-09-20T08:01:40.037" v="5"/>
        <pc:sldMkLst>
          <pc:docMk/>
          <pc:sldMk cId="1090112917" sldId="2147470294"/>
        </pc:sldMkLst>
        <pc:graphicFrameChg chg="mod modGraphic">
          <ac:chgData name="Kate Mun (KYOUNGRAN)" userId="S::kymun@microsoft.com::d8a93241-9b9d-4c25-8457-87ffab4b96e2" providerId="AD" clId="Web-{F87054D8-9E2F-4036-B467-696A174D196F}" dt="2022-09-20T08:01:40.037" v="5"/>
          <ac:graphicFrameMkLst>
            <pc:docMk/>
            <pc:sldMk cId="1090112917" sldId="2147470294"/>
            <ac:graphicFrameMk id="6" creationId="{68528D9B-EBFC-CDC1-FCB5-4876429BE43B}"/>
          </ac:graphicFrameMkLst>
        </pc:graphicFrameChg>
      </pc:sldChg>
      <pc:sldChg chg="del">
        <pc:chgData name="Kate Mun (KYOUNGRAN)" userId="S::kymun@microsoft.com::d8a93241-9b9d-4c25-8457-87ffab4b96e2" providerId="AD" clId="Web-{F87054D8-9E2F-4036-B467-696A174D196F}" dt="2022-09-20T08:01:01.255" v="0"/>
        <pc:sldMkLst>
          <pc:docMk/>
          <pc:sldMk cId="1749172033" sldId="2147470302"/>
        </pc:sldMkLst>
      </pc:sldChg>
    </pc:docChg>
  </pc:docChgLst>
  <pc:docChgLst>
    <pc:chgData name="Jeung Hoon Park" userId="S::junpark@microsoft.com::beddcffd-ce47-4056-b815-24814e3fbfe9" providerId="AD" clId="Web-{F40D69F1-AE35-429B-A6A6-404DE19AD37A}"/>
    <pc:docChg chg="addSld delSld modSld sldOrd modSection">
      <pc:chgData name="Jeung Hoon Park" userId="S::junpark@microsoft.com::beddcffd-ce47-4056-b815-24814e3fbfe9" providerId="AD" clId="Web-{F40D69F1-AE35-429B-A6A6-404DE19AD37A}" dt="2022-09-20T01:35:37.248" v="182"/>
      <pc:docMkLst>
        <pc:docMk/>
      </pc:docMkLst>
      <pc:sldChg chg="del">
        <pc:chgData name="Jeung Hoon Park" userId="S::junpark@microsoft.com::beddcffd-ce47-4056-b815-24814e3fbfe9" providerId="AD" clId="Web-{F40D69F1-AE35-429B-A6A6-404DE19AD37A}" dt="2022-09-20T01:31:25.273" v="67"/>
        <pc:sldMkLst>
          <pc:docMk/>
          <pc:sldMk cId="902412700" sldId="668"/>
        </pc:sldMkLst>
      </pc:sldChg>
      <pc:sldChg chg="addSp delSp modSp add ord replId">
        <pc:chgData name="Jeung Hoon Park" userId="S::junpark@microsoft.com::beddcffd-ce47-4056-b815-24814e3fbfe9" providerId="AD" clId="Web-{F40D69F1-AE35-429B-A6A6-404DE19AD37A}" dt="2022-09-20T01:35:37.248" v="182"/>
        <pc:sldMkLst>
          <pc:docMk/>
          <pc:sldMk cId="1849653837" sldId="2147470292"/>
        </pc:sldMkLst>
        <pc:spChg chg="mod">
          <ac:chgData name="Jeung Hoon Park" userId="S::junpark@microsoft.com::beddcffd-ce47-4056-b815-24814e3fbfe9" providerId="AD" clId="Web-{F40D69F1-AE35-429B-A6A6-404DE19AD37A}" dt="2022-09-20T01:28:43.583" v="18" actId="20577"/>
          <ac:spMkLst>
            <pc:docMk/>
            <pc:sldMk cId="1849653837" sldId="2147470292"/>
            <ac:spMk id="2" creationId="{C9355748-2E5A-FF43-B041-EDECD4D2DAAD}"/>
          </ac:spMkLst>
        </pc:spChg>
        <pc:spChg chg="del">
          <ac:chgData name="Jeung Hoon Park" userId="S::junpark@microsoft.com::beddcffd-ce47-4056-b815-24814e3fbfe9" providerId="AD" clId="Web-{F40D69F1-AE35-429B-A6A6-404DE19AD37A}" dt="2022-09-20T01:28:53.692" v="19"/>
          <ac:spMkLst>
            <pc:docMk/>
            <pc:sldMk cId="1849653837" sldId="2147470292"/>
            <ac:spMk id="3" creationId="{91F7F35A-C6C0-4BCE-B9AD-298C96939022}"/>
          </ac:spMkLst>
        </pc:spChg>
        <pc:spChg chg="add mod">
          <ac:chgData name="Jeung Hoon Park" userId="S::junpark@microsoft.com::beddcffd-ce47-4056-b815-24814e3fbfe9" providerId="AD" clId="Web-{F40D69F1-AE35-429B-A6A6-404DE19AD37A}" dt="2022-09-20T01:33:46.183" v="166" actId="20577"/>
          <ac:spMkLst>
            <pc:docMk/>
            <pc:sldMk cId="1849653837" sldId="2147470292"/>
            <ac:spMk id="5" creationId="{0F85905A-5E01-8F50-E18C-9D227C507F1C}"/>
          </ac:spMkLst>
        </pc:spChg>
        <pc:graphicFrameChg chg="add mod modGraphic">
          <ac:chgData name="Jeung Hoon Park" userId="S::junpark@microsoft.com::beddcffd-ce47-4056-b815-24814e3fbfe9" providerId="AD" clId="Web-{F40D69F1-AE35-429B-A6A6-404DE19AD37A}" dt="2022-09-20T01:35:37.248" v="182"/>
          <ac:graphicFrameMkLst>
            <pc:docMk/>
            <pc:sldMk cId="1849653837" sldId="2147470292"/>
            <ac:graphicFrameMk id="4" creationId="{6F327B46-6214-2BF6-36CE-917C790CC4D0}"/>
          </ac:graphicFrameMkLst>
        </pc:graphicFrameChg>
        <pc:picChg chg="add mod">
          <ac:chgData name="Jeung Hoon Park" userId="S::junpark@microsoft.com::beddcffd-ce47-4056-b815-24814e3fbfe9" providerId="AD" clId="Web-{F40D69F1-AE35-429B-A6A6-404DE19AD37A}" dt="2022-09-20T01:31:50.508" v="68" actId="1076"/>
          <ac:picMkLst>
            <pc:docMk/>
            <pc:sldMk cId="1849653837" sldId="2147470292"/>
            <ac:picMk id="7" creationId="{D6C6685C-8561-172D-26D9-AD73550EA273}"/>
          </ac:picMkLst>
        </pc:picChg>
        <pc:picChg chg="add mod">
          <ac:chgData name="Jeung Hoon Park" userId="S::junpark@microsoft.com::beddcffd-ce47-4056-b815-24814e3fbfe9" providerId="AD" clId="Web-{F40D69F1-AE35-429B-A6A6-404DE19AD37A}" dt="2022-09-20T01:31:13.476" v="65" actId="14100"/>
          <ac:picMkLst>
            <pc:docMk/>
            <pc:sldMk cId="1849653837" sldId="2147470292"/>
            <ac:picMk id="9" creationId="{DE5D740A-322D-939A-AF0C-8CFBFEACC72A}"/>
          </ac:picMkLst>
        </pc:picChg>
      </pc:sldChg>
      <pc:sldChg chg="add del replId">
        <pc:chgData name="Jeung Hoon Park" userId="S::junpark@microsoft.com::beddcffd-ce47-4056-b815-24814e3fbfe9" providerId="AD" clId="Web-{F40D69F1-AE35-429B-A6A6-404DE19AD37A}" dt="2022-09-20T01:28:58.880" v="21"/>
        <pc:sldMkLst>
          <pc:docMk/>
          <pc:sldMk cId="3140055017" sldId="2147470293"/>
        </pc:sldMkLst>
      </pc:sldChg>
    </pc:docChg>
  </pc:docChgLst>
  <pc:docChgLst>
    <pc:chgData name="Jeung Hoon Park" userId="S::junpark@microsoft.com::beddcffd-ce47-4056-b815-24814e3fbfe9" providerId="AD" clId="Web-{DD6834AA-AB27-41B4-830A-998E645E5DF4}"/>
    <pc:docChg chg="addSld delSld modSld modSection">
      <pc:chgData name="Jeung Hoon Park" userId="S::junpark@microsoft.com::beddcffd-ce47-4056-b815-24814e3fbfe9" providerId="AD" clId="Web-{DD6834AA-AB27-41B4-830A-998E645E5DF4}" dt="2022-09-20T01:57:30.103" v="492" actId="20577"/>
      <pc:docMkLst>
        <pc:docMk/>
      </pc:docMkLst>
      <pc:sldChg chg="modSp">
        <pc:chgData name="Jeung Hoon Park" userId="S::junpark@microsoft.com::beddcffd-ce47-4056-b815-24814e3fbfe9" providerId="AD" clId="Web-{DD6834AA-AB27-41B4-830A-998E645E5DF4}" dt="2022-09-20T01:57:27.681" v="484" actId="20577"/>
        <pc:sldMkLst>
          <pc:docMk/>
          <pc:sldMk cId="1849653837" sldId="2147470292"/>
        </pc:sldMkLst>
        <pc:spChg chg="mod">
          <ac:chgData name="Jeung Hoon Park" userId="S::junpark@microsoft.com::beddcffd-ce47-4056-b815-24814e3fbfe9" providerId="AD" clId="Web-{DD6834AA-AB27-41B4-830A-998E645E5DF4}" dt="2022-09-20T01:57:27.681" v="484" actId="20577"/>
          <ac:spMkLst>
            <pc:docMk/>
            <pc:sldMk cId="1849653837" sldId="2147470292"/>
            <ac:spMk id="2" creationId="{C9355748-2E5A-FF43-B041-EDECD4D2DAAD}"/>
          </ac:spMkLst>
        </pc:spChg>
        <pc:spChg chg="mod">
          <ac:chgData name="Jeung Hoon Park" userId="S::junpark@microsoft.com::beddcffd-ce47-4056-b815-24814e3fbfe9" providerId="AD" clId="Web-{DD6834AA-AB27-41B4-830A-998E645E5DF4}" dt="2022-09-20T01:51:58.345" v="337" actId="20577"/>
          <ac:spMkLst>
            <pc:docMk/>
            <pc:sldMk cId="1849653837" sldId="2147470292"/>
            <ac:spMk id="5" creationId="{0F85905A-5E01-8F50-E18C-9D227C507F1C}"/>
          </ac:spMkLst>
        </pc:spChg>
        <pc:graphicFrameChg chg="mod modGraphic">
          <ac:chgData name="Jeung Hoon Park" userId="S::junpark@microsoft.com::beddcffd-ce47-4056-b815-24814e3fbfe9" providerId="AD" clId="Web-{DD6834AA-AB27-41B4-830A-998E645E5DF4}" dt="2022-09-20T01:51:59.360" v="338" actId="1076"/>
          <ac:graphicFrameMkLst>
            <pc:docMk/>
            <pc:sldMk cId="1849653837" sldId="2147470292"/>
            <ac:graphicFrameMk id="4" creationId="{6F327B46-6214-2BF6-36CE-917C790CC4D0}"/>
          </ac:graphicFrameMkLst>
        </pc:graphicFrameChg>
        <pc:picChg chg="mod">
          <ac:chgData name="Jeung Hoon Park" userId="S::junpark@microsoft.com::beddcffd-ce47-4056-b815-24814e3fbfe9" providerId="AD" clId="Web-{DD6834AA-AB27-41B4-830A-998E645E5DF4}" dt="2022-09-20T01:52:01.064" v="339" actId="1076"/>
          <ac:picMkLst>
            <pc:docMk/>
            <pc:sldMk cId="1849653837" sldId="2147470292"/>
            <ac:picMk id="7" creationId="{D6C6685C-8561-172D-26D9-AD73550EA273}"/>
          </ac:picMkLst>
        </pc:picChg>
        <pc:picChg chg="mod">
          <ac:chgData name="Jeung Hoon Park" userId="S::junpark@microsoft.com::beddcffd-ce47-4056-b815-24814e3fbfe9" providerId="AD" clId="Web-{DD6834AA-AB27-41B4-830A-998E645E5DF4}" dt="2022-09-20T01:52:02.204" v="340" actId="1076"/>
          <ac:picMkLst>
            <pc:docMk/>
            <pc:sldMk cId="1849653837" sldId="2147470292"/>
            <ac:picMk id="9" creationId="{DE5D740A-322D-939A-AF0C-8CFBFEACC72A}"/>
          </ac:picMkLst>
        </pc:picChg>
      </pc:sldChg>
      <pc:sldChg chg="addSp delSp modSp add replId">
        <pc:chgData name="Jeung Hoon Park" userId="S::junpark@microsoft.com::beddcffd-ce47-4056-b815-24814e3fbfe9" providerId="AD" clId="Web-{DD6834AA-AB27-41B4-830A-998E645E5DF4}" dt="2022-09-20T01:57:30.103" v="492" actId="20577"/>
        <pc:sldMkLst>
          <pc:docMk/>
          <pc:sldMk cId="1120900647" sldId="2147470295"/>
        </pc:sldMkLst>
        <pc:spChg chg="mod">
          <ac:chgData name="Jeung Hoon Park" userId="S::junpark@microsoft.com::beddcffd-ce47-4056-b815-24814e3fbfe9" providerId="AD" clId="Web-{DD6834AA-AB27-41B4-830A-998E645E5DF4}" dt="2022-09-20T01:57:30.103" v="492" actId="20577"/>
          <ac:spMkLst>
            <pc:docMk/>
            <pc:sldMk cId="1120900647" sldId="2147470295"/>
            <ac:spMk id="2" creationId="{C9355748-2E5A-FF43-B041-EDECD4D2DAAD}"/>
          </ac:spMkLst>
        </pc:spChg>
        <pc:spChg chg="mod">
          <ac:chgData name="Jeung Hoon Park" userId="S::junpark@microsoft.com::beddcffd-ce47-4056-b815-24814e3fbfe9" providerId="AD" clId="Web-{DD6834AA-AB27-41B4-830A-998E645E5DF4}" dt="2022-09-20T01:56:07.007" v="477" actId="20577"/>
          <ac:spMkLst>
            <pc:docMk/>
            <pc:sldMk cId="1120900647" sldId="2147470295"/>
            <ac:spMk id="5" creationId="{0F85905A-5E01-8F50-E18C-9D227C507F1C}"/>
          </ac:spMkLst>
        </pc:spChg>
        <pc:graphicFrameChg chg="del">
          <ac:chgData name="Jeung Hoon Park" userId="S::junpark@microsoft.com::beddcffd-ce47-4056-b815-24814e3fbfe9" providerId="AD" clId="Web-{DD6834AA-AB27-41B4-830A-998E645E5DF4}" dt="2022-09-20T01:39:54.734" v="172"/>
          <ac:graphicFrameMkLst>
            <pc:docMk/>
            <pc:sldMk cId="1120900647" sldId="2147470295"/>
            <ac:graphicFrameMk id="4" creationId="{6F327B46-6214-2BF6-36CE-917C790CC4D0}"/>
          </ac:graphicFrameMkLst>
        </pc:graphicFrameChg>
        <pc:graphicFrameChg chg="add mod modGraphic">
          <ac:chgData name="Jeung Hoon Park" userId="S::junpark@microsoft.com::beddcffd-ce47-4056-b815-24814e3fbfe9" providerId="AD" clId="Web-{DD6834AA-AB27-41B4-830A-998E645E5DF4}" dt="2022-09-20T01:52:17.345" v="342" actId="1076"/>
          <ac:graphicFrameMkLst>
            <pc:docMk/>
            <pc:sldMk cId="1120900647" sldId="2147470295"/>
            <ac:graphicFrameMk id="6" creationId="{C1A0AFE7-6659-60C4-DFB5-567C4CB2503B}"/>
          </ac:graphicFrameMkLst>
        </pc:graphicFrameChg>
        <pc:picChg chg="del">
          <ac:chgData name="Jeung Hoon Park" userId="S::junpark@microsoft.com::beddcffd-ce47-4056-b815-24814e3fbfe9" providerId="AD" clId="Web-{DD6834AA-AB27-41B4-830A-998E645E5DF4}" dt="2022-09-20T01:39:50.250" v="168"/>
          <ac:picMkLst>
            <pc:docMk/>
            <pc:sldMk cId="1120900647" sldId="2147470295"/>
            <ac:picMk id="7" creationId="{D6C6685C-8561-172D-26D9-AD73550EA273}"/>
          </ac:picMkLst>
        </pc:picChg>
        <pc:picChg chg="add mod">
          <ac:chgData name="Jeung Hoon Park" userId="S::junpark@microsoft.com::beddcffd-ce47-4056-b815-24814e3fbfe9" providerId="AD" clId="Web-{DD6834AA-AB27-41B4-830A-998E645E5DF4}" dt="2022-09-20T01:55:36.194" v="471" actId="14100"/>
          <ac:picMkLst>
            <pc:docMk/>
            <pc:sldMk cId="1120900647" sldId="2147470295"/>
            <ac:picMk id="8" creationId="{DCA6866D-A26B-1CC6-A694-A56596B3177E}"/>
          </ac:picMkLst>
        </pc:picChg>
        <pc:picChg chg="del">
          <ac:chgData name="Jeung Hoon Park" userId="S::junpark@microsoft.com::beddcffd-ce47-4056-b815-24814e3fbfe9" providerId="AD" clId="Web-{DD6834AA-AB27-41B4-830A-998E645E5DF4}" dt="2022-09-20T01:39:51.015" v="169"/>
          <ac:picMkLst>
            <pc:docMk/>
            <pc:sldMk cId="1120900647" sldId="2147470295"/>
            <ac:picMk id="9" creationId="{DE5D740A-322D-939A-AF0C-8CFBFEACC72A}"/>
          </ac:picMkLst>
        </pc:picChg>
        <pc:picChg chg="add mod">
          <ac:chgData name="Jeung Hoon Park" userId="S::junpark@microsoft.com::beddcffd-ce47-4056-b815-24814e3fbfe9" providerId="AD" clId="Web-{DD6834AA-AB27-41B4-830A-998E645E5DF4}" dt="2022-09-20T01:55:51.179" v="475" actId="1076"/>
          <ac:picMkLst>
            <pc:docMk/>
            <pc:sldMk cId="1120900647" sldId="2147470295"/>
            <ac:picMk id="10" creationId="{93FE9173-EA8E-AA6F-A4D2-BC1B0FD5E9F1}"/>
          </ac:picMkLst>
        </pc:picChg>
        <pc:inkChg chg="add">
          <ac:chgData name="Jeung Hoon Park" userId="S::junpark@microsoft.com::beddcffd-ce47-4056-b815-24814e3fbfe9" providerId="AD" clId="Web-{DD6834AA-AB27-41B4-830A-998E645E5DF4}" dt="2022-09-20T01:56:40.148" v="478"/>
          <ac:inkMkLst>
            <pc:docMk/>
            <pc:sldMk cId="1120900647" sldId="2147470295"/>
            <ac:inkMk id="11" creationId="{E735B385-8133-199D-7B08-E32D9568B415}"/>
          </ac:inkMkLst>
        </pc:inkChg>
        <pc:inkChg chg="add">
          <ac:chgData name="Jeung Hoon Park" userId="S::junpark@microsoft.com::beddcffd-ce47-4056-b815-24814e3fbfe9" providerId="AD" clId="Web-{DD6834AA-AB27-41B4-830A-998E645E5DF4}" dt="2022-09-20T01:56:42.992" v="479"/>
          <ac:inkMkLst>
            <pc:docMk/>
            <pc:sldMk cId="1120900647" sldId="2147470295"/>
            <ac:inkMk id="12" creationId="{9650A4D9-9AE1-8A94-7B6B-A4B3FEC10E04}"/>
          </ac:inkMkLst>
        </pc:inkChg>
      </pc:sldChg>
      <pc:sldChg chg="del">
        <pc:chgData name="Jeung Hoon Park" userId="S::junpark@microsoft.com::beddcffd-ce47-4056-b815-24814e3fbfe9" providerId="AD" clId="Web-{DD6834AA-AB27-41B4-830A-998E645E5DF4}" dt="2022-09-20T01:39:30.905" v="166"/>
        <pc:sldMkLst>
          <pc:docMk/>
          <pc:sldMk cId="2229526494" sldId="2147470295"/>
        </pc:sldMkLst>
      </pc:sldChg>
    </pc:docChg>
  </pc:docChgLst>
  <pc:docChgLst>
    <pc:chgData name="Jeung Hoon Park" userId="S::junpark@microsoft.com::beddcffd-ce47-4056-b815-24814e3fbfe9" providerId="AD" clId="Web-{0D7F11BA-104F-4870-B093-F6F6E8294091}"/>
    <pc:docChg chg="addSld modSld sldOrd">
      <pc:chgData name="Jeung Hoon Park" userId="S::junpark@microsoft.com::beddcffd-ce47-4056-b815-24814e3fbfe9" providerId="AD" clId="Web-{0D7F11BA-104F-4870-B093-F6F6E8294091}" dt="2022-09-20T01:26:14.329" v="159" actId="20577"/>
      <pc:docMkLst>
        <pc:docMk/>
      </pc:docMkLst>
      <pc:sldChg chg="addSp delSp modSp add ord replId">
        <pc:chgData name="Jeung Hoon Park" userId="S::junpark@microsoft.com::beddcffd-ce47-4056-b815-24814e3fbfe9" providerId="AD" clId="Web-{0D7F11BA-104F-4870-B093-F6F6E8294091}" dt="2022-09-20T01:26:14.329" v="159" actId="20577"/>
        <pc:sldMkLst>
          <pc:docMk/>
          <pc:sldMk cId="902412700" sldId="668"/>
        </pc:sldMkLst>
        <pc:spChg chg="mod">
          <ac:chgData name="Jeung Hoon Park" userId="S::junpark@microsoft.com::beddcffd-ce47-4056-b815-24814e3fbfe9" providerId="AD" clId="Web-{0D7F11BA-104F-4870-B093-F6F6E8294091}" dt="2022-09-20T01:16:10.176" v="18" actId="20577"/>
          <ac:spMkLst>
            <pc:docMk/>
            <pc:sldMk cId="902412700" sldId="668"/>
            <ac:spMk id="2" creationId="{00000000-0000-0000-0000-000000000000}"/>
          </ac:spMkLst>
        </pc:spChg>
        <pc:spChg chg="mod">
          <ac:chgData name="Jeung Hoon Park" userId="S::junpark@microsoft.com::beddcffd-ce47-4056-b815-24814e3fbfe9" providerId="AD" clId="Web-{0D7F11BA-104F-4870-B093-F6F6E8294091}" dt="2022-09-20T01:26:14.329" v="159" actId="20577"/>
          <ac:spMkLst>
            <pc:docMk/>
            <pc:sldMk cId="902412700" sldId="668"/>
            <ac:spMk id="4" creationId="{00000000-0000-0000-0000-000000000000}"/>
          </ac:spMkLst>
        </pc:spChg>
        <pc:graphicFrameChg chg="del">
          <ac:chgData name="Jeung Hoon Park" userId="S::junpark@microsoft.com::beddcffd-ce47-4056-b815-24814e3fbfe9" providerId="AD" clId="Web-{0D7F11BA-104F-4870-B093-F6F6E8294091}" dt="2022-09-20T01:16:58.396" v="29"/>
          <ac:graphicFrameMkLst>
            <pc:docMk/>
            <pc:sldMk cId="902412700" sldId="668"/>
            <ac:graphicFrameMk id="3" creationId="{EA6341C9-A524-440B-B610-95F09217115A}"/>
          </ac:graphicFrameMkLst>
        </pc:graphicFrameChg>
        <pc:picChg chg="add mod">
          <ac:chgData name="Jeung Hoon Park" userId="S::junpark@microsoft.com::beddcffd-ce47-4056-b815-24814e3fbfe9" providerId="AD" clId="Web-{0D7F11BA-104F-4870-B093-F6F6E8294091}" dt="2022-09-20T01:20:26.853" v="115" actId="1076"/>
          <ac:picMkLst>
            <pc:docMk/>
            <pc:sldMk cId="902412700" sldId="668"/>
            <ac:picMk id="5" creationId="{749E62D0-7EB0-8757-04E4-F86F123BAC17}"/>
          </ac:picMkLst>
        </pc:picChg>
        <pc:picChg chg="add mod">
          <ac:chgData name="Jeung Hoon Park" userId="S::junpark@microsoft.com::beddcffd-ce47-4056-b815-24814e3fbfe9" providerId="AD" clId="Web-{0D7F11BA-104F-4870-B093-F6F6E8294091}" dt="2022-09-20T01:23:27.123" v="119" actId="1076"/>
          <ac:picMkLst>
            <pc:docMk/>
            <pc:sldMk cId="902412700" sldId="668"/>
            <ac:picMk id="6" creationId="{655D9D90-647B-DD05-7B0D-2E673A6724FF}"/>
          </ac:picMkLst>
        </pc:picChg>
      </pc:sldChg>
    </pc:docChg>
  </pc:docChgLst>
  <pc:docChgLst>
    <pc:chgData name="Kate Mun (KYOUNGRAN)" userId="d8a93241-9b9d-4c25-8457-87ffab4b96e2" providerId="ADAL" clId="{D0392E92-C1C8-4E77-96D0-D493DA4AC621}"/>
    <pc:docChg chg="undo redo custSel addSld delSld modSld sldOrd modMainMaster addSection delSection modSection">
      <pc:chgData name="Kate Mun (KYOUNGRAN)" userId="d8a93241-9b9d-4c25-8457-87ffab4b96e2" providerId="ADAL" clId="{D0392E92-C1C8-4E77-96D0-D493DA4AC621}" dt="2022-10-20T07:16:39.696" v="34723" actId="20577"/>
      <pc:docMkLst>
        <pc:docMk/>
      </pc:docMkLst>
      <pc:sldChg chg="addSp delSp modSp add del mod modClrScheme chgLayout">
        <pc:chgData name="Kate Mun (KYOUNGRAN)" userId="d8a93241-9b9d-4c25-8457-87ffab4b96e2" providerId="ADAL" clId="{D0392E92-C1C8-4E77-96D0-D493DA4AC621}" dt="2022-10-04T05:38:21.048" v="16334" actId="47"/>
        <pc:sldMkLst>
          <pc:docMk/>
          <pc:sldMk cId="2277483162" sldId="269"/>
        </pc:sldMkLst>
        <pc:spChg chg="mod ord">
          <ac:chgData name="Kate Mun (KYOUNGRAN)" userId="d8a93241-9b9d-4c25-8457-87ffab4b96e2" providerId="ADAL" clId="{D0392E92-C1C8-4E77-96D0-D493DA4AC621}" dt="2022-10-04T05:37:59.728" v="16328" actId="700"/>
          <ac:spMkLst>
            <pc:docMk/>
            <pc:sldMk cId="2277483162" sldId="269"/>
            <ac:spMk id="2" creationId="{00000000-0000-0000-0000-000000000000}"/>
          </ac:spMkLst>
        </pc:spChg>
        <pc:spChg chg="del mod ord">
          <ac:chgData name="Kate Mun (KYOUNGRAN)" userId="d8a93241-9b9d-4c25-8457-87ffab4b96e2" providerId="ADAL" clId="{D0392E92-C1C8-4E77-96D0-D493DA4AC621}" dt="2022-10-04T05:38:14.979" v="16333" actId="478"/>
          <ac:spMkLst>
            <pc:docMk/>
            <pc:sldMk cId="2277483162" sldId="269"/>
            <ac:spMk id="4" creationId="{00000000-0000-0000-0000-000000000000}"/>
          </ac:spMkLst>
        </pc:spChg>
        <pc:spChg chg="add mod ord">
          <ac:chgData name="Kate Mun (KYOUNGRAN)" userId="d8a93241-9b9d-4c25-8457-87ffab4b96e2" providerId="ADAL" clId="{D0392E92-C1C8-4E77-96D0-D493DA4AC621}" dt="2022-10-04T05:37:59.728" v="16328" actId="700"/>
          <ac:spMkLst>
            <pc:docMk/>
            <pc:sldMk cId="2277483162" sldId="269"/>
            <ac:spMk id="5" creationId="{1A6E74B2-16F9-EEEF-4C57-32B3D57B3660}"/>
          </ac:spMkLst>
        </pc:spChg>
        <pc:spChg chg="add mod">
          <ac:chgData name="Kate Mun (KYOUNGRAN)" userId="d8a93241-9b9d-4c25-8457-87ffab4b96e2" providerId="ADAL" clId="{D0392E92-C1C8-4E77-96D0-D493DA4AC621}" dt="2022-10-04T05:38:14.979" v="16333" actId="478"/>
          <ac:spMkLst>
            <pc:docMk/>
            <pc:sldMk cId="2277483162" sldId="269"/>
            <ac:spMk id="7" creationId="{0834C9B9-085F-A861-0EBE-F256B63D2B0E}"/>
          </ac:spMkLst>
        </pc:spChg>
      </pc:sldChg>
      <pc:sldChg chg="addSp delSp modSp add del mod modTransition modClrScheme modShow chgLayout modNotesTx">
        <pc:chgData name="Kate Mun (KYOUNGRAN)" userId="d8a93241-9b9d-4c25-8457-87ffab4b96e2" providerId="ADAL" clId="{D0392E92-C1C8-4E77-96D0-D493DA4AC621}" dt="2022-10-19T12:50:40.205" v="34310" actId="729"/>
        <pc:sldMkLst>
          <pc:docMk/>
          <pc:sldMk cId="544100797" sldId="302"/>
        </pc:sldMkLst>
        <pc:spChg chg="mod ord">
          <ac:chgData name="Kate Mun (KYOUNGRAN)" userId="d8a93241-9b9d-4c25-8457-87ffab4b96e2" providerId="ADAL" clId="{D0392E92-C1C8-4E77-96D0-D493DA4AC621}" dt="2022-10-19T02:48:08.166" v="32389" actId="113"/>
          <ac:spMkLst>
            <pc:docMk/>
            <pc:sldMk cId="544100797" sldId="302"/>
            <ac:spMk id="2" creationId="{1CA8E0A7-D249-4546-A436-47F572A9F8D6}"/>
          </ac:spMkLst>
        </pc:spChg>
        <pc:spChg chg="add del mod ord">
          <ac:chgData name="Kate Mun (KYOUNGRAN)" userId="d8a93241-9b9d-4c25-8457-87ffab4b96e2" providerId="ADAL" clId="{D0392E92-C1C8-4E77-96D0-D493DA4AC621}" dt="2022-10-19T04:11:37.482" v="32656" actId="478"/>
          <ac:spMkLst>
            <pc:docMk/>
            <pc:sldMk cId="544100797" sldId="302"/>
            <ac:spMk id="3" creationId="{6D570D40-2093-05A6-9ED8-92F954D6029D}"/>
          </ac:spMkLst>
        </pc:spChg>
        <pc:spChg chg="add del mod ord">
          <ac:chgData name="Kate Mun (KYOUNGRAN)" userId="d8a93241-9b9d-4c25-8457-87ffab4b96e2" providerId="ADAL" clId="{D0392E92-C1C8-4E77-96D0-D493DA4AC621}" dt="2022-10-04T05:38:24.579" v="16336" actId="478"/>
          <ac:spMkLst>
            <pc:docMk/>
            <pc:sldMk cId="544100797" sldId="302"/>
            <ac:spMk id="3" creationId="{7FDA930F-F439-AFC3-52BE-FE16A1093290}"/>
          </ac:spMkLst>
        </pc:spChg>
        <pc:spChg chg="add del mod ord">
          <ac:chgData name="Kate Mun (KYOUNGRAN)" userId="d8a93241-9b9d-4c25-8457-87ffab4b96e2" providerId="ADAL" clId="{D0392E92-C1C8-4E77-96D0-D493DA4AC621}" dt="2022-10-04T05:38:28.129" v="16337" actId="478"/>
          <ac:spMkLst>
            <pc:docMk/>
            <pc:sldMk cId="544100797" sldId="302"/>
            <ac:spMk id="5" creationId="{FD544DCD-6728-72FA-94FA-D95E806F1CE7}"/>
          </ac:spMkLst>
        </pc:spChg>
      </pc:sldChg>
      <pc:sldChg chg="addSp delSp modSp add del mod modClrScheme chgLayout">
        <pc:chgData name="Kate Mun (KYOUNGRAN)" userId="d8a93241-9b9d-4c25-8457-87ffab4b96e2" providerId="ADAL" clId="{D0392E92-C1C8-4E77-96D0-D493DA4AC621}" dt="2022-10-04T05:41:30.023" v="16445" actId="47"/>
        <pc:sldMkLst>
          <pc:docMk/>
          <pc:sldMk cId="1844162796" sldId="310"/>
        </pc:sldMkLst>
        <pc:spChg chg="mod ord">
          <ac:chgData name="Kate Mun (KYOUNGRAN)" userId="d8a93241-9b9d-4c25-8457-87ffab4b96e2" providerId="ADAL" clId="{D0392E92-C1C8-4E77-96D0-D493DA4AC621}" dt="2022-10-04T05:37:59.728" v="16328" actId="700"/>
          <ac:spMkLst>
            <pc:docMk/>
            <pc:sldMk cId="1844162796" sldId="310"/>
            <ac:spMk id="2" creationId="{618EB897-0C9C-459E-8BF1-7089AEA48050}"/>
          </ac:spMkLst>
        </pc:spChg>
        <pc:spChg chg="mod ord">
          <ac:chgData name="Kate Mun (KYOUNGRAN)" userId="d8a93241-9b9d-4c25-8457-87ffab4b96e2" providerId="ADAL" clId="{D0392E92-C1C8-4E77-96D0-D493DA4AC621}" dt="2022-10-04T05:37:59.728" v="16328" actId="700"/>
          <ac:spMkLst>
            <pc:docMk/>
            <pc:sldMk cId="1844162796" sldId="310"/>
            <ac:spMk id="3" creationId="{1FB29EFE-E0AD-4A83-98E5-DA5E2F1AFE05}"/>
          </ac:spMkLst>
        </pc:spChg>
        <pc:spChg chg="add del mod ord">
          <ac:chgData name="Kate Mun (KYOUNGRAN)" userId="d8a93241-9b9d-4c25-8457-87ffab4b96e2" providerId="ADAL" clId="{D0392E92-C1C8-4E77-96D0-D493DA4AC621}" dt="2022-10-04T05:41:25.275" v="16444" actId="478"/>
          <ac:spMkLst>
            <pc:docMk/>
            <pc:sldMk cId="1844162796" sldId="310"/>
            <ac:spMk id="4" creationId="{3B48E9F2-C496-8DCF-8D2F-ECA3DC24493A}"/>
          </ac:spMkLst>
        </pc:spChg>
      </pc:sldChg>
      <pc:sldChg chg="addSp modSp add del mod modClrScheme chgLayout">
        <pc:chgData name="Kate Mun (KYOUNGRAN)" userId="d8a93241-9b9d-4c25-8457-87ffab4b96e2" providerId="ADAL" clId="{D0392E92-C1C8-4E77-96D0-D493DA4AC621}" dt="2022-10-04T05:42:55.529" v="16447" actId="47"/>
        <pc:sldMkLst>
          <pc:docMk/>
          <pc:sldMk cId="53949121" sldId="311"/>
        </pc:sldMkLst>
        <pc:spChg chg="add mod ord">
          <ac:chgData name="Kate Mun (KYOUNGRAN)" userId="d8a93241-9b9d-4c25-8457-87ffab4b96e2" providerId="ADAL" clId="{D0392E92-C1C8-4E77-96D0-D493DA4AC621}" dt="2022-10-04T05:37:59.728" v="16328" actId="700"/>
          <ac:spMkLst>
            <pc:docMk/>
            <pc:sldMk cId="53949121" sldId="311"/>
            <ac:spMk id="2" creationId="{DAC54649-12DE-D757-7B6C-E8E53219D49C}"/>
          </ac:spMkLst>
        </pc:spChg>
        <pc:spChg chg="mod ord">
          <ac:chgData name="Kate Mun (KYOUNGRAN)" userId="d8a93241-9b9d-4c25-8457-87ffab4b96e2" providerId="ADAL" clId="{D0392E92-C1C8-4E77-96D0-D493DA4AC621}" dt="2022-10-04T05:37:59.728" v="16328" actId="700"/>
          <ac:spMkLst>
            <pc:docMk/>
            <pc:sldMk cId="53949121" sldId="311"/>
            <ac:spMk id="3" creationId="{824449E6-5AB7-4FC5-8A4F-CD388C663B46}"/>
          </ac:spMkLst>
        </pc:spChg>
        <pc:spChg chg="add mod ord">
          <ac:chgData name="Kate Mun (KYOUNGRAN)" userId="d8a93241-9b9d-4c25-8457-87ffab4b96e2" providerId="ADAL" clId="{D0392E92-C1C8-4E77-96D0-D493DA4AC621}" dt="2022-10-04T05:37:59.728" v="16328" actId="700"/>
          <ac:spMkLst>
            <pc:docMk/>
            <pc:sldMk cId="53949121" sldId="311"/>
            <ac:spMk id="4" creationId="{2672142A-71AC-C145-B2AF-6C749D1B1B93}"/>
          </ac:spMkLst>
        </pc:spChg>
        <pc:picChg chg="mod">
          <ac:chgData name="Kate Mun (KYOUNGRAN)" userId="d8a93241-9b9d-4c25-8457-87ffab4b96e2" providerId="ADAL" clId="{D0392E92-C1C8-4E77-96D0-D493DA4AC621}" dt="2022-10-04T05:41:33.439" v="16446" actId="1076"/>
          <ac:picMkLst>
            <pc:docMk/>
            <pc:sldMk cId="53949121" sldId="311"/>
            <ac:picMk id="5" creationId="{5E8DD921-08D1-45D1-964D-84B56C002778}"/>
          </ac:picMkLst>
        </pc:picChg>
      </pc:sldChg>
      <pc:sldChg chg="addSp modSp add del mod modClrScheme chgLayout modNotesTx">
        <pc:chgData name="Kate Mun (KYOUNGRAN)" userId="d8a93241-9b9d-4c25-8457-87ffab4b96e2" providerId="ADAL" clId="{D0392E92-C1C8-4E77-96D0-D493DA4AC621}" dt="2022-10-04T06:08:46.578" v="16545" actId="2696"/>
        <pc:sldMkLst>
          <pc:docMk/>
          <pc:sldMk cId="770405970" sldId="312"/>
        </pc:sldMkLst>
        <pc:spChg chg="add mod ord">
          <ac:chgData name="Kate Mun (KYOUNGRAN)" userId="d8a93241-9b9d-4c25-8457-87ffab4b96e2" providerId="ADAL" clId="{D0392E92-C1C8-4E77-96D0-D493DA4AC621}" dt="2022-10-04T05:37:59.728" v="16328" actId="700"/>
          <ac:spMkLst>
            <pc:docMk/>
            <pc:sldMk cId="770405970" sldId="312"/>
            <ac:spMk id="2" creationId="{9E9E1651-5E57-8B6E-BAAD-990CC0781EC2}"/>
          </ac:spMkLst>
        </pc:spChg>
        <pc:spChg chg="mod ord">
          <ac:chgData name="Kate Mun (KYOUNGRAN)" userId="d8a93241-9b9d-4c25-8457-87ffab4b96e2" providerId="ADAL" clId="{D0392E92-C1C8-4E77-96D0-D493DA4AC621}" dt="2022-10-04T05:37:59.728" v="16328" actId="700"/>
          <ac:spMkLst>
            <pc:docMk/>
            <pc:sldMk cId="770405970" sldId="312"/>
            <ac:spMk id="3" creationId="{879E9B72-C08D-4DA0-9A7E-FBD33DD8EB16}"/>
          </ac:spMkLst>
        </pc:spChg>
        <pc:spChg chg="add mod ord">
          <ac:chgData name="Kate Mun (KYOUNGRAN)" userId="d8a93241-9b9d-4c25-8457-87ffab4b96e2" providerId="ADAL" clId="{D0392E92-C1C8-4E77-96D0-D493DA4AC621}" dt="2022-10-04T05:37:59.728" v="16328" actId="700"/>
          <ac:spMkLst>
            <pc:docMk/>
            <pc:sldMk cId="770405970" sldId="312"/>
            <ac:spMk id="4" creationId="{800CE36C-E0BB-C5B4-4666-8B6245ACEDAA}"/>
          </ac:spMkLst>
        </pc:spChg>
      </pc:sldChg>
      <pc:sldChg chg="addSp delSp modSp add mod addAnim delAnim chgLayout">
        <pc:chgData name="Kate Mun (KYOUNGRAN)" userId="d8a93241-9b9d-4c25-8457-87ffab4b96e2" providerId="ADAL" clId="{D0392E92-C1C8-4E77-96D0-D493DA4AC621}" dt="2022-10-19T02:53:13.252" v="32454" actId="255"/>
        <pc:sldMkLst>
          <pc:docMk/>
          <pc:sldMk cId="4113630632" sldId="312"/>
        </pc:sldMkLst>
        <pc:spChg chg="del mod">
          <ac:chgData name="Kate Mun (KYOUNGRAN)" userId="d8a93241-9b9d-4c25-8457-87ffab4b96e2" providerId="ADAL" clId="{D0392E92-C1C8-4E77-96D0-D493DA4AC621}" dt="2022-10-05T01:30:55.964" v="18258" actId="21"/>
          <ac:spMkLst>
            <pc:docMk/>
            <pc:sldMk cId="4113630632" sldId="312"/>
            <ac:spMk id="2" creationId="{9E9E1651-5E57-8B6E-BAAD-990CC0781EC2}"/>
          </ac:spMkLst>
        </pc:spChg>
        <pc:spChg chg="add mod ord">
          <ac:chgData name="Kate Mun (KYOUNGRAN)" userId="d8a93241-9b9d-4c25-8457-87ffab4b96e2" providerId="ADAL" clId="{D0392E92-C1C8-4E77-96D0-D493DA4AC621}" dt="2022-10-19T01:35:11.944" v="31216" actId="700"/>
          <ac:spMkLst>
            <pc:docMk/>
            <pc:sldMk cId="4113630632" sldId="312"/>
            <ac:spMk id="2" creationId="{CA71CFAD-6959-4A40-7A67-80E80F646A72}"/>
          </ac:spMkLst>
        </pc:spChg>
        <pc:spChg chg="mod ord">
          <ac:chgData name="Kate Mun (KYOUNGRAN)" userId="d8a93241-9b9d-4c25-8457-87ffab4b96e2" providerId="ADAL" clId="{D0392E92-C1C8-4E77-96D0-D493DA4AC621}" dt="2022-10-19T02:42:58.595" v="32261" actId="113"/>
          <ac:spMkLst>
            <pc:docMk/>
            <pc:sldMk cId="4113630632" sldId="312"/>
            <ac:spMk id="3" creationId="{879E9B72-C08D-4DA0-9A7E-FBD33DD8EB16}"/>
          </ac:spMkLst>
        </pc:spChg>
        <pc:spChg chg="add del">
          <ac:chgData name="Kate Mun (KYOUNGRAN)" userId="d8a93241-9b9d-4c25-8457-87ffab4b96e2" providerId="ADAL" clId="{D0392E92-C1C8-4E77-96D0-D493DA4AC621}" dt="2022-10-04T06:35:58.908" v="16965" actId="478"/>
          <ac:spMkLst>
            <pc:docMk/>
            <pc:sldMk cId="4113630632" sldId="312"/>
            <ac:spMk id="4" creationId="{800CE36C-E0BB-C5B4-4666-8B6245ACEDAA}"/>
          </ac:spMkLst>
        </pc:spChg>
        <pc:spChg chg="add del mod">
          <ac:chgData name="Kate Mun (KYOUNGRAN)" userId="d8a93241-9b9d-4c25-8457-87ffab4b96e2" providerId="ADAL" clId="{D0392E92-C1C8-4E77-96D0-D493DA4AC621}" dt="2022-10-05T01:31:41.270" v="18267" actId="478"/>
          <ac:spMkLst>
            <pc:docMk/>
            <pc:sldMk cId="4113630632" sldId="312"/>
            <ac:spMk id="7" creationId="{A4072882-ABAA-37AD-437E-4015198B6B65}"/>
          </ac:spMkLst>
        </pc:spChg>
        <pc:spChg chg="add mod">
          <ac:chgData name="Kate Mun (KYOUNGRAN)" userId="d8a93241-9b9d-4c25-8457-87ffab4b96e2" providerId="ADAL" clId="{D0392E92-C1C8-4E77-96D0-D493DA4AC621}" dt="2022-10-19T02:53:13.252" v="32454" actId="255"/>
          <ac:spMkLst>
            <pc:docMk/>
            <pc:sldMk cId="4113630632" sldId="312"/>
            <ac:spMk id="8" creationId="{8B9EE4B6-7FCA-E6DD-1547-1BB8321B943B}"/>
          </ac:spMkLst>
        </pc:spChg>
        <pc:spChg chg="add mod">
          <ac:chgData name="Kate Mun (KYOUNGRAN)" userId="d8a93241-9b9d-4c25-8457-87ffab4b96e2" providerId="ADAL" clId="{D0392E92-C1C8-4E77-96D0-D493DA4AC621}" dt="2022-10-04T06:34:29.419" v="16943" actId="1582"/>
          <ac:spMkLst>
            <pc:docMk/>
            <pc:sldMk cId="4113630632" sldId="312"/>
            <ac:spMk id="10" creationId="{4C20ED9D-1A6A-9255-3694-269F2B53485A}"/>
          </ac:spMkLst>
        </pc:spChg>
        <pc:spChg chg="add mod">
          <ac:chgData name="Kate Mun (KYOUNGRAN)" userId="d8a93241-9b9d-4c25-8457-87ffab4b96e2" providerId="ADAL" clId="{D0392E92-C1C8-4E77-96D0-D493DA4AC621}" dt="2022-10-04T06:34:48.613" v="16947" actId="1037"/>
          <ac:spMkLst>
            <pc:docMk/>
            <pc:sldMk cId="4113630632" sldId="312"/>
            <ac:spMk id="11" creationId="{74B5F624-8681-5B70-048F-DBDCFB2DAAC8}"/>
          </ac:spMkLst>
        </pc:spChg>
        <pc:spChg chg="add mod">
          <ac:chgData name="Kate Mun (KYOUNGRAN)" userId="d8a93241-9b9d-4c25-8457-87ffab4b96e2" providerId="ADAL" clId="{D0392E92-C1C8-4E77-96D0-D493DA4AC621}" dt="2022-10-04T06:35:07.223" v="16956" actId="14100"/>
          <ac:spMkLst>
            <pc:docMk/>
            <pc:sldMk cId="4113630632" sldId="312"/>
            <ac:spMk id="12" creationId="{98269F4D-02BD-4A6B-2B14-06931E69E9DC}"/>
          </ac:spMkLst>
        </pc:spChg>
        <pc:spChg chg="add mod">
          <ac:chgData name="Kate Mun (KYOUNGRAN)" userId="d8a93241-9b9d-4c25-8457-87ffab4b96e2" providerId="ADAL" clId="{D0392E92-C1C8-4E77-96D0-D493DA4AC621}" dt="2022-10-04T06:35:22.784" v="16959" actId="1076"/>
          <ac:spMkLst>
            <pc:docMk/>
            <pc:sldMk cId="4113630632" sldId="312"/>
            <ac:spMk id="13" creationId="{3006A73A-1D8F-1588-1BF7-98E1E0C309DF}"/>
          </ac:spMkLst>
        </pc:spChg>
        <pc:spChg chg="add mod">
          <ac:chgData name="Kate Mun (KYOUNGRAN)" userId="d8a93241-9b9d-4c25-8457-87ffab4b96e2" providerId="ADAL" clId="{D0392E92-C1C8-4E77-96D0-D493DA4AC621}" dt="2022-10-04T06:35:37.820" v="16962" actId="14100"/>
          <ac:spMkLst>
            <pc:docMk/>
            <pc:sldMk cId="4113630632" sldId="312"/>
            <ac:spMk id="14" creationId="{C2BDC4B7-A3C9-8526-873C-D3EE924D8534}"/>
          </ac:spMkLst>
        </pc:spChg>
        <pc:spChg chg="add del mod">
          <ac:chgData name="Kate Mun (KYOUNGRAN)" userId="d8a93241-9b9d-4c25-8457-87ffab4b96e2" providerId="ADAL" clId="{D0392E92-C1C8-4E77-96D0-D493DA4AC621}" dt="2022-10-05T01:35:27.715" v="18279" actId="478"/>
          <ac:spMkLst>
            <pc:docMk/>
            <pc:sldMk cId="4113630632" sldId="312"/>
            <ac:spMk id="16" creationId="{291D6BF2-8BE6-6B05-B0E5-AF76958C6701}"/>
          </ac:spMkLst>
        </pc:spChg>
        <pc:spChg chg="add del">
          <ac:chgData name="Kate Mun (KYOUNGRAN)" userId="d8a93241-9b9d-4c25-8457-87ffab4b96e2" providerId="ADAL" clId="{D0392E92-C1C8-4E77-96D0-D493DA4AC621}" dt="2022-10-05T01:35:37.982" v="18284" actId="478"/>
          <ac:spMkLst>
            <pc:docMk/>
            <pc:sldMk cId="4113630632" sldId="312"/>
            <ac:spMk id="18" creationId="{F7EF0721-9832-99A6-EE5C-6BB958D75E49}"/>
          </ac:spMkLst>
        </pc:spChg>
        <pc:grpChg chg="add mod">
          <ac:chgData name="Kate Mun (KYOUNGRAN)" userId="d8a93241-9b9d-4c25-8457-87ffab4b96e2" providerId="ADAL" clId="{D0392E92-C1C8-4E77-96D0-D493DA4AC621}" dt="2022-10-05T01:31:51.813" v="18271" actId="14100"/>
          <ac:grpSpMkLst>
            <pc:docMk/>
            <pc:sldMk cId="4113630632" sldId="312"/>
            <ac:grpSpMk id="15" creationId="{46F007BB-934D-94C1-F809-F4331C3F534C}"/>
          </ac:grpSpMkLst>
        </pc:grpChg>
        <pc:picChg chg="add del">
          <ac:chgData name="Kate Mun (KYOUNGRAN)" userId="d8a93241-9b9d-4c25-8457-87ffab4b96e2" providerId="ADAL" clId="{D0392E92-C1C8-4E77-96D0-D493DA4AC621}" dt="2022-10-04T06:33:52.654" v="16936" actId="478"/>
          <ac:picMkLst>
            <pc:docMk/>
            <pc:sldMk cId="4113630632" sldId="312"/>
            <ac:picMk id="5" creationId="{B035A7E5-1FB6-461A-B438-59521ABC3848}"/>
          </ac:picMkLst>
        </pc:picChg>
        <pc:picChg chg="add del mod">
          <ac:chgData name="Kate Mun (KYOUNGRAN)" userId="d8a93241-9b9d-4c25-8457-87ffab4b96e2" providerId="ADAL" clId="{D0392E92-C1C8-4E77-96D0-D493DA4AC621}" dt="2022-10-05T01:30:55.964" v="18258" actId="21"/>
          <ac:picMkLst>
            <pc:docMk/>
            <pc:sldMk cId="4113630632" sldId="312"/>
            <ac:picMk id="5" creationId="{D261647F-503C-5A9E-66D9-8915F08ADB1B}"/>
          </ac:picMkLst>
        </pc:picChg>
        <pc:picChg chg="add del mod">
          <ac:chgData name="Kate Mun (KYOUNGRAN)" userId="d8a93241-9b9d-4c25-8457-87ffab4b96e2" providerId="ADAL" clId="{D0392E92-C1C8-4E77-96D0-D493DA4AC621}" dt="2022-10-04T06:33:48.690" v="16933" actId="22"/>
          <ac:picMkLst>
            <pc:docMk/>
            <pc:sldMk cId="4113630632" sldId="312"/>
            <ac:picMk id="7" creationId="{E2524CD4-0D3C-1705-78EC-CA6EC96BCAEA}"/>
          </ac:picMkLst>
        </pc:picChg>
        <pc:picChg chg="add mod">
          <ac:chgData name="Kate Mun (KYOUNGRAN)" userId="d8a93241-9b9d-4c25-8457-87ffab4b96e2" providerId="ADAL" clId="{D0392E92-C1C8-4E77-96D0-D493DA4AC621}" dt="2022-10-04T06:34:53.715" v="16951" actId="1076"/>
          <ac:picMkLst>
            <pc:docMk/>
            <pc:sldMk cId="4113630632" sldId="312"/>
            <ac:picMk id="9" creationId="{1F108E1F-9901-870A-0643-A0693AD0E5A7}"/>
          </ac:picMkLst>
        </pc:picChg>
      </pc:sldChg>
      <pc:sldChg chg="addSp delSp modSp add del mod modClrScheme chgLayout modNotesTx">
        <pc:chgData name="Kate Mun (KYOUNGRAN)" userId="d8a93241-9b9d-4c25-8457-87ffab4b96e2" providerId="ADAL" clId="{D0392E92-C1C8-4E77-96D0-D493DA4AC621}" dt="2022-10-04T06:08:46.578" v="16545" actId="2696"/>
        <pc:sldMkLst>
          <pc:docMk/>
          <pc:sldMk cId="1741908193" sldId="313"/>
        </pc:sldMkLst>
        <pc:spChg chg="add del mod ord">
          <ac:chgData name="Kate Mun (KYOUNGRAN)" userId="d8a93241-9b9d-4c25-8457-87ffab4b96e2" providerId="ADAL" clId="{D0392E92-C1C8-4E77-96D0-D493DA4AC621}" dt="2022-10-04T05:43:39.063" v="16451" actId="478"/>
          <ac:spMkLst>
            <pc:docMk/>
            <pc:sldMk cId="1741908193" sldId="313"/>
            <ac:spMk id="2" creationId="{0F45BC2C-C891-3905-969F-9C9FF0762E99}"/>
          </ac:spMkLst>
        </pc:spChg>
        <pc:spChg chg="mod ord">
          <ac:chgData name="Kate Mun (KYOUNGRAN)" userId="d8a93241-9b9d-4c25-8457-87ffab4b96e2" providerId="ADAL" clId="{D0392E92-C1C8-4E77-96D0-D493DA4AC621}" dt="2022-10-04T05:37:59.728" v="16328" actId="700"/>
          <ac:spMkLst>
            <pc:docMk/>
            <pc:sldMk cId="1741908193" sldId="313"/>
            <ac:spMk id="3" creationId="{879E9B72-C08D-4DA0-9A7E-FBD33DD8EB16}"/>
          </ac:spMkLst>
        </pc:spChg>
        <pc:spChg chg="add del mod ord">
          <ac:chgData name="Kate Mun (KYOUNGRAN)" userId="d8a93241-9b9d-4c25-8457-87ffab4b96e2" providerId="ADAL" clId="{D0392E92-C1C8-4E77-96D0-D493DA4AC621}" dt="2022-10-04T05:43:42.121" v="16453" actId="478"/>
          <ac:spMkLst>
            <pc:docMk/>
            <pc:sldMk cId="1741908193" sldId="313"/>
            <ac:spMk id="5" creationId="{A63940E8-B106-A2F6-58C1-5D48CD740C94}"/>
          </ac:spMkLst>
        </pc:spChg>
        <pc:picChg chg="mod">
          <ac:chgData name="Kate Mun (KYOUNGRAN)" userId="d8a93241-9b9d-4c25-8457-87ffab4b96e2" providerId="ADAL" clId="{D0392E92-C1C8-4E77-96D0-D493DA4AC621}" dt="2022-10-04T05:44:53.868" v="16502" actId="1076"/>
          <ac:picMkLst>
            <pc:docMk/>
            <pc:sldMk cId="1741908193" sldId="313"/>
            <ac:picMk id="4" creationId="{E26CA957-053B-4A8B-9673-BD78C0EF52F3}"/>
          </ac:picMkLst>
        </pc:picChg>
      </pc:sldChg>
      <pc:sldChg chg="addSp delSp modSp add del mod delAnim">
        <pc:chgData name="Kate Mun (KYOUNGRAN)" userId="d8a93241-9b9d-4c25-8457-87ffab4b96e2" providerId="ADAL" clId="{D0392E92-C1C8-4E77-96D0-D493DA4AC621}" dt="2022-10-05T01:30:45.543" v="18257" actId="47"/>
        <pc:sldMkLst>
          <pc:docMk/>
          <pc:sldMk cId="2443957916" sldId="313"/>
        </pc:sldMkLst>
        <pc:spChg chg="mod">
          <ac:chgData name="Kate Mun (KYOUNGRAN)" userId="d8a93241-9b9d-4c25-8457-87ffab4b96e2" providerId="ADAL" clId="{D0392E92-C1C8-4E77-96D0-D493DA4AC621}" dt="2022-10-04T06:22:11.010" v="16763" actId="20577"/>
          <ac:spMkLst>
            <pc:docMk/>
            <pc:sldMk cId="2443957916" sldId="313"/>
            <ac:spMk id="3" creationId="{879E9B72-C08D-4DA0-9A7E-FBD33DD8EB16}"/>
          </ac:spMkLst>
        </pc:spChg>
        <pc:spChg chg="add mod">
          <ac:chgData name="Kate Mun (KYOUNGRAN)" userId="d8a93241-9b9d-4c25-8457-87ffab4b96e2" providerId="ADAL" clId="{D0392E92-C1C8-4E77-96D0-D493DA4AC621}" dt="2022-10-04T06:40:41.436" v="16982" actId="1037"/>
          <ac:spMkLst>
            <pc:docMk/>
            <pc:sldMk cId="2443957916" sldId="313"/>
            <ac:spMk id="6" creationId="{F76A4DE5-7E37-2890-C31C-1C64C5E739C1}"/>
          </ac:spMkLst>
        </pc:spChg>
        <pc:spChg chg="add mod">
          <ac:chgData name="Kate Mun (KYOUNGRAN)" userId="d8a93241-9b9d-4c25-8457-87ffab4b96e2" providerId="ADAL" clId="{D0392E92-C1C8-4E77-96D0-D493DA4AC621}" dt="2022-10-04T06:40:55.607" v="16985" actId="14100"/>
          <ac:spMkLst>
            <pc:docMk/>
            <pc:sldMk cId="2443957916" sldId="313"/>
            <ac:spMk id="7" creationId="{6DCBFE30-C868-8C23-57B9-808F3474863F}"/>
          </ac:spMkLst>
        </pc:spChg>
        <pc:spChg chg="add mod">
          <ac:chgData name="Kate Mun (KYOUNGRAN)" userId="d8a93241-9b9d-4c25-8457-87ffab4b96e2" providerId="ADAL" clId="{D0392E92-C1C8-4E77-96D0-D493DA4AC621}" dt="2022-10-04T06:41:33.800" v="17007" actId="14100"/>
          <ac:spMkLst>
            <pc:docMk/>
            <pc:sldMk cId="2443957916" sldId="313"/>
            <ac:spMk id="8" creationId="{98482838-D751-6D2D-9477-6FDC980F981F}"/>
          </ac:spMkLst>
        </pc:spChg>
        <pc:spChg chg="add mod">
          <ac:chgData name="Kate Mun (KYOUNGRAN)" userId="d8a93241-9b9d-4c25-8457-87ffab4b96e2" providerId="ADAL" clId="{D0392E92-C1C8-4E77-96D0-D493DA4AC621}" dt="2022-10-04T07:04:50.084" v="18020" actId="20577"/>
          <ac:spMkLst>
            <pc:docMk/>
            <pc:sldMk cId="2443957916" sldId="313"/>
            <ac:spMk id="10" creationId="{253E5578-4018-DCCC-7572-1B73D121B5E8}"/>
          </ac:spMkLst>
        </pc:spChg>
        <pc:grpChg chg="add mod">
          <ac:chgData name="Kate Mun (KYOUNGRAN)" userId="d8a93241-9b9d-4c25-8457-87ffab4b96e2" providerId="ADAL" clId="{D0392E92-C1C8-4E77-96D0-D493DA4AC621}" dt="2022-10-04T07:04:28.318" v="17953" actId="1076"/>
          <ac:grpSpMkLst>
            <pc:docMk/>
            <pc:sldMk cId="2443957916" sldId="313"/>
            <ac:grpSpMk id="9" creationId="{975EA13D-22F9-BE6C-9AF5-95FC392DC52E}"/>
          </ac:grpSpMkLst>
        </pc:grpChg>
        <pc:picChg chg="del">
          <ac:chgData name="Kate Mun (KYOUNGRAN)" userId="d8a93241-9b9d-4c25-8457-87ffab4b96e2" providerId="ADAL" clId="{D0392E92-C1C8-4E77-96D0-D493DA4AC621}" dt="2022-10-04T06:37:07.875" v="16967" actId="478"/>
          <ac:picMkLst>
            <pc:docMk/>
            <pc:sldMk cId="2443957916" sldId="313"/>
            <ac:picMk id="4" creationId="{E26CA957-053B-4A8B-9673-BD78C0EF52F3}"/>
          </ac:picMkLst>
        </pc:picChg>
        <pc:picChg chg="add mod">
          <ac:chgData name="Kate Mun (KYOUNGRAN)" userId="d8a93241-9b9d-4c25-8457-87ffab4b96e2" providerId="ADAL" clId="{D0392E92-C1C8-4E77-96D0-D493DA4AC621}" dt="2022-10-04T06:47:23.496" v="17021" actId="1076"/>
          <ac:picMkLst>
            <pc:docMk/>
            <pc:sldMk cId="2443957916" sldId="313"/>
            <ac:picMk id="5" creationId="{53F4B2B4-BD86-C6E6-6CFC-E6874B446085}"/>
          </ac:picMkLst>
        </pc:picChg>
      </pc:sldChg>
      <pc:sldChg chg="addSp delSp modSp add mod delAnim chgLayout">
        <pc:chgData name="Kate Mun (KYOUNGRAN)" userId="d8a93241-9b9d-4c25-8457-87ffab4b96e2" providerId="ADAL" clId="{D0392E92-C1C8-4E77-96D0-D493DA4AC621}" dt="2022-10-19T04:00:22.299" v="32462" actId="255"/>
        <pc:sldMkLst>
          <pc:docMk/>
          <pc:sldMk cId="541839121" sldId="314"/>
        </pc:sldMkLst>
        <pc:spChg chg="mod ord">
          <ac:chgData name="Kate Mun (KYOUNGRAN)" userId="d8a93241-9b9d-4c25-8457-87ffab4b96e2" providerId="ADAL" clId="{D0392E92-C1C8-4E77-96D0-D493DA4AC621}" dt="2022-10-19T04:00:22.299" v="32462" actId="255"/>
          <ac:spMkLst>
            <pc:docMk/>
            <pc:sldMk cId="541839121" sldId="314"/>
            <ac:spMk id="2" creationId="{6698F01E-9D1D-4099-A8E7-82171951BFAC}"/>
          </ac:spMkLst>
        </pc:spChg>
        <pc:spChg chg="del mod ord">
          <ac:chgData name="Kate Mun (KYOUNGRAN)" userId="d8a93241-9b9d-4c25-8457-87ffab4b96e2" providerId="ADAL" clId="{D0392E92-C1C8-4E77-96D0-D493DA4AC621}" dt="2022-10-19T02:44:32.965" v="32286" actId="478"/>
          <ac:spMkLst>
            <pc:docMk/>
            <pc:sldMk cId="541839121" sldId="314"/>
            <ac:spMk id="3" creationId="{879E9B72-C08D-4DA0-9A7E-FBD33DD8EB16}"/>
          </ac:spMkLst>
        </pc:spChg>
        <pc:spChg chg="add del mod">
          <ac:chgData name="Kate Mun (KYOUNGRAN)" userId="d8a93241-9b9d-4c25-8457-87ffab4b96e2" providerId="ADAL" clId="{D0392E92-C1C8-4E77-96D0-D493DA4AC621}" dt="2022-10-19T02:44:30.474" v="32285"/>
          <ac:spMkLst>
            <pc:docMk/>
            <pc:sldMk cId="541839121" sldId="314"/>
            <ac:spMk id="4" creationId="{3768036D-FBDE-CB08-94ED-3F284F195A38}"/>
          </ac:spMkLst>
        </pc:spChg>
        <pc:spChg chg="add mod">
          <ac:chgData name="Kate Mun (KYOUNGRAN)" userId="d8a93241-9b9d-4c25-8457-87ffab4b96e2" providerId="ADAL" clId="{D0392E92-C1C8-4E77-96D0-D493DA4AC621}" dt="2022-10-04T06:46:59.435" v="17018" actId="14100"/>
          <ac:spMkLst>
            <pc:docMk/>
            <pc:sldMk cId="541839121" sldId="314"/>
            <ac:spMk id="8" creationId="{513759AA-4F31-A13A-46F3-E648C1115C62}"/>
          </ac:spMkLst>
        </pc:spChg>
        <pc:spChg chg="add del mod">
          <ac:chgData name="Kate Mun (KYOUNGRAN)" userId="d8a93241-9b9d-4c25-8457-87ffab4b96e2" providerId="ADAL" clId="{D0392E92-C1C8-4E77-96D0-D493DA4AC621}" dt="2022-10-19T02:44:43.197" v="32288" actId="478"/>
          <ac:spMkLst>
            <pc:docMk/>
            <pc:sldMk cId="541839121" sldId="314"/>
            <ac:spMk id="10" creationId="{8E50CB1C-48A5-B924-DFF9-DCB68FF2B3A2}"/>
          </ac:spMkLst>
        </pc:spChg>
        <pc:spChg chg="add del mod">
          <ac:chgData name="Kate Mun (KYOUNGRAN)" userId="d8a93241-9b9d-4c25-8457-87ffab4b96e2" providerId="ADAL" clId="{D0392E92-C1C8-4E77-96D0-D493DA4AC621}" dt="2022-10-19T02:44:53.372" v="32291" actId="478"/>
          <ac:spMkLst>
            <pc:docMk/>
            <pc:sldMk cId="541839121" sldId="314"/>
            <ac:spMk id="12" creationId="{D793E170-0CBC-DADD-43D4-9381B0B61EE8}"/>
          </ac:spMkLst>
        </pc:spChg>
        <pc:spChg chg="add mod">
          <ac:chgData name="Kate Mun (KYOUNGRAN)" userId="d8a93241-9b9d-4c25-8457-87ffab4b96e2" providerId="ADAL" clId="{D0392E92-C1C8-4E77-96D0-D493DA4AC621}" dt="2022-10-19T02:45:03.832" v="32303" actId="20577"/>
          <ac:spMkLst>
            <pc:docMk/>
            <pc:sldMk cId="541839121" sldId="314"/>
            <ac:spMk id="13" creationId="{71484934-CAB9-BF17-B246-3CACF7178BAB}"/>
          </ac:spMkLst>
        </pc:spChg>
        <pc:grpChg chg="add mod">
          <ac:chgData name="Kate Mun (KYOUNGRAN)" userId="d8a93241-9b9d-4c25-8457-87ffab4b96e2" providerId="ADAL" clId="{D0392E92-C1C8-4E77-96D0-D493DA4AC621}" dt="2022-10-05T04:15:36.738" v="19972" actId="1076"/>
          <ac:grpSpMkLst>
            <pc:docMk/>
            <pc:sldMk cId="541839121" sldId="314"/>
            <ac:grpSpMk id="9" creationId="{159C9F20-2EE7-06AD-C585-17147173CC28}"/>
          </ac:grpSpMkLst>
        </pc:grpChg>
        <pc:graphicFrameChg chg="del">
          <ac:chgData name="Kate Mun (KYOUNGRAN)" userId="d8a93241-9b9d-4c25-8457-87ffab4b96e2" providerId="ADAL" clId="{D0392E92-C1C8-4E77-96D0-D493DA4AC621}" dt="2022-10-04T06:41:47.578" v="17010" actId="478"/>
          <ac:graphicFrameMkLst>
            <pc:docMk/>
            <pc:sldMk cId="541839121" sldId="314"/>
            <ac:graphicFrameMk id="5" creationId="{428FF527-ED7F-4C1C-8354-5371B61BF074}"/>
          </ac:graphicFrameMkLst>
        </pc:graphicFrameChg>
        <pc:picChg chg="add del">
          <ac:chgData name="Kate Mun (KYOUNGRAN)" userId="d8a93241-9b9d-4c25-8457-87ffab4b96e2" providerId="ADAL" clId="{D0392E92-C1C8-4E77-96D0-D493DA4AC621}" dt="2022-10-05T03:57:31.576" v="19038" actId="478"/>
          <ac:picMkLst>
            <pc:docMk/>
            <pc:sldMk cId="541839121" sldId="314"/>
            <ac:picMk id="5" creationId="{A89CBEB7-3469-3BB1-00AA-65144D8C71B5}"/>
          </ac:picMkLst>
        </pc:picChg>
        <pc:picChg chg="mod">
          <ac:chgData name="Kate Mun (KYOUNGRAN)" userId="d8a93241-9b9d-4c25-8457-87ffab4b96e2" providerId="ADAL" clId="{D0392E92-C1C8-4E77-96D0-D493DA4AC621}" dt="2022-10-05T04:15:36.738" v="19972" actId="1076"/>
          <ac:picMkLst>
            <pc:docMk/>
            <pc:sldMk cId="541839121" sldId="314"/>
            <ac:picMk id="6" creationId="{104D74FF-9EB7-4C0B-8919-DBA23DD09394}"/>
          </ac:picMkLst>
        </pc:picChg>
        <pc:picChg chg="add mod">
          <ac:chgData name="Kate Mun (KYOUNGRAN)" userId="d8a93241-9b9d-4c25-8457-87ffab4b96e2" providerId="ADAL" clId="{D0392E92-C1C8-4E77-96D0-D493DA4AC621}" dt="2022-10-04T06:46:38.575" v="17014" actId="208"/>
          <ac:picMkLst>
            <pc:docMk/>
            <pc:sldMk cId="541839121" sldId="314"/>
            <ac:picMk id="7" creationId="{54AC3256-1F42-9D99-0873-52EFDCC9A4D3}"/>
          </ac:picMkLst>
        </pc:picChg>
        <pc:picChg chg="add mod">
          <ac:chgData name="Kate Mun (KYOUNGRAN)" userId="d8a93241-9b9d-4c25-8457-87ffab4b96e2" providerId="ADAL" clId="{D0392E92-C1C8-4E77-96D0-D493DA4AC621}" dt="2022-10-05T04:05:22.664" v="19239" actId="1076"/>
          <ac:picMkLst>
            <pc:docMk/>
            <pc:sldMk cId="541839121" sldId="314"/>
            <ac:picMk id="11" creationId="{EE28E1F3-54FF-635C-8A4A-3AEA42B8AE3E}"/>
          </ac:picMkLst>
        </pc:picChg>
      </pc:sldChg>
      <pc:sldChg chg="addSp delSp modSp add del mod modClrScheme chgLayout modNotesTx">
        <pc:chgData name="Kate Mun (KYOUNGRAN)" userId="d8a93241-9b9d-4c25-8457-87ffab4b96e2" providerId="ADAL" clId="{D0392E92-C1C8-4E77-96D0-D493DA4AC621}" dt="2022-10-04T06:08:46.578" v="16545" actId="2696"/>
        <pc:sldMkLst>
          <pc:docMk/>
          <pc:sldMk cId="1186673085" sldId="314"/>
        </pc:sldMkLst>
        <pc:spChg chg="mod ord">
          <ac:chgData name="Kate Mun (KYOUNGRAN)" userId="d8a93241-9b9d-4c25-8457-87ffab4b96e2" providerId="ADAL" clId="{D0392E92-C1C8-4E77-96D0-D493DA4AC621}" dt="2022-10-04T05:43:58.434" v="16455" actId="14100"/>
          <ac:spMkLst>
            <pc:docMk/>
            <pc:sldMk cId="1186673085" sldId="314"/>
            <ac:spMk id="2" creationId="{6698F01E-9D1D-4099-A8E7-82171951BFAC}"/>
          </ac:spMkLst>
        </pc:spChg>
        <pc:spChg chg="mod ord">
          <ac:chgData name="Kate Mun (KYOUNGRAN)" userId="d8a93241-9b9d-4c25-8457-87ffab4b96e2" providerId="ADAL" clId="{D0392E92-C1C8-4E77-96D0-D493DA4AC621}" dt="2022-10-04T05:37:59.728" v="16328" actId="700"/>
          <ac:spMkLst>
            <pc:docMk/>
            <pc:sldMk cId="1186673085" sldId="314"/>
            <ac:spMk id="3" creationId="{879E9B72-C08D-4DA0-9A7E-FBD33DD8EB16}"/>
          </ac:spMkLst>
        </pc:spChg>
        <pc:spChg chg="add del mod ord">
          <ac:chgData name="Kate Mun (KYOUNGRAN)" userId="d8a93241-9b9d-4c25-8457-87ffab4b96e2" providerId="ADAL" clId="{D0392E92-C1C8-4E77-96D0-D493DA4AC621}" dt="2022-10-04T05:43:52.687" v="16454" actId="478"/>
          <ac:spMkLst>
            <pc:docMk/>
            <pc:sldMk cId="1186673085" sldId="314"/>
            <ac:spMk id="4" creationId="{8F03BEC1-7B44-C339-4B15-A6EDB939302C}"/>
          </ac:spMkLst>
        </pc:spChg>
        <pc:graphicFrameChg chg="mod">
          <ac:chgData name="Kate Mun (KYOUNGRAN)" userId="d8a93241-9b9d-4c25-8457-87ffab4b96e2" providerId="ADAL" clId="{D0392E92-C1C8-4E77-96D0-D493DA4AC621}" dt="2022-10-04T05:44:36.655" v="16499" actId="1036"/>
          <ac:graphicFrameMkLst>
            <pc:docMk/>
            <pc:sldMk cId="1186673085" sldId="314"/>
            <ac:graphicFrameMk id="5" creationId="{428FF527-ED7F-4C1C-8354-5371B61BF074}"/>
          </ac:graphicFrameMkLst>
        </pc:graphicFrameChg>
        <pc:picChg chg="mod">
          <ac:chgData name="Kate Mun (KYOUNGRAN)" userId="d8a93241-9b9d-4c25-8457-87ffab4b96e2" providerId="ADAL" clId="{D0392E92-C1C8-4E77-96D0-D493DA4AC621}" dt="2022-10-04T05:44:36.655" v="16499" actId="1036"/>
          <ac:picMkLst>
            <pc:docMk/>
            <pc:sldMk cId="1186673085" sldId="314"/>
            <ac:picMk id="6" creationId="{104D74FF-9EB7-4C0B-8919-DBA23DD09394}"/>
          </ac:picMkLst>
        </pc:picChg>
      </pc:sldChg>
      <pc:sldChg chg="addSp delSp modSp add mod delAnim chgLayout">
        <pc:chgData name="Kate Mun (KYOUNGRAN)" userId="d8a93241-9b9d-4c25-8457-87ffab4b96e2" providerId="ADAL" clId="{D0392E92-C1C8-4E77-96D0-D493DA4AC621}" dt="2022-10-19T04:00:46.468" v="32469" actId="12"/>
        <pc:sldMkLst>
          <pc:docMk/>
          <pc:sldMk cId="2805749851" sldId="315"/>
        </pc:sldMkLst>
        <pc:spChg chg="del">
          <ac:chgData name="Kate Mun (KYOUNGRAN)" userId="d8a93241-9b9d-4c25-8457-87ffab4b96e2" providerId="ADAL" clId="{D0392E92-C1C8-4E77-96D0-D493DA4AC621}" dt="2022-10-05T04:09:58.379" v="19415" actId="478"/>
          <ac:spMkLst>
            <pc:docMk/>
            <pc:sldMk cId="2805749851" sldId="315"/>
            <ac:spMk id="2" creationId="{6698F01E-9D1D-4099-A8E7-82171951BFAC}"/>
          </ac:spMkLst>
        </pc:spChg>
        <pc:spChg chg="del mod ord">
          <ac:chgData name="Kate Mun (KYOUNGRAN)" userId="d8a93241-9b9d-4c25-8457-87ffab4b96e2" providerId="ADAL" clId="{D0392E92-C1C8-4E77-96D0-D493DA4AC621}" dt="2022-10-19T02:45:19.505" v="32304" actId="478"/>
          <ac:spMkLst>
            <pc:docMk/>
            <pc:sldMk cId="2805749851" sldId="315"/>
            <ac:spMk id="3" creationId="{879E9B72-C08D-4DA0-9A7E-FBD33DD8EB16}"/>
          </ac:spMkLst>
        </pc:spChg>
        <pc:spChg chg="add del mod">
          <ac:chgData name="Kate Mun (KYOUNGRAN)" userId="d8a93241-9b9d-4c25-8457-87ffab4b96e2" providerId="ADAL" clId="{D0392E92-C1C8-4E77-96D0-D493DA4AC621}" dt="2022-10-19T02:45:24.684" v="32305" actId="478"/>
          <ac:spMkLst>
            <pc:docMk/>
            <pc:sldMk cId="2805749851" sldId="315"/>
            <ac:spMk id="4" creationId="{CDC2B884-D60D-49A1-698F-2593F381E4C2}"/>
          </ac:spMkLst>
        </pc:spChg>
        <pc:spChg chg="add mod">
          <ac:chgData name="Kate Mun (KYOUNGRAN)" userId="d8a93241-9b9d-4c25-8457-87ffab4b96e2" providerId="ADAL" clId="{D0392E92-C1C8-4E77-96D0-D493DA4AC621}" dt="2022-10-19T02:45:30.400" v="32316" actId="20577"/>
          <ac:spMkLst>
            <pc:docMk/>
            <pc:sldMk cId="2805749851" sldId="315"/>
            <ac:spMk id="5" creationId="{5EB131C7-589B-E844-FF50-BD74BBFE3D12}"/>
          </ac:spMkLst>
        </pc:spChg>
        <pc:spChg chg="add del mod">
          <ac:chgData name="Kate Mun (KYOUNGRAN)" userId="d8a93241-9b9d-4c25-8457-87ffab4b96e2" providerId="ADAL" clId="{D0392E92-C1C8-4E77-96D0-D493DA4AC621}" dt="2022-10-05T04:10:16.828" v="19420" actId="478"/>
          <ac:spMkLst>
            <pc:docMk/>
            <pc:sldMk cId="2805749851" sldId="315"/>
            <ac:spMk id="5" creationId="{72693B86-2FD6-FDDC-CA9B-446A991183C7}"/>
          </ac:spMkLst>
        </pc:spChg>
        <pc:spChg chg="add del mod">
          <ac:chgData name="Kate Mun (KYOUNGRAN)" userId="d8a93241-9b9d-4c25-8457-87ffab4b96e2" providerId="ADAL" clId="{D0392E92-C1C8-4E77-96D0-D493DA4AC621}" dt="2022-10-05T04:10:01.167" v="19416" actId="478"/>
          <ac:spMkLst>
            <pc:docMk/>
            <pc:sldMk cId="2805749851" sldId="315"/>
            <ac:spMk id="8" creationId="{40FEC1B6-0362-6689-41C4-2CC5F589564F}"/>
          </ac:spMkLst>
        </pc:spChg>
        <pc:spChg chg="add mod ord">
          <ac:chgData name="Kate Mun (KYOUNGRAN)" userId="d8a93241-9b9d-4c25-8457-87ffab4b96e2" providerId="ADAL" clId="{D0392E92-C1C8-4E77-96D0-D493DA4AC621}" dt="2022-10-19T04:00:46.468" v="32469" actId="12"/>
          <ac:spMkLst>
            <pc:docMk/>
            <pc:sldMk cId="2805749851" sldId="315"/>
            <ac:spMk id="10" creationId="{C7E46071-8C38-F1EF-AE19-E8FD55854E99}"/>
          </ac:spMkLst>
        </pc:spChg>
        <pc:picChg chg="del">
          <ac:chgData name="Kate Mun (KYOUNGRAN)" userId="d8a93241-9b9d-4c25-8457-87ffab4b96e2" providerId="ADAL" clId="{D0392E92-C1C8-4E77-96D0-D493DA4AC621}" dt="2022-10-04T06:48:14.344" v="17025" actId="478"/>
          <ac:picMkLst>
            <pc:docMk/>
            <pc:sldMk cId="2805749851" sldId="315"/>
            <ac:picMk id="4" creationId="{667FED20-59D0-43AA-8ECA-8170E4E81266}"/>
          </ac:picMkLst>
        </pc:picChg>
        <pc:picChg chg="add del mod">
          <ac:chgData name="Kate Mun (KYOUNGRAN)" userId="d8a93241-9b9d-4c25-8457-87ffab4b96e2" providerId="ADAL" clId="{D0392E92-C1C8-4E77-96D0-D493DA4AC621}" dt="2022-10-04T06:52:39.388" v="17107" actId="478"/>
          <ac:picMkLst>
            <pc:docMk/>
            <pc:sldMk cId="2805749851" sldId="315"/>
            <ac:picMk id="6" creationId="{F6D03BAD-BBF7-007D-080F-5009BF229990}"/>
          </ac:picMkLst>
        </pc:picChg>
        <pc:picChg chg="mod">
          <ac:chgData name="Kate Mun (KYOUNGRAN)" userId="d8a93241-9b9d-4c25-8457-87ffab4b96e2" providerId="ADAL" clId="{D0392E92-C1C8-4E77-96D0-D493DA4AC621}" dt="2022-10-05T04:15:29.169" v="19971" actId="1076"/>
          <ac:picMkLst>
            <pc:docMk/>
            <pc:sldMk cId="2805749851" sldId="315"/>
            <ac:picMk id="7" creationId="{66A130B7-58BF-4510-8F11-ABE5FD0B9382}"/>
          </ac:picMkLst>
        </pc:picChg>
        <pc:picChg chg="add mod">
          <ac:chgData name="Kate Mun (KYOUNGRAN)" userId="d8a93241-9b9d-4c25-8457-87ffab4b96e2" providerId="ADAL" clId="{D0392E92-C1C8-4E77-96D0-D493DA4AC621}" dt="2022-10-05T04:15:29.169" v="19971" actId="1076"/>
          <ac:picMkLst>
            <pc:docMk/>
            <pc:sldMk cId="2805749851" sldId="315"/>
            <ac:picMk id="9" creationId="{832E1878-B67F-3B71-D3F5-42D45DF7FF25}"/>
          </ac:picMkLst>
        </pc:picChg>
      </pc:sldChg>
      <pc:sldChg chg="addSp delSp modSp add del mod modClrScheme chgLayout modNotesTx">
        <pc:chgData name="Kate Mun (KYOUNGRAN)" userId="d8a93241-9b9d-4c25-8457-87ffab4b96e2" providerId="ADAL" clId="{D0392E92-C1C8-4E77-96D0-D493DA4AC621}" dt="2022-10-04T06:08:46.578" v="16545" actId="2696"/>
        <pc:sldMkLst>
          <pc:docMk/>
          <pc:sldMk cId="3684185187" sldId="315"/>
        </pc:sldMkLst>
        <pc:spChg chg="mod ord">
          <ac:chgData name="Kate Mun (KYOUNGRAN)" userId="d8a93241-9b9d-4c25-8457-87ffab4b96e2" providerId="ADAL" clId="{D0392E92-C1C8-4E77-96D0-D493DA4AC621}" dt="2022-10-04T05:44:24.257" v="16460" actId="14100"/>
          <ac:spMkLst>
            <pc:docMk/>
            <pc:sldMk cId="3684185187" sldId="315"/>
            <ac:spMk id="2" creationId="{6698F01E-9D1D-4099-A8E7-82171951BFAC}"/>
          </ac:spMkLst>
        </pc:spChg>
        <pc:spChg chg="mod ord">
          <ac:chgData name="Kate Mun (KYOUNGRAN)" userId="d8a93241-9b9d-4c25-8457-87ffab4b96e2" providerId="ADAL" clId="{D0392E92-C1C8-4E77-96D0-D493DA4AC621}" dt="2022-10-04T05:37:59.728" v="16328" actId="700"/>
          <ac:spMkLst>
            <pc:docMk/>
            <pc:sldMk cId="3684185187" sldId="315"/>
            <ac:spMk id="3" creationId="{879E9B72-C08D-4DA0-9A7E-FBD33DD8EB16}"/>
          </ac:spMkLst>
        </pc:spChg>
        <pc:spChg chg="add del mod ord">
          <ac:chgData name="Kate Mun (KYOUNGRAN)" userId="d8a93241-9b9d-4c25-8457-87ffab4b96e2" providerId="ADAL" clId="{D0392E92-C1C8-4E77-96D0-D493DA4AC621}" dt="2022-10-04T05:44:20.501" v="16459" actId="478"/>
          <ac:spMkLst>
            <pc:docMk/>
            <pc:sldMk cId="3684185187" sldId="315"/>
            <ac:spMk id="5" creationId="{DC3BB0FA-C40E-BB68-E784-8D1969751DB6}"/>
          </ac:spMkLst>
        </pc:spChg>
        <pc:picChg chg="mod">
          <ac:chgData name="Kate Mun (KYOUNGRAN)" userId="d8a93241-9b9d-4c25-8457-87ffab4b96e2" providerId="ADAL" clId="{D0392E92-C1C8-4E77-96D0-D493DA4AC621}" dt="2022-10-04T05:44:28.964" v="16483" actId="1036"/>
          <ac:picMkLst>
            <pc:docMk/>
            <pc:sldMk cId="3684185187" sldId="315"/>
            <ac:picMk id="4" creationId="{667FED20-59D0-43AA-8ECA-8170E4E81266}"/>
          </ac:picMkLst>
        </pc:picChg>
        <pc:picChg chg="mod">
          <ac:chgData name="Kate Mun (KYOUNGRAN)" userId="d8a93241-9b9d-4c25-8457-87ffab4b96e2" providerId="ADAL" clId="{D0392E92-C1C8-4E77-96D0-D493DA4AC621}" dt="2022-10-04T05:44:28.964" v="16483" actId="1036"/>
          <ac:picMkLst>
            <pc:docMk/>
            <pc:sldMk cId="3684185187" sldId="315"/>
            <ac:picMk id="7" creationId="{66A130B7-58BF-4510-8F11-ABE5FD0B9382}"/>
          </ac:picMkLst>
        </pc:picChg>
      </pc:sldChg>
      <pc:sldChg chg="addSp delSp modSp add del mod modTransition modClrScheme chgLayout">
        <pc:chgData name="Kate Mun (KYOUNGRAN)" userId="d8a93241-9b9d-4c25-8457-87ffab4b96e2" providerId="ADAL" clId="{D0392E92-C1C8-4E77-96D0-D493DA4AC621}" dt="2022-10-04T06:07:46.310" v="16516" actId="2696"/>
        <pc:sldMkLst>
          <pc:docMk/>
          <pc:sldMk cId="1397059320" sldId="316"/>
        </pc:sldMkLst>
        <pc:spChg chg="add del mod ord">
          <ac:chgData name="Kate Mun (KYOUNGRAN)" userId="d8a93241-9b9d-4c25-8457-87ffab4b96e2" providerId="ADAL" clId="{D0392E92-C1C8-4E77-96D0-D493DA4AC621}" dt="2022-10-04T05:45:02.195" v="16504" actId="478"/>
          <ac:spMkLst>
            <pc:docMk/>
            <pc:sldMk cId="1397059320" sldId="316"/>
            <ac:spMk id="2" creationId="{0EB1D726-E4A1-55E6-7BD8-6C282B3E1357}"/>
          </ac:spMkLst>
        </pc:spChg>
        <pc:spChg chg="mod ord">
          <ac:chgData name="Kate Mun (KYOUNGRAN)" userId="d8a93241-9b9d-4c25-8457-87ffab4b96e2" providerId="ADAL" clId="{D0392E92-C1C8-4E77-96D0-D493DA4AC621}" dt="2022-10-04T05:37:59.728" v="16328" actId="700"/>
          <ac:spMkLst>
            <pc:docMk/>
            <pc:sldMk cId="1397059320" sldId="316"/>
            <ac:spMk id="3" creationId="{773DFB89-E6DE-4E57-B8D7-8600A2444E79}"/>
          </ac:spMkLst>
        </pc:spChg>
        <pc:spChg chg="add del mod ord">
          <ac:chgData name="Kate Mun (KYOUNGRAN)" userId="d8a93241-9b9d-4c25-8457-87ffab4b96e2" providerId="ADAL" clId="{D0392E92-C1C8-4E77-96D0-D493DA4AC621}" dt="2022-10-04T05:45:05.671" v="16505" actId="478"/>
          <ac:spMkLst>
            <pc:docMk/>
            <pc:sldMk cId="1397059320" sldId="316"/>
            <ac:spMk id="5" creationId="{1F016265-EA2A-2B82-DFA7-B47D28BBEFB1}"/>
          </ac:spMkLst>
        </pc:spChg>
        <pc:graphicFrameChg chg="mod modGraphic">
          <ac:chgData name="Kate Mun (KYOUNGRAN)" userId="d8a93241-9b9d-4c25-8457-87ffab4b96e2" providerId="ADAL" clId="{D0392E92-C1C8-4E77-96D0-D493DA4AC621}" dt="2022-10-04T05:47:01.177" v="16509" actId="20577"/>
          <ac:graphicFrameMkLst>
            <pc:docMk/>
            <pc:sldMk cId="1397059320" sldId="316"/>
            <ac:graphicFrameMk id="4" creationId="{6EA2B852-2486-460C-A542-199CDA30CADB}"/>
          </ac:graphicFrameMkLst>
        </pc:graphicFrameChg>
      </pc:sldChg>
      <pc:sldChg chg="addSp delSp modSp add mod chgLayout modNotesTx">
        <pc:chgData name="Kate Mun (KYOUNGRAN)" userId="d8a93241-9b9d-4c25-8457-87ffab4b96e2" providerId="ADAL" clId="{D0392E92-C1C8-4E77-96D0-D493DA4AC621}" dt="2022-10-19T02:46:15.732" v="32330"/>
        <pc:sldMkLst>
          <pc:docMk/>
          <pc:sldMk cId="3931306637" sldId="316"/>
        </pc:sldMkLst>
        <pc:spChg chg="add mod ord">
          <ac:chgData name="Kate Mun (KYOUNGRAN)" userId="d8a93241-9b9d-4c25-8457-87ffab4b96e2" providerId="ADAL" clId="{D0392E92-C1C8-4E77-96D0-D493DA4AC621}" dt="2022-10-19T01:35:11.944" v="31216" actId="700"/>
          <ac:spMkLst>
            <pc:docMk/>
            <pc:sldMk cId="3931306637" sldId="316"/>
            <ac:spMk id="2" creationId="{AA173297-ABDF-C646-112E-48D72311C46C}"/>
          </ac:spMkLst>
        </pc:spChg>
        <pc:spChg chg="del mod ord">
          <ac:chgData name="Kate Mun (KYOUNGRAN)" userId="d8a93241-9b9d-4c25-8457-87ffab4b96e2" providerId="ADAL" clId="{D0392E92-C1C8-4E77-96D0-D493DA4AC621}" dt="2022-10-19T02:45:52.132" v="32323" actId="478"/>
          <ac:spMkLst>
            <pc:docMk/>
            <pc:sldMk cId="3931306637" sldId="316"/>
            <ac:spMk id="3" creationId="{773DFB89-E6DE-4E57-B8D7-8600A2444E79}"/>
          </ac:spMkLst>
        </pc:spChg>
        <pc:spChg chg="add del mod">
          <ac:chgData name="Kate Mun (KYOUNGRAN)" userId="d8a93241-9b9d-4c25-8457-87ffab4b96e2" providerId="ADAL" clId="{D0392E92-C1C8-4E77-96D0-D493DA4AC621}" dt="2022-10-19T02:45:58.299" v="32325" actId="478"/>
          <ac:spMkLst>
            <pc:docMk/>
            <pc:sldMk cId="3931306637" sldId="316"/>
            <ac:spMk id="6" creationId="{5717422D-B043-983D-9366-C11784E332C6}"/>
          </ac:spMkLst>
        </pc:spChg>
        <pc:spChg chg="add del mod">
          <ac:chgData name="Kate Mun (KYOUNGRAN)" userId="d8a93241-9b9d-4c25-8457-87ffab4b96e2" providerId="ADAL" clId="{D0392E92-C1C8-4E77-96D0-D493DA4AC621}" dt="2022-10-19T02:46:01.529" v="32326" actId="478"/>
          <ac:spMkLst>
            <pc:docMk/>
            <pc:sldMk cId="3931306637" sldId="316"/>
            <ac:spMk id="7" creationId="{268978D0-0BE5-1B57-50D0-EA408124BF1A}"/>
          </ac:spMkLst>
        </pc:spChg>
        <pc:spChg chg="add del mod">
          <ac:chgData name="Kate Mun (KYOUNGRAN)" userId="d8a93241-9b9d-4c25-8457-87ffab4b96e2" providerId="ADAL" clId="{D0392E92-C1C8-4E77-96D0-D493DA4AC621}" dt="2022-10-19T02:46:07.481" v="32328" actId="478"/>
          <ac:spMkLst>
            <pc:docMk/>
            <pc:sldMk cId="3931306637" sldId="316"/>
            <ac:spMk id="8" creationId="{39C5F503-A683-2EE3-6CD7-9B2395350EFE}"/>
          </ac:spMkLst>
        </pc:spChg>
        <pc:spChg chg="add del mod">
          <ac:chgData name="Kate Mun (KYOUNGRAN)" userId="d8a93241-9b9d-4c25-8457-87ffab4b96e2" providerId="ADAL" clId="{D0392E92-C1C8-4E77-96D0-D493DA4AC621}" dt="2022-10-19T02:46:10.279" v="32329" actId="478"/>
          <ac:spMkLst>
            <pc:docMk/>
            <pc:sldMk cId="3931306637" sldId="316"/>
            <ac:spMk id="10" creationId="{6B466754-5D8F-F7D2-E0D9-AF81A0AC379C}"/>
          </ac:spMkLst>
        </pc:spChg>
        <pc:spChg chg="add mod">
          <ac:chgData name="Kate Mun (KYOUNGRAN)" userId="d8a93241-9b9d-4c25-8457-87ffab4b96e2" providerId="ADAL" clId="{D0392E92-C1C8-4E77-96D0-D493DA4AC621}" dt="2022-10-19T02:46:15.732" v="32330"/>
          <ac:spMkLst>
            <pc:docMk/>
            <pc:sldMk cId="3931306637" sldId="316"/>
            <ac:spMk id="11" creationId="{907A99A3-C621-B1E4-E718-D88574589CB1}"/>
          </ac:spMkLst>
        </pc:spChg>
        <pc:graphicFrameChg chg="mod modGraphic">
          <ac:chgData name="Kate Mun (KYOUNGRAN)" userId="d8a93241-9b9d-4c25-8457-87ffab4b96e2" providerId="ADAL" clId="{D0392E92-C1C8-4E77-96D0-D493DA4AC621}" dt="2022-10-04T07:02:26.450" v="17856" actId="20577"/>
          <ac:graphicFrameMkLst>
            <pc:docMk/>
            <pc:sldMk cId="3931306637" sldId="316"/>
            <ac:graphicFrameMk id="4" creationId="{6EA2B852-2486-460C-A542-199CDA30CADB}"/>
          </ac:graphicFrameMkLst>
        </pc:graphicFrameChg>
      </pc:sldChg>
      <pc:sldChg chg="delSp modSp add mod modShow chgLayout">
        <pc:chgData name="Kate Mun (KYOUNGRAN)" userId="d8a93241-9b9d-4c25-8457-87ffab4b96e2" providerId="ADAL" clId="{D0392E92-C1C8-4E77-96D0-D493DA4AC621}" dt="2022-10-19T04:07:57.300" v="32569" actId="255"/>
        <pc:sldMkLst>
          <pc:docMk/>
          <pc:sldMk cId="2418733126" sldId="317"/>
        </pc:sldMkLst>
        <pc:spChg chg="mod ord">
          <ac:chgData name="Kate Mun (KYOUNGRAN)" userId="d8a93241-9b9d-4c25-8457-87ffab4b96e2" providerId="ADAL" clId="{D0392E92-C1C8-4E77-96D0-D493DA4AC621}" dt="2022-10-19T04:07:57.300" v="32569" actId="255"/>
          <ac:spMkLst>
            <pc:docMk/>
            <pc:sldMk cId="2418733126" sldId="317"/>
            <ac:spMk id="2" creationId="{942B1DA8-4621-4E22-AF9E-E4E7427FE316}"/>
          </ac:spMkLst>
        </pc:spChg>
        <pc:spChg chg="mod ord">
          <ac:chgData name="Kate Mun (KYOUNGRAN)" userId="d8a93241-9b9d-4c25-8457-87ffab4b96e2" providerId="ADAL" clId="{D0392E92-C1C8-4E77-96D0-D493DA4AC621}" dt="2022-10-19T02:46:22.589" v="32332" actId="113"/>
          <ac:spMkLst>
            <pc:docMk/>
            <pc:sldMk cId="2418733126" sldId="317"/>
            <ac:spMk id="3" creationId="{22A90281-84A6-4EC9-992A-3B9D1366311E}"/>
          </ac:spMkLst>
        </pc:spChg>
        <pc:spChg chg="del">
          <ac:chgData name="Kate Mun (KYOUNGRAN)" userId="d8a93241-9b9d-4c25-8457-87ffab4b96e2" providerId="ADAL" clId="{D0392E92-C1C8-4E77-96D0-D493DA4AC621}" dt="2022-10-04T06:09:04.507" v="16549" actId="478"/>
          <ac:spMkLst>
            <pc:docMk/>
            <pc:sldMk cId="2418733126" sldId="317"/>
            <ac:spMk id="4" creationId="{92690BE7-F587-D856-FC80-963F88E1DA26}"/>
          </ac:spMkLst>
        </pc:spChg>
      </pc:sldChg>
      <pc:sldChg chg="addSp modSp add del mod modClrScheme chgLayout">
        <pc:chgData name="Kate Mun (KYOUNGRAN)" userId="d8a93241-9b9d-4c25-8457-87ffab4b96e2" providerId="ADAL" clId="{D0392E92-C1C8-4E77-96D0-D493DA4AC621}" dt="2022-10-04T06:08:57.212" v="16547" actId="2696"/>
        <pc:sldMkLst>
          <pc:docMk/>
          <pc:sldMk cId="2634434273" sldId="317"/>
        </pc:sldMkLst>
        <pc:spChg chg="mod ord">
          <ac:chgData name="Kate Mun (KYOUNGRAN)" userId="d8a93241-9b9d-4c25-8457-87ffab4b96e2" providerId="ADAL" clId="{D0392E92-C1C8-4E77-96D0-D493DA4AC621}" dt="2022-10-04T05:37:59.827" v="16331" actId="27636"/>
          <ac:spMkLst>
            <pc:docMk/>
            <pc:sldMk cId="2634434273" sldId="317"/>
            <ac:spMk id="2" creationId="{942B1DA8-4621-4E22-AF9E-E4E7427FE316}"/>
          </ac:spMkLst>
        </pc:spChg>
        <pc:spChg chg="mod ord">
          <ac:chgData name="Kate Mun (KYOUNGRAN)" userId="d8a93241-9b9d-4c25-8457-87ffab4b96e2" providerId="ADAL" clId="{D0392E92-C1C8-4E77-96D0-D493DA4AC621}" dt="2022-10-04T05:37:59.728" v="16328" actId="700"/>
          <ac:spMkLst>
            <pc:docMk/>
            <pc:sldMk cId="2634434273" sldId="317"/>
            <ac:spMk id="3" creationId="{22A90281-84A6-4EC9-992A-3B9D1366311E}"/>
          </ac:spMkLst>
        </pc:spChg>
        <pc:spChg chg="add mod ord">
          <ac:chgData name="Kate Mun (KYOUNGRAN)" userId="d8a93241-9b9d-4c25-8457-87ffab4b96e2" providerId="ADAL" clId="{D0392E92-C1C8-4E77-96D0-D493DA4AC621}" dt="2022-10-04T05:37:59.728" v="16328" actId="700"/>
          <ac:spMkLst>
            <pc:docMk/>
            <pc:sldMk cId="2634434273" sldId="317"/>
            <ac:spMk id="4" creationId="{92690BE7-F587-D856-FC80-963F88E1DA26}"/>
          </ac:spMkLst>
        </pc:spChg>
      </pc:sldChg>
      <pc:sldChg chg="modSp mod">
        <pc:chgData name="Kate Mun (KYOUNGRAN)" userId="d8a93241-9b9d-4c25-8457-87ffab4b96e2" providerId="ADAL" clId="{D0392E92-C1C8-4E77-96D0-D493DA4AC621}" dt="2022-10-19T01:36:37.390" v="31222" actId="255"/>
        <pc:sldMkLst>
          <pc:docMk/>
          <pc:sldMk cId="2979975711" sldId="625"/>
        </pc:sldMkLst>
        <pc:spChg chg="mod">
          <ac:chgData name="Kate Mun (KYOUNGRAN)" userId="d8a93241-9b9d-4c25-8457-87ffab4b96e2" providerId="ADAL" clId="{D0392E92-C1C8-4E77-96D0-D493DA4AC621}" dt="2022-10-19T01:36:37.390" v="31222" actId="255"/>
          <ac:spMkLst>
            <pc:docMk/>
            <pc:sldMk cId="2979975711" sldId="625"/>
            <ac:spMk id="5" creationId="{F01C4DE8-FED9-4360-822F-E4430EDF3049}"/>
          </ac:spMkLst>
        </pc:spChg>
      </pc:sldChg>
      <pc:sldChg chg="modSp add mod ord">
        <pc:chgData name="Kate Mun (KYOUNGRAN)" userId="d8a93241-9b9d-4c25-8457-87ffab4b96e2" providerId="ADAL" clId="{D0392E92-C1C8-4E77-96D0-D493DA4AC621}" dt="2022-10-19T06:01:49.721" v="33268"/>
        <pc:sldMkLst>
          <pc:docMk/>
          <pc:sldMk cId="2645753833" sldId="629"/>
        </pc:sldMkLst>
        <pc:spChg chg="mod">
          <ac:chgData name="Kate Mun (KYOUNGRAN)" userId="d8a93241-9b9d-4c25-8457-87ffab4b96e2" providerId="ADAL" clId="{D0392E92-C1C8-4E77-96D0-D493DA4AC621}" dt="2022-10-19T06:00:53.180" v="33265" actId="20577"/>
          <ac:spMkLst>
            <pc:docMk/>
            <pc:sldMk cId="2645753833" sldId="629"/>
            <ac:spMk id="5" creationId="{F01C4DE8-FED9-4360-822F-E4430EDF3049}"/>
          </ac:spMkLst>
        </pc:spChg>
      </pc:sldChg>
      <pc:sldChg chg="modSp del mod">
        <pc:chgData name="Kate Mun (KYOUNGRAN)" userId="d8a93241-9b9d-4c25-8457-87ffab4b96e2" providerId="ADAL" clId="{D0392E92-C1C8-4E77-96D0-D493DA4AC621}" dt="2022-10-19T06:00:03.934" v="33201" actId="2696"/>
        <pc:sldMkLst>
          <pc:docMk/>
          <pc:sldMk cId="4065054673" sldId="629"/>
        </pc:sldMkLst>
        <pc:spChg chg="mod">
          <ac:chgData name="Kate Mun (KYOUNGRAN)" userId="d8a93241-9b9d-4c25-8457-87ffab4b96e2" providerId="ADAL" clId="{D0392E92-C1C8-4E77-96D0-D493DA4AC621}" dt="2022-10-19T01:48:16.767" v="31249" actId="114"/>
          <ac:spMkLst>
            <pc:docMk/>
            <pc:sldMk cId="4065054673" sldId="629"/>
            <ac:spMk id="5" creationId="{F01C4DE8-FED9-4360-822F-E4430EDF3049}"/>
          </ac:spMkLst>
        </pc:spChg>
      </pc:sldChg>
      <pc:sldChg chg="modSp mod">
        <pc:chgData name="Kate Mun (KYOUNGRAN)" userId="d8a93241-9b9d-4c25-8457-87ffab4b96e2" providerId="ADAL" clId="{D0392E92-C1C8-4E77-96D0-D493DA4AC621}" dt="2022-10-19T06:09:41.597" v="33351" actId="2711"/>
        <pc:sldMkLst>
          <pc:docMk/>
          <pc:sldMk cId="2125659258" sldId="664"/>
        </pc:sldMkLst>
        <pc:spChg chg="mod">
          <ac:chgData name="Kate Mun (KYOUNGRAN)" userId="d8a93241-9b9d-4c25-8457-87ffab4b96e2" providerId="ADAL" clId="{D0392E92-C1C8-4E77-96D0-D493DA4AC621}" dt="2022-10-19T06:09:41.597" v="33351" actId="2711"/>
          <ac:spMkLst>
            <pc:docMk/>
            <pc:sldMk cId="2125659258" sldId="664"/>
            <ac:spMk id="2" creationId="{00000000-0000-0000-0000-000000000000}"/>
          </ac:spMkLst>
        </pc:spChg>
        <pc:spChg chg="mod">
          <ac:chgData name="Kate Mun (KYOUNGRAN)" userId="d8a93241-9b9d-4c25-8457-87ffab4b96e2" providerId="ADAL" clId="{D0392E92-C1C8-4E77-96D0-D493DA4AC621}" dt="2022-10-19T06:09:31.779" v="33350" actId="20577"/>
          <ac:spMkLst>
            <pc:docMk/>
            <pc:sldMk cId="2125659258" sldId="664"/>
            <ac:spMk id="3" creationId="{F5ED4D7F-6A1E-621E-CF5C-B62E4A70F300}"/>
          </ac:spMkLst>
        </pc:spChg>
        <pc:spChg chg="mod">
          <ac:chgData name="Kate Mun (KYOUNGRAN)" userId="d8a93241-9b9d-4c25-8457-87ffab4b96e2" providerId="ADAL" clId="{D0392E92-C1C8-4E77-96D0-D493DA4AC621}" dt="2022-10-19T06:09:27.476" v="33346" actId="21"/>
          <ac:spMkLst>
            <pc:docMk/>
            <pc:sldMk cId="2125659258" sldId="664"/>
            <ac:spMk id="5" creationId="{3AEF9BFD-FE95-4029-BBEB-74811694E894}"/>
          </ac:spMkLst>
        </pc:spChg>
      </pc:sldChg>
      <pc:sldChg chg="addSp delSp modSp mod ord modClrScheme chgLayout">
        <pc:chgData name="Kate Mun (KYOUNGRAN)" userId="d8a93241-9b9d-4c25-8457-87ffab4b96e2" providerId="ADAL" clId="{D0392E92-C1C8-4E77-96D0-D493DA4AC621}" dt="2022-10-20T02:45:33.273" v="34319" actId="20577"/>
        <pc:sldMkLst>
          <pc:docMk/>
          <pc:sldMk cId="2619637912" sldId="667"/>
        </pc:sldMkLst>
        <pc:spChg chg="mod ord">
          <ac:chgData name="Kate Mun (KYOUNGRAN)" userId="d8a93241-9b9d-4c25-8457-87ffab4b96e2" providerId="ADAL" clId="{D0392E92-C1C8-4E77-96D0-D493DA4AC621}" dt="2022-10-19T01:57:02.015" v="31336" actId="108"/>
          <ac:spMkLst>
            <pc:docMk/>
            <pc:sldMk cId="2619637912" sldId="667"/>
            <ac:spMk id="2" creationId="{00000000-0000-0000-0000-000000000000}"/>
          </ac:spMkLst>
        </pc:spChg>
        <pc:spChg chg="mod ord">
          <ac:chgData name="Kate Mun (KYOUNGRAN)" userId="d8a93241-9b9d-4c25-8457-87ffab4b96e2" providerId="ADAL" clId="{D0392E92-C1C8-4E77-96D0-D493DA4AC621}" dt="2022-10-20T02:45:33.273" v="34319" actId="20577"/>
          <ac:spMkLst>
            <pc:docMk/>
            <pc:sldMk cId="2619637912" sldId="667"/>
            <ac:spMk id="4" creationId="{00000000-0000-0000-0000-000000000000}"/>
          </ac:spMkLst>
        </pc:spChg>
        <pc:spChg chg="add del mod ord">
          <ac:chgData name="Kate Mun (KYOUNGRAN)" userId="d8a93241-9b9d-4c25-8457-87ffab4b96e2" providerId="ADAL" clId="{D0392E92-C1C8-4E77-96D0-D493DA4AC621}" dt="2022-09-20T01:37:46.378" v="202" actId="478"/>
          <ac:spMkLst>
            <pc:docMk/>
            <pc:sldMk cId="2619637912" sldId="667"/>
            <ac:spMk id="5" creationId="{55B7F78B-0B01-1CC3-D8A0-B3B9417FE077}"/>
          </ac:spMkLst>
        </pc:spChg>
        <pc:graphicFrameChg chg="del mod">
          <ac:chgData name="Kate Mun (KYOUNGRAN)" userId="d8a93241-9b9d-4c25-8457-87ffab4b96e2" providerId="ADAL" clId="{D0392E92-C1C8-4E77-96D0-D493DA4AC621}" dt="2022-10-19T12:30:43.791" v="34062" actId="478"/>
          <ac:graphicFrameMkLst>
            <pc:docMk/>
            <pc:sldMk cId="2619637912" sldId="667"/>
            <ac:graphicFrameMk id="3" creationId="{EA6341C9-A524-440B-B610-95F09217115A}"/>
          </ac:graphicFrameMkLst>
        </pc:graphicFrameChg>
        <pc:picChg chg="add mod">
          <ac:chgData name="Kate Mun (KYOUNGRAN)" userId="d8a93241-9b9d-4c25-8457-87ffab4b96e2" providerId="ADAL" clId="{D0392E92-C1C8-4E77-96D0-D493DA4AC621}" dt="2022-10-19T12:36:03.117" v="34065" actId="1076"/>
          <ac:picMkLst>
            <pc:docMk/>
            <pc:sldMk cId="2619637912" sldId="667"/>
            <ac:picMk id="6" creationId="{878785B2-244F-073F-0D7B-7F60AA4059D2}"/>
          </ac:picMkLst>
        </pc:picChg>
      </pc:sldChg>
      <pc:sldChg chg="add del">
        <pc:chgData name="Kate Mun (KYOUNGRAN)" userId="d8a93241-9b9d-4c25-8457-87ffab4b96e2" providerId="ADAL" clId="{D0392E92-C1C8-4E77-96D0-D493DA4AC621}" dt="2022-09-20T01:35:48.799" v="193" actId="47"/>
        <pc:sldMkLst>
          <pc:docMk/>
          <pc:sldMk cId="1985846034" sldId="669"/>
        </pc:sldMkLst>
      </pc:sldChg>
      <pc:sldChg chg="addSp delSp modSp new del mod modClrScheme chgLayout">
        <pc:chgData name="Kate Mun (KYOUNGRAN)" userId="d8a93241-9b9d-4c25-8457-87ffab4b96e2" providerId="ADAL" clId="{D0392E92-C1C8-4E77-96D0-D493DA4AC621}" dt="2022-09-20T01:35:05.620" v="191" actId="2696"/>
        <pc:sldMkLst>
          <pc:docMk/>
          <pc:sldMk cId="2268973205" sldId="669"/>
        </pc:sldMkLst>
        <pc:spChg chg="del mod ord">
          <ac:chgData name="Kate Mun (KYOUNGRAN)" userId="d8a93241-9b9d-4c25-8457-87ffab4b96e2" providerId="ADAL" clId="{D0392E92-C1C8-4E77-96D0-D493DA4AC621}" dt="2022-09-20T01:22:59.704" v="8" actId="700"/>
          <ac:spMkLst>
            <pc:docMk/>
            <pc:sldMk cId="2268973205" sldId="669"/>
            <ac:spMk id="2" creationId="{1FFCB2E6-B99B-A96D-78C7-3FA77DD481CA}"/>
          </ac:spMkLst>
        </pc:spChg>
        <pc:spChg chg="del">
          <ac:chgData name="Kate Mun (KYOUNGRAN)" userId="d8a93241-9b9d-4c25-8457-87ffab4b96e2" providerId="ADAL" clId="{D0392E92-C1C8-4E77-96D0-D493DA4AC621}" dt="2022-09-20T01:22:59.704" v="8" actId="700"/>
          <ac:spMkLst>
            <pc:docMk/>
            <pc:sldMk cId="2268973205" sldId="669"/>
            <ac:spMk id="3" creationId="{538C7A90-1E65-E969-6D1F-C52149BD72EB}"/>
          </ac:spMkLst>
        </pc:spChg>
        <pc:spChg chg="add mod ord">
          <ac:chgData name="Kate Mun (KYOUNGRAN)" userId="d8a93241-9b9d-4c25-8457-87ffab4b96e2" providerId="ADAL" clId="{D0392E92-C1C8-4E77-96D0-D493DA4AC621}" dt="2022-09-20T01:30:19.574" v="157" actId="20577"/>
          <ac:spMkLst>
            <pc:docMk/>
            <pc:sldMk cId="2268973205" sldId="669"/>
            <ac:spMk id="4" creationId="{478E6F04-597A-5048-C40E-E4626BBD9733}"/>
          </ac:spMkLst>
        </pc:spChg>
      </pc:sldChg>
      <pc:sldChg chg="add del">
        <pc:chgData name="Kate Mun (KYOUNGRAN)" userId="d8a93241-9b9d-4c25-8457-87ffab4b96e2" providerId="ADAL" clId="{D0392E92-C1C8-4E77-96D0-D493DA4AC621}" dt="2022-09-20T01:26:03.437" v="13" actId="47"/>
        <pc:sldMkLst>
          <pc:docMk/>
          <pc:sldMk cId="1281196443" sldId="670"/>
        </pc:sldMkLst>
      </pc:sldChg>
      <pc:sldChg chg="add del">
        <pc:chgData name="Kate Mun (KYOUNGRAN)" userId="d8a93241-9b9d-4c25-8457-87ffab4b96e2" providerId="ADAL" clId="{D0392E92-C1C8-4E77-96D0-D493DA4AC621}" dt="2022-10-11T06:29:26.703" v="26685" actId="2696"/>
        <pc:sldMkLst>
          <pc:docMk/>
          <pc:sldMk cId="359385040" sldId="2342"/>
        </pc:sldMkLst>
      </pc:sldChg>
      <pc:sldChg chg="addSp delSp modSp mod chgLayout">
        <pc:chgData name="Kate Mun (KYOUNGRAN)" userId="d8a93241-9b9d-4c25-8457-87ffab4b96e2" providerId="ADAL" clId="{D0392E92-C1C8-4E77-96D0-D493DA4AC621}" dt="2022-10-19T04:08:04.321" v="32570" actId="255"/>
        <pc:sldMkLst>
          <pc:docMk/>
          <pc:sldMk cId="2487204738" sldId="2342"/>
        </pc:sldMkLst>
        <pc:spChg chg="del mod">
          <ac:chgData name="Kate Mun (KYOUNGRAN)" userId="d8a93241-9b9d-4c25-8457-87ffab4b96e2" providerId="ADAL" clId="{D0392E92-C1C8-4E77-96D0-D493DA4AC621}" dt="2022-10-11T06:30:38.092" v="26712" actId="478"/>
          <ac:spMkLst>
            <pc:docMk/>
            <pc:sldMk cId="2487204738" sldId="2342"/>
            <ac:spMk id="2" creationId="{C82ADCD9-063D-3923-ADC3-6D03B42C7A17}"/>
          </ac:spMkLst>
        </pc:spChg>
        <pc:spChg chg="mod ord">
          <ac:chgData name="Kate Mun (KYOUNGRAN)" userId="d8a93241-9b9d-4c25-8457-87ffab4b96e2" providerId="ADAL" clId="{D0392E92-C1C8-4E77-96D0-D493DA4AC621}" dt="2022-10-19T04:08:04.321" v="32570" actId="255"/>
          <ac:spMkLst>
            <pc:docMk/>
            <pc:sldMk cId="2487204738" sldId="2342"/>
            <ac:spMk id="3" creationId="{4CA424C1-5BA1-1458-1271-928830014003}"/>
          </ac:spMkLst>
        </pc:spChg>
        <pc:spChg chg="add del mod ord">
          <ac:chgData name="Kate Mun (KYOUNGRAN)" userId="d8a93241-9b9d-4c25-8457-87ffab4b96e2" providerId="ADAL" clId="{D0392E92-C1C8-4E77-96D0-D493DA4AC621}" dt="2022-10-11T06:30:56.395" v="26715" actId="700"/>
          <ac:spMkLst>
            <pc:docMk/>
            <pc:sldMk cId="2487204738" sldId="2342"/>
            <ac:spMk id="5" creationId="{67ACEA40-7FCA-E7B3-ABEB-435A6DEDDB68}"/>
          </ac:spMkLst>
        </pc:spChg>
        <pc:spChg chg="add mod ord">
          <ac:chgData name="Kate Mun (KYOUNGRAN)" userId="d8a93241-9b9d-4c25-8457-87ffab4b96e2" providerId="ADAL" clId="{D0392E92-C1C8-4E77-96D0-D493DA4AC621}" dt="2022-10-19T02:46:43.781" v="32359" actId="20577"/>
          <ac:spMkLst>
            <pc:docMk/>
            <pc:sldMk cId="2487204738" sldId="2342"/>
            <ac:spMk id="6" creationId="{9329EC6A-584C-AC2B-70AE-4668AF2A35C9}"/>
          </ac:spMkLst>
        </pc:spChg>
        <pc:spChg chg="add del mod ord">
          <ac:chgData name="Kate Mun (KYOUNGRAN)" userId="d8a93241-9b9d-4c25-8457-87ffab4b96e2" providerId="ADAL" clId="{D0392E92-C1C8-4E77-96D0-D493DA4AC621}" dt="2022-10-11T06:30:59.848" v="26717" actId="478"/>
          <ac:spMkLst>
            <pc:docMk/>
            <pc:sldMk cId="2487204738" sldId="2342"/>
            <ac:spMk id="7" creationId="{3A23A125-C7C6-411D-A133-96C96578C8C2}"/>
          </ac:spMkLst>
        </pc:spChg>
      </pc:sldChg>
      <pc:sldChg chg="add del">
        <pc:chgData name="Kate Mun (KYOUNGRAN)" userId="d8a93241-9b9d-4c25-8457-87ffab4b96e2" providerId="ADAL" clId="{D0392E92-C1C8-4E77-96D0-D493DA4AC621}" dt="2022-10-11T06:30:17.555" v="26687"/>
        <pc:sldMkLst>
          <pc:docMk/>
          <pc:sldMk cId="3210113664" sldId="2342"/>
        </pc:sldMkLst>
      </pc:sldChg>
      <pc:sldChg chg="add del">
        <pc:chgData name="Kate Mun (KYOUNGRAN)" userId="d8a93241-9b9d-4c25-8457-87ffab4b96e2" providerId="ADAL" clId="{D0392E92-C1C8-4E77-96D0-D493DA4AC621}" dt="2022-09-20T01:49:36.707" v="441" actId="47"/>
        <pc:sldMkLst>
          <pc:docMk/>
          <pc:sldMk cId="1791885600" sldId="2076138425"/>
        </pc:sldMkLst>
      </pc:sldChg>
      <pc:sldChg chg="add del">
        <pc:chgData name="Kate Mun (KYOUNGRAN)" userId="d8a93241-9b9d-4c25-8457-87ffab4b96e2" providerId="ADAL" clId="{D0392E92-C1C8-4E77-96D0-D493DA4AC621}" dt="2022-09-20T01:49:51.895" v="446" actId="47"/>
        <pc:sldMkLst>
          <pc:docMk/>
          <pc:sldMk cId="3890090290" sldId="2076138426"/>
        </pc:sldMkLst>
      </pc:sldChg>
      <pc:sldChg chg="add del">
        <pc:chgData name="Kate Mun (KYOUNGRAN)" userId="d8a93241-9b9d-4c25-8457-87ffab4b96e2" providerId="ADAL" clId="{D0392E92-C1C8-4E77-96D0-D493DA4AC621}" dt="2022-09-20T01:25:23.200" v="12"/>
        <pc:sldMkLst>
          <pc:docMk/>
          <pc:sldMk cId="2534708412" sldId="2076138427"/>
        </pc:sldMkLst>
      </pc:sldChg>
      <pc:sldChg chg="modSp add del mod">
        <pc:chgData name="Kate Mun (KYOUNGRAN)" userId="d8a93241-9b9d-4c25-8457-87ffab4b96e2" providerId="ADAL" clId="{D0392E92-C1C8-4E77-96D0-D493DA4AC621}" dt="2022-09-20T02:28:32.164" v="1550" actId="47"/>
        <pc:sldMkLst>
          <pc:docMk/>
          <pc:sldMk cId="1828585648" sldId="2076138428"/>
        </pc:sldMkLst>
        <pc:spChg chg="mod">
          <ac:chgData name="Kate Mun (KYOUNGRAN)" userId="d8a93241-9b9d-4c25-8457-87ffab4b96e2" providerId="ADAL" clId="{D0392E92-C1C8-4E77-96D0-D493DA4AC621}" dt="2022-09-20T01:41:09.947" v="250" actId="404"/>
          <ac:spMkLst>
            <pc:docMk/>
            <pc:sldMk cId="1828585648" sldId="2076138428"/>
            <ac:spMk id="4" creationId="{5D255E8E-09D2-4F53-AE50-0BD49BD96EFE}"/>
          </ac:spMkLst>
        </pc:spChg>
      </pc:sldChg>
      <pc:sldChg chg="add del">
        <pc:chgData name="Kate Mun (KYOUNGRAN)" userId="d8a93241-9b9d-4c25-8457-87ffab4b96e2" providerId="ADAL" clId="{D0392E92-C1C8-4E77-96D0-D493DA4AC621}" dt="2022-09-20T01:42:16.897" v="252" actId="47"/>
        <pc:sldMkLst>
          <pc:docMk/>
          <pc:sldMk cId="52458483" sldId="2076138429"/>
        </pc:sldMkLst>
      </pc:sldChg>
      <pc:sldChg chg="add del">
        <pc:chgData name="Kate Mun (KYOUNGRAN)" userId="d8a93241-9b9d-4c25-8457-87ffab4b96e2" providerId="ADAL" clId="{D0392E92-C1C8-4E77-96D0-D493DA4AC621}" dt="2022-09-20T02:30:02.620" v="1555" actId="47"/>
        <pc:sldMkLst>
          <pc:docMk/>
          <pc:sldMk cId="627498255" sldId="2076138430"/>
        </pc:sldMkLst>
      </pc:sldChg>
      <pc:sldChg chg="delSp modSp add del mod">
        <pc:chgData name="Kate Mun (KYOUNGRAN)" userId="d8a93241-9b9d-4c25-8457-87ffab4b96e2" providerId="ADAL" clId="{D0392E92-C1C8-4E77-96D0-D493DA4AC621}" dt="2022-09-20T01:43:42.960" v="344" actId="47"/>
        <pc:sldMkLst>
          <pc:docMk/>
          <pc:sldMk cId="488115531" sldId="2076138431"/>
        </pc:sldMkLst>
        <pc:spChg chg="del mod">
          <ac:chgData name="Kate Mun (KYOUNGRAN)" userId="d8a93241-9b9d-4c25-8457-87ffab4b96e2" providerId="ADAL" clId="{D0392E92-C1C8-4E77-96D0-D493DA4AC621}" dt="2022-09-20T01:43:25.647" v="333" actId="478"/>
          <ac:spMkLst>
            <pc:docMk/>
            <pc:sldMk cId="488115531" sldId="2076138431"/>
            <ac:spMk id="3" creationId="{F8D5E370-9522-4EE7-A943-53EE4942E49D}"/>
          </ac:spMkLst>
        </pc:spChg>
      </pc:sldChg>
      <pc:sldChg chg="addSp delSp modSp add mod ord chgLayout">
        <pc:chgData name="Kate Mun (KYOUNGRAN)" userId="d8a93241-9b9d-4c25-8457-87ffab4b96e2" providerId="ADAL" clId="{D0392E92-C1C8-4E77-96D0-D493DA4AC621}" dt="2022-10-19T02:37:49.344" v="31987" actId="255"/>
        <pc:sldMkLst>
          <pc:docMk/>
          <pc:sldMk cId="417302056" sldId="2076138432"/>
        </pc:sldMkLst>
        <pc:spChg chg="mod ord">
          <ac:chgData name="Kate Mun (KYOUNGRAN)" userId="d8a93241-9b9d-4c25-8457-87ffab4b96e2" providerId="ADAL" clId="{D0392E92-C1C8-4E77-96D0-D493DA4AC621}" dt="2022-10-19T01:35:03.471" v="31215" actId="700"/>
          <ac:spMkLst>
            <pc:docMk/>
            <pc:sldMk cId="417302056" sldId="2076138432"/>
            <ac:spMk id="2" creationId="{C9355748-2E5A-FF43-B041-EDECD4D2DAAD}"/>
          </ac:spMkLst>
        </pc:spChg>
        <pc:spChg chg="add del mod">
          <ac:chgData name="Kate Mun (KYOUNGRAN)" userId="d8a93241-9b9d-4c25-8457-87ffab4b96e2" providerId="ADAL" clId="{D0392E92-C1C8-4E77-96D0-D493DA4AC621}" dt="2022-10-19T02:35:38.638" v="31901" actId="478"/>
          <ac:spMkLst>
            <pc:docMk/>
            <pc:sldMk cId="417302056" sldId="2076138432"/>
            <ac:spMk id="3" creationId="{4EFA284F-0DEE-2EAE-B095-F6B6D905F4CE}"/>
          </ac:spMkLst>
        </pc:spChg>
        <pc:spChg chg="del mod">
          <ac:chgData name="Kate Mun (KYOUNGRAN)" userId="d8a93241-9b9d-4c25-8457-87ffab4b96e2" providerId="ADAL" clId="{D0392E92-C1C8-4E77-96D0-D493DA4AC621}" dt="2022-09-20T01:43:34.877" v="335" actId="478"/>
          <ac:spMkLst>
            <pc:docMk/>
            <pc:sldMk cId="417302056" sldId="2076138432"/>
            <ac:spMk id="3" creationId="{F8D5E370-9522-4EE7-A943-53EE4942E49D}"/>
          </ac:spMkLst>
        </pc:spChg>
        <pc:spChg chg="add mod">
          <ac:chgData name="Kate Mun (KYOUNGRAN)" userId="d8a93241-9b9d-4c25-8457-87ffab4b96e2" providerId="ADAL" clId="{D0392E92-C1C8-4E77-96D0-D493DA4AC621}" dt="2022-10-19T02:37:27.574" v="31974" actId="1076"/>
          <ac:spMkLst>
            <pc:docMk/>
            <pc:sldMk cId="417302056" sldId="2076138432"/>
            <ac:spMk id="4" creationId="{7F57B36B-F485-003D-8A95-A54372257DC6}"/>
          </ac:spMkLst>
        </pc:spChg>
        <pc:spChg chg="add mod ord">
          <ac:chgData name="Kate Mun (KYOUNGRAN)" userId="d8a93241-9b9d-4c25-8457-87ffab4b96e2" providerId="ADAL" clId="{D0392E92-C1C8-4E77-96D0-D493DA4AC621}" dt="2022-10-19T02:37:49.344" v="31987" actId="255"/>
          <ac:spMkLst>
            <pc:docMk/>
            <pc:sldMk cId="417302056" sldId="2076138432"/>
            <ac:spMk id="5" creationId="{9021286C-E918-8C61-D0DB-B89C7631355E}"/>
          </ac:spMkLst>
        </pc:spChg>
      </pc:sldChg>
      <pc:sldChg chg="delSp modSp add del mod delAnim">
        <pc:chgData name="Kate Mun (KYOUNGRAN)" userId="d8a93241-9b9d-4c25-8457-87ffab4b96e2" providerId="ADAL" clId="{D0392E92-C1C8-4E77-96D0-D493DA4AC621}" dt="2022-09-20T01:55:53.667" v="633" actId="47"/>
        <pc:sldMkLst>
          <pc:docMk/>
          <pc:sldMk cId="928603639" sldId="2147470290"/>
        </pc:sldMkLst>
        <pc:spChg chg="mod">
          <ac:chgData name="Kate Mun (KYOUNGRAN)" userId="d8a93241-9b9d-4c25-8457-87ffab4b96e2" providerId="ADAL" clId="{D0392E92-C1C8-4E77-96D0-D493DA4AC621}" dt="2022-09-20T01:49:47.989" v="444" actId="14100"/>
          <ac:spMkLst>
            <pc:docMk/>
            <pc:sldMk cId="928603639" sldId="2147470290"/>
            <ac:spMk id="5" creationId="{E5545B0D-4A8D-4F81-AECE-EBFD362A6DC2}"/>
          </ac:spMkLst>
        </pc:spChg>
        <pc:spChg chg="mod">
          <ac:chgData name="Kate Mun (KYOUNGRAN)" userId="d8a93241-9b9d-4c25-8457-87ffab4b96e2" providerId="ADAL" clId="{D0392E92-C1C8-4E77-96D0-D493DA4AC621}" dt="2022-09-20T01:49:47.989" v="444" actId="14100"/>
          <ac:spMkLst>
            <pc:docMk/>
            <pc:sldMk cId="928603639" sldId="2147470290"/>
            <ac:spMk id="6" creationId="{B3085ED4-58AF-436B-9935-3FF6C9A9EB64}"/>
          </ac:spMkLst>
        </pc:spChg>
        <pc:spChg chg="mod">
          <ac:chgData name="Kate Mun (KYOUNGRAN)" userId="d8a93241-9b9d-4c25-8457-87ffab4b96e2" providerId="ADAL" clId="{D0392E92-C1C8-4E77-96D0-D493DA4AC621}" dt="2022-09-20T01:49:47.989" v="444" actId="14100"/>
          <ac:spMkLst>
            <pc:docMk/>
            <pc:sldMk cId="928603639" sldId="2147470290"/>
            <ac:spMk id="7" creationId="{370CB59F-2AEE-4997-A258-3D066AB57DC1}"/>
          </ac:spMkLst>
        </pc:spChg>
        <pc:spChg chg="mod">
          <ac:chgData name="Kate Mun (KYOUNGRAN)" userId="d8a93241-9b9d-4c25-8457-87ffab4b96e2" providerId="ADAL" clId="{D0392E92-C1C8-4E77-96D0-D493DA4AC621}" dt="2022-09-20T01:49:47.989" v="444" actId="14100"/>
          <ac:spMkLst>
            <pc:docMk/>
            <pc:sldMk cId="928603639" sldId="2147470290"/>
            <ac:spMk id="8" creationId="{63D217CA-9C5D-4050-AC94-53C0C611E080}"/>
          </ac:spMkLst>
        </pc:spChg>
        <pc:spChg chg="mod">
          <ac:chgData name="Kate Mun (KYOUNGRAN)" userId="d8a93241-9b9d-4c25-8457-87ffab4b96e2" providerId="ADAL" clId="{D0392E92-C1C8-4E77-96D0-D493DA4AC621}" dt="2022-09-20T01:49:47.989" v="444" actId="14100"/>
          <ac:spMkLst>
            <pc:docMk/>
            <pc:sldMk cId="928603639" sldId="2147470290"/>
            <ac:spMk id="9" creationId="{2D379A8E-C507-485A-AE62-018A5C7CB7D2}"/>
          </ac:spMkLst>
        </pc:spChg>
        <pc:spChg chg="mod">
          <ac:chgData name="Kate Mun (KYOUNGRAN)" userId="d8a93241-9b9d-4c25-8457-87ffab4b96e2" providerId="ADAL" clId="{D0392E92-C1C8-4E77-96D0-D493DA4AC621}" dt="2022-09-20T01:49:47.989" v="444" actId="14100"/>
          <ac:spMkLst>
            <pc:docMk/>
            <pc:sldMk cId="928603639" sldId="2147470290"/>
            <ac:spMk id="10" creationId="{2492046B-A9A9-49A4-A3A6-98F57270CACB}"/>
          </ac:spMkLst>
        </pc:spChg>
        <pc:spChg chg="mod">
          <ac:chgData name="Kate Mun (KYOUNGRAN)" userId="d8a93241-9b9d-4c25-8457-87ffab4b96e2" providerId="ADAL" clId="{D0392E92-C1C8-4E77-96D0-D493DA4AC621}" dt="2022-09-20T01:49:47.989" v="444" actId="14100"/>
          <ac:spMkLst>
            <pc:docMk/>
            <pc:sldMk cId="928603639" sldId="2147470290"/>
            <ac:spMk id="11" creationId="{4BBA3635-7575-4D3A-8E71-EF2202A72C21}"/>
          </ac:spMkLst>
        </pc:spChg>
        <pc:spChg chg="mod">
          <ac:chgData name="Kate Mun (KYOUNGRAN)" userId="d8a93241-9b9d-4c25-8457-87ffab4b96e2" providerId="ADAL" clId="{D0392E92-C1C8-4E77-96D0-D493DA4AC621}" dt="2022-09-20T01:49:47.989" v="444" actId="14100"/>
          <ac:spMkLst>
            <pc:docMk/>
            <pc:sldMk cId="928603639" sldId="2147470290"/>
            <ac:spMk id="12" creationId="{DA8CBD2C-E072-4890-A178-6D60BBC11AC6}"/>
          </ac:spMkLst>
        </pc:spChg>
        <pc:spChg chg="topLvl">
          <ac:chgData name="Kate Mun (KYOUNGRAN)" userId="d8a93241-9b9d-4c25-8457-87ffab4b96e2" providerId="ADAL" clId="{D0392E92-C1C8-4E77-96D0-D493DA4AC621}" dt="2022-09-20T01:49:57.326" v="447" actId="165"/>
          <ac:spMkLst>
            <pc:docMk/>
            <pc:sldMk cId="928603639" sldId="2147470290"/>
            <ac:spMk id="13" creationId="{BCCA2FD2-AC5E-4051-B6A9-E4B6841E09E3}"/>
          </ac:spMkLst>
        </pc:spChg>
        <pc:spChg chg="topLvl">
          <ac:chgData name="Kate Mun (KYOUNGRAN)" userId="d8a93241-9b9d-4c25-8457-87ffab4b96e2" providerId="ADAL" clId="{D0392E92-C1C8-4E77-96D0-D493DA4AC621}" dt="2022-09-20T01:49:57.326" v="447" actId="165"/>
          <ac:spMkLst>
            <pc:docMk/>
            <pc:sldMk cId="928603639" sldId="2147470290"/>
            <ac:spMk id="14" creationId="{650A9ABD-AE20-450A-A0D8-7EAB08BCF0C4}"/>
          </ac:spMkLst>
        </pc:spChg>
        <pc:spChg chg="topLvl">
          <ac:chgData name="Kate Mun (KYOUNGRAN)" userId="d8a93241-9b9d-4c25-8457-87ffab4b96e2" providerId="ADAL" clId="{D0392E92-C1C8-4E77-96D0-D493DA4AC621}" dt="2022-09-20T01:49:57.326" v="447" actId="165"/>
          <ac:spMkLst>
            <pc:docMk/>
            <pc:sldMk cId="928603639" sldId="2147470290"/>
            <ac:spMk id="16" creationId="{C4D59E54-3AAA-4F01-A319-0D203C0A76A6}"/>
          </ac:spMkLst>
        </pc:spChg>
        <pc:spChg chg="topLvl">
          <ac:chgData name="Kate Mun (KYOUNGRAN)" userId="d8a93241-9b9d-4c25-8457-87ffab4b96e2" providerId="ADAL" clId="{D0392E92-C1C8-4E77-96D0-D493DA4AC621}" dt="2022-09-20T01:49:57.326" v="447" actId="165"/>
          <ac:spMkLst>
            <pc:docMk/>
            <pc:sldMk cId="928603639" sldId="2147470290"/>
            <ac:spMk id="18" creationId="{BC06F057-D634-4179-8663-A73E37CA3093}"/>
          </ac:spMkLst>
        </pc:spChg>
        <pc:spChg chg="topLvl">
          <ac:chgData name="Kate Mun (KYOUNGRAN)" userId="d8a93241-9b9d-4c25-8457-87ffab4b96e2" providerId="ADAL" clId="{D0392E92-C1C8-4E77-96D0-D493DA4AC621}" dt="2022-09-20T01:49:57.326" v="447" actId="165"/>
          <ac:spMkLst>
            <pc:docMk/>
            <pc:sldMk cId="928603639" sldId="2147470290"/>
            <ac:spMk id="19" creationId="{9C6D7705-7B47-48CA-8763-507E3F28CAC5}"/>
          </ac:spMkLst>
        </pc:spChg>
        <pc:spChg chg="topLvl">
          <ac:chgData name="Kate Mun (KYOUNGRAN)" userId="d8a93241-9b9d-4c25-8457-87ffab4b96e2" providerId="ADAL" clId="{D0392E92-C1C8-4E77-96D0-D493DA4AC621}" dt="2022-09-20T01:49:57.326" v="447" actId="165"/>
          <ac:spMkLst>
            <pc:docMk/>
            <pc:sldMk cId="928603639" sldId="2147470290"/>
            <ac:spMk id="20" creationId="{6C1A03E5-3139-4540-BC44-60A1641F21C9}"/>
          </ac:spMkLst>
        </pc:spChg>
        <pc:spChg chg="topLvl">
          <ac:chgData name="Kate Mun (KYOUNGRAN)" userId="d8a93241-9b9d-4c25-8457-87ffab4b96e2" providerId="ADAL" clId="{D0392E92-C1C8-4E77-96D0-D493DA4AC621}" dt="2022-09-20T01:49:57.326" v="447" actId="165"/>
          <ac:spMkLst>
            <pc:docMk/>
            <pc:sldMk cId="928603639" sldId="2147470290"/>
            <ac:spMk id="21" creationId="{5274EE84-CC74-4F13-8FC4-31F3B6A56305}"/>
          </ac:spMkLst>
        </pc:spChg>
        <pc:spChg chg="topLvl">
          <ac:chgData name="Kate Mun (KYOUNGRAN)" userId="d8a93241-9b9d-4c25-8457-87ffab4b96e2" providerId="ADAL" clId="{D0392E92-C1C8-4E77-96D0-D493DA4AC621}" dt="2022-09-20T01:49:57.326" v="447" actId="165"/>
          <ac:spMkLst>
            <pc:docMk/>
            <pc:sldMk cId="928603639" sldId="2147470290"/>
            <ac:spMk id="23" creationId="{28584AFF-BFDC-4A8C-84A2-3532AF6C2178}"/>
          </ac:spMkLst>
        </pc:spChg>
        <pc:spChg chg="topLvl">
          <ac:chgData name="Kate Mun (KYOUNGRAN)" userId="d8a93241-9b9d-4c25-8457-87ffab4b96e2" providerId="ADAL" clId="{D0392E92-C1C8-4E77-96D0-D493DA4AC621}" dt="2022-09-20T01:49:57.326" v="447" actId="165"/>
          <ac:spMkLst>
            <pc:docMk/>
            <pc:sldMk cId="928603639" sldId="2147470290"/>
            <ac:spMk id="25" creationId="{2606E6FC-05A3-449F-924C-DFB2F50FCF23}"/>
          </ac:spMkLst>
        </pc:spChg>
        <pc:spChg chg="mod">
          <ac:chgData name="Kate Mun (KYOUNGRAN)" userId="d8a93241-9b9d-4c25-8457-87ffab4b96e2" providerId="ADAL" clId="{D0392E92-C1C8-4E77-96D0-D493DA4AC621}" dt="2022-09-20T01:49:47.989" v="444" actId="14100"/>
          <ac:spMkLst>
            <pc:docMk/>
            <pc:sldMk cId="928603639" sldId="2147470290"/>
            <ac:spMk id="27" creationId="{25A3EEDD-ECC1-4A29-BF3A-A75D39C66F30}"/>
          </ac:spMkLst>
        </pc:spChg>
        <pc:spChg chg="mod">
          <ac:chgData name="Kate Mun (KYOUNGRAN)" userId="d8a93241-9b9d-4c25-8457-87ffab4b96e2" providerId="ADAL" clId="{D0392E92-C1C8-4E77-96D0-D493DA4AC621}" dt="2022-09-20T01:49:47.989" v="444" actId="14100"/>
          <ac:spMkLst>
            <pc:docMk/>
            <pc:sldMk cId="928603639" sldId="2147470290"/>
            <ac:spMk id="29" creationId="{42D6C7A5-BD2F-4576-83C3-D881986178DF}"/>
          </ac:spMkLst>
        </pc:spChg>
        <pc:grpChg chg="del mod">
          <ac:chgData name="Kate Mun (KYOUNGRAN)" userId="d8a93241-9b9d-4c25-8457-87ffab4b96e2" providerId="ADAL" clId="{D0392E92-C1C8-4E77-96D0-D493DA4AC621}" dt="2022-09-20T01:49:57.326" v="447" actId="165"/>
          <ac:grpSpMkLst>
            <pc:docMk/>
            <pc:sldMk cId="928603639" sldId="2147470290"/>
            <ac:grpSpMk id="26" creationId="{6E52F48F-839F-481A-A08F-94E510536145}"/>
          </ac:grpSpMkLst>
        </pc:grpChg>
      </pc:sldChg>
      <pc:sldChg chg="add del">
        <pc:chgData name="Kate Mun (KYOUNGRAN)" userId="d8a93241-9b9d-4c25-8457-87ffab4b96e2" providerId="ADAL" clId="{D0392E92-C1C8-4E77-96D0-D493DA4AC621}" dt="2022-09-20T02:30:02.620" v="1555" actId="47"/>
        <pc:sldMkLst>
          <pc:docMk/>
          <pc:sldMk cId="3984962656" sldId="2147470291"/>
        </pc:sldMkLst>
      </pc:sldChg>
      <pc:sldChg chg="modSp mod modClrScheme chgLayout">
        <pc:chgData name="Kate Mun (KYOUNGRAN)" userId="d8a93241-9b9d-4c25-8457-87ffab4b96e2" providerId="ADAL" clId="{D0392E92-C1C8-4E77-96D0-D493DA4AC621}" dt="2022-10-19T02:03:11.683" v="31399" actId="404"/>
        <pc:sldMkLst>
          <pc:docMk/>
          <pc:sldMk cId="1849653837" sldId="2147470292"/>
        </pc:sldMkLst>
        <pc:spChg chg="mod ord">
          <ac:chgData name="Kate Mun (KYOUNGRAN)" userId="d8a93241-9b9d-4c25-8457-87ffab4b96e2" providerId="ADAL" clId="{D0392E92-C1C8-4E77-96D0-D493DA4AC621}" dt="2022-10-19T01:34:09.116" v="31208" actId="700"/>
          <ac:spMkLst>
            <pc:docMk/>
            <pc:sldMk cId="1849653837" sldId="2147470292"/>
            <ac:spMk id="2" creationId="{C9355748-2E5A-FF43-B041-EDECD4D2DAAD}"/>
          </ac:spMkLst>
        </pc:spChg>
        <pc:spChg chg="mod ord">
          <ac:chgData name="Kate Mun (KYOUNGRAN)" userId="d8a93241-9b9d-4c25-8457-87ffab4b96e2" providerId="ADAL" clId="{D0392E92-C1C8-4E77-96D0-D493DA4AC621}" dt="2022-10-19T02:03:11.683" v="31399" actId="404"/>
          <ac:spMkLst>
            <pc:docMk/>
            <pc:sldMk cId="1849653837" sldId="2147470292"/>
            <ac:spMk id="5" creationId="{0F85905A-5E01-8F50-E18C-9D227C507F1C}"/>
          </ac:spMkLst>
        </pc:spChg>
      </pc:sldChg>
      <pc:sldChg chg="modSp add mod ord">
        <pc:chgData name="Kate Mun (KYOUNGRAN)" userId="d8a93241-9b9d-4c25-8457-87ffab4b96e2" providerId="ADAL" clId="{D0392E92-C1C8-4E77-96D0-D493DA4AC621}" dt="2022-10-19T06:03:13.523" v="33320" actId="20577"/>
        <pc:sldMkLst>
          <pc:docMk/>
          <pc:sldMk cId="1047508546" sldId="2147470293"/>
        </pc:sldMkLst>
        <pc:spChg chg="mod">
          <ac:chgData name="Kate Mun (KYOUNGRAN)" userId="d8a93241-9b9d-4c25-8457-87ffab4b96e2" providerId="ADAL" clId="{D0392E92-C1C8-4E77-96D0-D493DA4AC621}" dt="2022-10-19T06:03:13.523" v="33320" actId="20577"/>
          <ac:spMkLst>
            <pc:docMk/>
            <pc:sldMk cId="1047508546" sldId="2147470293"/>
            <ac:spMk id="4" creationId="{478E6F04-597A-5048-C40E-E4626BBD9733}"/>
          </ac:spMkLst>
        </pc:spChg>
      </pc:sldChg>
      <pc:sldChg chg="modSp add del mod ord">
        <pc:chgData name="Kate Mun (KYOUNGRAN)" userId="d8a93241-9b9d-4c25-8457-87ffab4b96e2" providerId="ADAL" clId="{D0392E92-C1C8-4E77-96D0-D493DA4AC621}" dt="2022-10-19T06:10:46.502" v="33357" actId="47"/>
        <pc:sldMkLst>
          <pc:docMk/>
          <pc:sldMk cId="823913676" sldId="2147470294"/>
        </pc:sldMkLst>
        <pc:graphicFrameChg chg="modGraphic">
          <ac:chgData name="Kate Mun (KYOUNGRAN)" userId="d8a93241-9b9d-4c25-8457-87ffab4b96e2" providerId="ADAL" clId="{D0392E92-C1C8-4E77-96D0-D493DA4AC621}" dt="2022-10-19T06:10:36.970" v="33356" actId="20577"/>
          <ac:graphicFrameMkLst>
            <pc:docMk/>
            <pc:sldMk cId="823913676" sldId="2147470294"/>
            <ac:graphicFrameMk id="6" creationId="{68528D9B-EBFC-CDC1-FCB5-4876429BE43B}"/>
          </ac:graphicFrameMkLst>
        </pc:graphicFrameChg>
      </pc:sldChg>
      <pc:sldChg chg="addSp delSp modSp new add del mod">
        <pc:chgData name="Kate Mun (KYOUNGRAN)" userId="d8a93241-9b9d-4c25-8457-87ffab4b96e2" providerId="ADAL" clId="{D0392E92-C1C8-4E77-96D0-D493DA4AC621}" dt="2022-09-20T01:35:05.620" v="191" actId="2696"/>
        <pc:sldMkLst>
          <pc:docMk/>
          <pc:sldMk cId="881531869" sldId="2147470294"/>
        </pc:sldMkLst>
        <pc:spChg chg="mod">
          <ac:chgData name="Kate Mun (KYOUNGRAN)" userId="d8a93241-9b9d-4c25-8457-87ffab4b96e2" providerId="ADAL" clId="{D0392E92-C1C8-4E77-96D0-D493DA4AC621}" dt="2022-09-20T01:34:44.337" v="188" actId="255"/>
          <ac:spMkLst>
            <pc:docMk/>
            <pc:sldMk cId="881531869" sldId="2147470294"/>
            <ac:spMk id="2" creationId="{45A08029-C77E-1A66-F4B0-628D2FE547B0}"/>
          </ac:spMkLst>
        </pc:spChg>
        <pc:spChg chg="del">
          <ac:chgData name="Kate Mun (KYOUNGRAN)" userId="d8a93241-9b9d-4c25-8457-87ffab4b96e2" providerId="ADAL" clId="{D0392E92-C1C8-4E77-96D0-D493DA4AC621}" dt="2022-09-20T01:31:25.044" v="161" actId="478"/>
          <ac:spMkLst>
            <pc:docMk/>
            <pc:sldMk cId="881531869" sldId="2147470294"/>
            <ac:spMk id="3" creationId="{E62B48F2-8D13-E963-2540-4BC08521C9AA}"/>
          </ac:spMkLst>
        </pc:spChg>
        <pc:spChg chg="del">
          <ac:chgData name="Kate Mun (KYOUNGRAN)" userId="d8a93241-9b9d-4c25-8457-87ffab4b96e2" providerId="ADAL" clId="{D0392E92-C1C8-4E77-96D0-D493DA4AC621}" dt="2022-09-20T01:31:26.670" v="162" actId="478"/>
          <ac:spMkLst>
            <pc:docMk/>
            <pc:sldMk cId="881531869" sldId="2147470294"/>
            <ac:spMk id="4" creationId="{E417CF40-801B-CF17-3602-3CD3337963B0}"/>
          </ac:spMkLst>
        </pc:spChg>
        <pc:graphicFrameChg chg="add del mod">
          <ac:chgData name="Kate Mun (KYOUNGRAN)" userId="d8a93241-9b9d-4c25-8457-87ffab4b96e2" providerId="ADAL" clId="{D0392E92-C1C8-4E77-96D0-D493DA4AC621}" dt="2022-09-20T01:31:21.725" v="160" actId="478"/>
          <ac:graphicFrameMkLst>
            <pc:docMk/>
            <pc:sldMk cId="881531869" sldId="2147470294"/>
            <ac:graphicFrameMk id="5" creationId="{759E2863-4F6F-06C6-A8F0-6DD620DB5661}"/>
          </ac:graphicFrameMkLst>
        </pc:graphicFrameChg>
        <pc:graphicFrameChg chg="add mod">
          <ac:chgData name="Kate Mun (KYOUNGRAN)" userId="d8a93241-9b9d-4c25-8457-87ffab4b96e2" providerId="ADAL" clId="{D0392E92-C1C8-4E77-96D0-D493DA4AC621}" dt="2022-09-20T01:31:27.653" v="163"/>
          <ac:graphicFrameMkLst>
            <pc:docMk/>
            <pc:sldMk cId="881531869" sldId="2147470294"/>
            <ac:graphicFrameMk id="6" creationId="{68528D9B-EBFC-CDC1-FCB5-4876429BE43B}"/>
          </ac:graphicFrameMkLst>
        </pc:graphicFrameChg>
      </pc:sldChg>
      <pc:sldChg chg="add del addCm">
        <pc:chgData name="Kate Mun (KYOUNGRAN)" userId="d8a93241-9b9d-4c25-8457-87ffab4b96e2" providerId="ADAL" clId="{D0392E92-C1C8-4E77-96D0-D493DA4AC621}" dt="2022-10-19T06:00:03.934" v="33201" actId="2696"/>
        <pc:sldMkLst>
          <pc:docMk/>
          <pc:sldMk cId="1090112917" sldId="2147470294"/>
        </pc:sldMkLst>
      </pc:sldChg>
      <pc:sldChg chg="modSp mod modClrScheme chgLayout">
        <pc:chgData name="Kate Mun (KYOUNGRAN)" userId="d8a93241-9b9d-4c25-8457-87ffab4b96e2" providerId="ADAL" clId="{D0392E92-C1C8-4E77-96D0-D493DA4AC621}" dt="2022-10-19T01:34:09.116" v="31208" actId="700"/>
        <pc:sldMkLst>
          <pc:docMk/>
          <pc:sldMk cId="1120900647" sldId="2147470295"/>
        </pc:sldMkLst>
        <pc:spChg chg="mod ord">
          <ac:chgData name="Kate Mun (KYOUNGRAN)" userId="d8a93241-9b9d-4c25-8457-87ffab4b96e2" providerId="ADAL" clId="{D0392E92-C1C8-4E77-96D0-D493DA4AC621}" dt="2022-10-19T01:34:09.116" v="31208" actId="700"/>
          <ac:spMkLst>
            <pc:docMk/>
            <pc:sldMk cId="1120900647" sldId="2147470295"/>
            <ac:spMk id="2" creationId="{C9355748-2E5A-FF43-B041-EDECD4D2DAAD}"/>
          </ac:spMkLst>
        </pc:spChg>
        <pc:spChg chg="mod ord">
          <ac:chgData name="Kate Mun (KYOUNGRAN)" userId="d8a93241-9b9d-4c25-8457-87ffab4b96e2" providerId="ADAL" clId="{D0392E92-C1C8-4E77-96D0-D493DA4AC621}" dt="2022-10-19T01:34:09.116" v="31208" actId="700"/>
          <ac:spMkLst>
            <pc:docMk/>
            <pc:sldMk cId="1120900647" sldId="2147470295"/>
            <ac:spMk id="5" creationId="{0F85905A-5E01-8F50-E18C-9D227C507F1C}"/>
          </ac:spMkLst>
        </pc:spChg>
      </pc:sldChg>
      <pc:sldChg chg="new ord">
        <pc:chgData name="Kate Mun (KYOUNGRAN)" userId="d8a93241-9b9d-4c25-8457-87ffab4b96e2" providerId="ADAL" clId="{D0392E92-C1C8-4E77-96D0-D493DA4AC621}" dt="2022-09-20T01:36:54.621" v="198"/>
        <pc:sldMkLst>
          <pc:docMk/>
          <pc:sldMk cId="2229526494" sldId="2147470295"/>
        </pc:sldMkLst>
      </pc:sldChg>
      <pc:sldChg chg="addSp modSp add mod chgLayout">
        <pc:chgData name="Kate Mun (KYOUNGRAN)" userId="d8a93241-9b9d-4c25-8457-87ffab4b96e2" providerId="ADAL" clId="{D0392E92-C1C8-4E77-96D0-D493DA4AC621}" dt="2022-10-19T01:58:14.743" v="31347" actId="404"/>
        <pc:sldMkLst>
          <pc:docMk/>
          <pc:sldMk cId="50841939" sldId="2147470296"/>
        </pc:sldMkLst>
        <pc:spChg chg="mod ord">
          <ac:chgData name="Kate Mun (KYOUNGRAN)" userId="d8a93241-9b9d-4c25-8457-87ffab4b96e2" providerId="ADAL" clId="{D0392E92-C1C8-4E77-96D0-D493DA4AC621}" dt="2022-10-19T01:58:03.130" v="31344" actId="2711"/>
          <ac:spMkLst>
            <pc:docMk/>
            <pc:sldMk cId="50841939" sldId="2147470296"/>
            <ac:spMk id="2" creationId="{C9355748-2E5A-FF43-B041-EDECD4D2DAAD}"/>
          </ac:spMkLst>
        </pc:spChg>
        <pc:spChg chg="add mod ord">
          <ac:chgData name="Kate Mun (KYOUNGRAN)" userId="d8a93241-9b9d-4c25-8457-87ffab4b96e2" providerId="ADAL" clId="{D0392E92-C1C8-4E77-96D0-D493DA4AC621}" dt="2022-10-19T01:35:03.471" v="31215" actId="700"/>
          <ac:spMkLst>
            <pc:docMk/>
            <pc:sldMk cId="50841939" sldId="2147470296"/>
            <ac:spMk id="3" creationId="{8181BAF3-C840-BFA0-BE73-97CB4052F7F5}"/>
          </ac:spMkLst>
        </pc:spChg>
        <pc:graphicFrameChg chg="modGraphic">
          <ac:chgData name="Kate Mun (KYOUNGRAN)" userId="d8a93241-9b9d-4c25-8457-87ffab4b96e2" providerId="ADAL" clId="{D0392E92-C1C8-4E77-96D0-D493DA4AC621}" dt="2022-10-19T01:58:14.743" v="31347" actId="404"/>
          <ac:graphicFrameMkLst>
            <pc:docMk/>
            <pc:sldMk cId="50841939" sldId="2147470296"/>
            <ac:graphicFrameMk id="7" creationId="{0F05B7EE-C160-4826-865A-35438E9C952B}"/>
          </ac:graphicFrameMkLst>
        </pc:graphicFrameChg>
      </pc:sldChg>
      <pc:sldChg chg="addSp delSp modSp add mod addCm delCm chgLayout">
        <pc:chgData name="Kate Mun (KYOUNGRAN)" userId="d8a93241-9b9d-4c25-8457-87ffab4b96e2" providerId="ADAL" clId="{D0392E92-C1C8-4E77-96D0-D493DA4AC621}" dt="2022-10-19T12:39:30.879" v="34309" actId="5793"/>
        <pc:sldMkLst>
          <pc:docMk/>
          <pc:sldMk cId="1935889381" sldId="2147470297"/>
        </pc:sldMkLst>
        <pc:spChg chg="mod ord">
          <ac:chgData name="Kate Mun (KYOUNGRAN)" userId="d8a93241-9b9d-4c25-8457-87ffab4b96e2" providerId="ADAL" clId="{D0392E92-C1C8-4E77-96D0-D493DA4AC621}" dt="2022-10-19T02:41:37.528" v="32244" actId="2711"/>
          <ac:spMkLst>
            <pc:docMk/>
            <pc:sldMk cId="1935889381" sldId="2147470297"/>
            <ac:spMk id="2" creationId="{C9355748-2E5A-FF43-B041-EDECD4D2DAAD}"/>
          </ac:spMkLst>
        </pc:spChg>
        <pc:spChg chg="add mod">
          <ac:chgData name="Kate Mun (KYOUNGRAN)" userId="d8a93241-9b9d-4c25-8457-87ffab4b96e2" providerId="ADAL" clId="{D0392E92-C1C8-4E77-96D0-D493DA4AC621}" dt="2022-10-19T02:40:45.138" v="32221" actId="255"/>
          <ac:spMkLst>
            <pc:docMk/>
            <pc:sldMk cId="1935889381" sldId="2147470297"/>
            <ac:spMk id="3" creationId="{1542570D-4EA8-B9F2-AB64-B4C7B35995AA}"/>
          </ac:spMkLst>
        </pc:spChg>
        <pc:spChg chg="add mod ord">
          <ac:chgData name="Kate Mun (KYOUNGRAN)" userId="d8a93241-9b9d-4c25-8457-87ffab4b96e2" providerId="ADAL" clId="{D0392E92-C1C8-4E77-96D0-D493DA4AC621}" dt="2022-10-19T12:39:30.879" v="34309" actId="5793"/>
          <ac:spMkLst>
            <pc:docMk/>
            <pc:sldMk cId="1935889381" sldId="2147470297"/>
            <ac:spMk id="4" creationId="{9109C0C6-613F-1497-6035-DF84840ABB7F}"/>
          </ac:spMkLst>
        </pc:spChg>
        <pc:spChg chg="del">
          <ac:chgData name="Kate Mun (KYOUNGRAN)" userId="d8a93241-9b9d-4c25-8457-87ffab4b96e2" providerId="ADAL" clId="{D0392E92-C1C8-4E77-96D0-D493DA4AC621}" dt="2022-09-21T07:15:24.163" v="8263" actId="478"/>
          <ac:spMkLst>
            <pc:docMk/>
            <pc:sldMk cId="1935889381" sldId="2147470297"/>
            <ac:spMk id="5" creationId="{B02B21A7-72C3-436C-A549-AB5B8F690EA5}"/>
          </ac:spMkLst>
        </pc:spChg>
        <pc:spChg chg="add del mod">
          <ac:chgData name="Kate Mun (KYOUNGRAN)" userId="d8a93241-9b9d-4c25-8457-87ffab4b96e2" providerId="ADAL" clId="{D0392E92-C1C8-4E77-96D0-D493DA4AC621}" dt="2022-10-19T02:38:36.863" v="32006" actId="478"/>
          <ac:spMkLst>
            <pc:docMk/>
            <pc:sldMk cId="1935889381" sldId="2147470297"/>
            <ac:spMk id="6" creationId="{8691214C-3427-4D5E-9C6C-0AA5E6CAA2DC}"/>
          </ac:spMkLst>
        </pc:spChg>
      </pc:sldChg>
      <pc:sldChg chg="addSp delSp modSp add mod ord chgLayout">
        <pc:chgData name="Kate Mun (KYOUNGRAN)" userId="d8a93241-9b9d-4c25-8457-87ffab4b96e2" providerId="ADAL" clId="{D0392E92-C1C8-4E77-96D0-D493DA4AC621}" dt="2022-10-19T02:33:32.939" v="31853" actId="255"/>
        <pc:sldMkLst>
          <pc:docMk/>
          <pc:sldMk cId="1970218910" sldId="2147470298"/>
        </pc:sldMkLst>
        <pc:spChg chg="mod ord">
          <ac:chgData name="Kate Mun (KYOUNGRAN)" userId="d8a93241-9b9d-4c25-8457-87ffab4b96e2" providerId="ADAL" clId="{D0392E92-C1C8-4E77-96D0-D493DA4AC621}" dt="2022-10-19T01:35:03.471" v="31215" actId="700"/>
          <ac:spMkLst>
            <pc:docMk/>
            <pc:sldMk cId="1970218910" sldId="2147470298"/>
            <ac:spMk id="2" creationId="{C9355748-2E5A-FF43-B041-EDECD4D2DAAD}"/>
          </ac:spMkLst>
        </pc:spChg>
        <pc:spChg chg="del mod">
          <ac:chgData name="Kate Mun (KYOUNGRAN)" userId="d8a93241-9b9d-4c25-8457-87ffab4b96e2" providerId="ADAL" clId="{D0392E92-C1C8-4E77-96D0-D493DA4AC621}" dt="2022-10-19T02:16:54.110" v="31778" actId="478"/>
          <ac:spMkLst>
            <pc:docMk/>
            <pc:sldMk cId="1970218910" sldId="2147470298"/>
            <ac:spMk id="3" creationId="{91F7F35A-C6C0-4BCE-B9AD-298C96939022}"/>
          </ac:spMkLst>
        </pc:spChg>
        <pc:spChg chg="add mod ord">
          <ac:chgData name="Kate Mun (KYOUNGRAN)" userId="d8a93241-9b9d-4c25-8457-87ffab4b96e2" providerId="ADAL" clId="{D0392E92-C1C8-4E77-96D0-D493DA4AC621}" dt="2022-10-19T02:33:32.939" v="31853" actId="255"/>
          <ac:spMkLst>
            <pc:docMk/>
            <pc:sldMk cId="1970218910" sldId="2147470298"/>
            <ac:spMk id="4" creationId="{9FE0FDCA-0807-214C-937B-4A7B101D596F}"/>
          </ac:spMkLst>
        </pc:spChg>
        <pc:picChg chg="del mod">
          <ac:chgData name="Kate Mun (KYOUNGRAN)" userId="d8a93241-9b9d-4c25-8457-87ffab4b96e2" providerId="ADAL" clId="{D0392E92-C1C8-4E77-96D0-D493DA4AC621}" dt="2022-09-21T06:59:47.273" v="8113" actId="478"/>
          <ac:picMkLst>
            <pc:docMk/>
            <pc:sldMk cId="1970218910" sldId="2147470298"/>
            <ac:picMk id="5" creationId="{30CE7C6B-3CED-4C8B-BE79-586277D44503}"/>
          </ac:picMkLst>
        </pc:picChg>
        <pc:picChg chg="add del mod">
          <ac:chgData name="Kate Mun (KYOUNGRAN)" userId="d8a93241-9b9d-4c25-8457-87ffab4b96e2" providerId="ADAL" clId="{D0392E92-C1C8-4E77-96D0-D493DA4AC621}" dt="2022-09-21T07:47:53.479" v="9225" actId="478"/>
          <ac:picMkLst>
            <pc:docMk/>
            <pc:sldMk cId="1970218910" sldId="2147470298"/>
            <ac:picMk id="6" creationId="{EDBE46BF-805D-E077-3153-0558A07ABEF9}"/>
          </ac:picMkLst>
        </pc:picChg>
      </pc:sldChg>
      <pc:sldChg chg="modSp add del mod ord">
        <pc:chgData name="Kate Mun (KYOUNGRAN)" userId="d8a93241-9b9d-4c25-8457-87ffab4b96e2" providerId="ADAL" clId="{D0392E92-C1C8-4E77-96D0-D493DA4AC621}" dt="2022-09-20T02:27:35.845" v="1428" actId="47"/>
        <pc:sldMkLst>
          <pc:docMk/>
          <pc:sldMk cId="3704202183" sldId="2147470299"/>
        </pc:sldMkLst>
        <pc:graphicFrameChg chg="modGraphic">
          <ac:chgData name="Kate Mun (KYOUNGRAN)" userId="d8a93241-9b9d-4c25-8457-87ffab4b96e2" providerId="ADAL" clId="{D0392E92-C1C8-4E77-96D0-D493DA4AC621}" dt="2022-09-20T01:42:55.190" v="329" actId="20577"/>
          <ac:graphicFrameMkLst>
            <pc:docMk/>
            <pc:sldMk cId="3704202183" sldId="2147470299"/>
            <ac:graphicFrameMk id="8" creationId="{C4FE3FC9-6585-4CE7-A9E2-B8FD9EE36CA7}"/>
          </ac:graphicFrameMkLst>
        </pc:graphicFrameChg>
      </pc:sldChg>
      <pc:sldChg chg="addSp delSp modSp add mod delAnim modAnim chgLayout">
        <pc:chgData name="Kate Mun (KYOUNGRAN)" userId="d8a93241-9b9d-4c25-8457-87ffab4b96e2" providerId="ADAL" clId="{D0392E92-C1C8-4E77-96D0-D493DA4AC621}" dt="2022-10-20T02:46:53.298" v="34323" actId="478"/>
        <pc:sldMkLst>
          <pc:docMk/>
          <pc:sldMk cId="3420303442" sldId="2147470300"/>
        </pc:sldMkLst>
        <pc:spChg chg="mod ord">
          <ac:chgData name="Kate Mun (KYOUNGRAN)" userId="d8a93241-9b9d-4c25-8457-87ffab4b96e2" providerId="ADAL" clId="{D0392E92-C1C8-4E77-96D0-D493DA4AC621}" dt="2022-10-19T01:35:03.471" v="31215" actId="700"/>
          <ac:spMkLst>
            <pc:docMk/>
            <pc:sldMk cId="3420303442" sldId="2147470300"/>
            <ac:spMk id="2" creationId="{C9355748-2E5A-FF43-B041-EDECD4D2DAAD}"/>
          </ac:spMkLst>
        </pc:spChg>
        <pc:spChg chg="add del mod ord">
          <ac:chgData name="Kate Mun (KYOUNGRAN)" userId="d8a93241-9b9d-4c25-8457-87ffab4b96e2" providerId="ADAL" clId="{D0392E92-C1C8-4E77-96D0-D493DA4AC621}" dt="2022-10-20T02:46:53.298" v="34323" actId="478"/>
          <ac:spMkLst>
            <pc:docMk/>
            <pc:sldMk cId="3420303442" sldId="2147470300"/>
            <ac:spMk id="3" creationId="{41FC5980-B26A-DA61-5320-696A1B2E91B5}"/>
          </ac:spMkLst>
        </pc:spChg>
        <pc:spChg chg="add del mod">
          <ac:chgData name="Kate Mun (KYOUNGRAN)" userId="d8a93241-9b9d-4c25-8457-87ffab4b96e2" providerId="ADAL" clId="{D0392E92-C1C8-4E77-96D0-D493DA4AC621}" dt="2022-09-20T01:46:32.992" v="363" actId="478"/>
          <ac:spMkLst>
            <pc:docMk/>
            <pc:sldMk cId="3420303442" sldId="2147470300"/>
            <ac:spMk id="3" creationId="{FF929EFA-E596-2E99-BC72-4792D631B781}"/>
          </ac:spMkLst>
        </pc:spChg>
        <pc:spChg chg="add del mod">
          <ac:chgData name="Kate Mun (KYOUNGRAN)" userId="d8a93241-9b9d-4c25-8457-87ffab4b96e2" providerId="ADAL" clId="{D0392E92-C1C8-4E77-96D0-D493DA4AC621}" dt="2022-09-20T01:46:32.992" v="363" actId="478"/>
          <ac:spMkLst>
            <pc:docMk/>
            <pc:sldMk cId="3420303442" sldId="2147470300"/>
            <ac:spMk id="4" creationId="{FDE735BF-85B0-D6AC-A13C-78C4DD53D5CE}"/>
          </ac:spMkLst>
        </pc:spChg>
        <pc:spChg chg="add del mod">
          <ac:chgData name="Kate Mun (KYOUNGRAN)" userId="d8a93241-9b9d-4c25-8457-87ffab4b96e2" providerId="ADAL" clId="{D0392E92-C1C8-4E77-96D0-D493DA4AC621}" dt="2022-09-20T01:46:32.992" v="363" actId="478"/>
          <ac:spMkLst>
            <pc:docMk/>
            <pc:sldMk cId="3420303442" sldId="2147470300"/>
            <ac:spMk id="5" creationId="{2268D5CE-7503-D93F-FED9-2D03F006DA6E}"/>
          </ac:spMkLst>
        </pc:spChg>
        <pc:spChg chg="add del mod">
          <ac:chgData name="Kate Mun (KYOUNGRAN)" userId="d8a93241-9b9d-4c25-8457-87ffab4b96e2" providerId="ADAL" clId="{D0392E92-C1C8-4E77-96D0-D493DA4AC621}" dt="2022-09-20T01:46:32.992" v="363" actId="478"/>
          <ac:spMkLst>
            <pc:docMk/>
            <pc:sldMk cId="3420303442" sldId="2147470300"/>
            <ac:spMk id="6" creationId="{7DA712E7-AEF7-E7AD-FFD7-B57910242D5D}"/>
          </ac:spMkLst>
        </pc:spChg>
        <pc:spChg chg="add del mod">
          <ac:chgData name="Kate Mun (KYOUNGRAN)" userId="d8a93241-9b9d-4c25-8457-87ffab4b96e2" providerId="ADAL" clId="{D0392E92-C1C8-4E77-96D0-D493DA4AC621}" dt="2022-09-20T01:46:32.992" v="363" actId="478"/>
          <ac:spMkLst>
            <pc:docMk/>
            <pc:sldMk cId="3420303442" sldId="2147470300"/>
            <ac:spMk id="8" creationId="{251A6399-FA3C-06ED-3CAA-EAAE78A4CEF7}"/>
          </ac:spMkLst>
        </pc:spChg>
        <pc:spChg chg="add del mod">
          <ac:chgData name="Kate Mun (KYOUNGRAN)" userId="d8a93241-9b9d-4c25-8457-87ffab4b96e2" providerId="ADAL" clId="{D0392E92-C1C8-4E77-96D0-D493DA4AC621}" dt="2022-09-20T01:46:32.992" v="363" actId="478"/>
          <ac:spMkLst>
            <pc:docMk/>
            <pc:sldMk cId="3420303442" sldId="2147470300"/>
            <ac:spMk id="9" creationId="{4A5C19B3-2135-17D9-BB0B-BB69EC9831C5}"/>
          </ac:spMkLst>
        </pc:spChg>
        <pc:spChg chg="add del mod">
          <ac:chgData name="Kate Mun (KYOUNGRAN)" userId="d8a93241-9b9d-4c25-8457-87ffab4b96e2" providerId="ADAL" clId="{D0392E92-C1C8-4E77-96D0-D493DA4AC621}" dt="2022-09-20T01:46:32.992" v="363" actId="478"/>
          <ac:spMkLst>
            <pc:docMk/>
            <pc:sldMk cId="3420303442" sldId="2147470300"/>
            <ac:spMk id="10" creationId="{D1425C30-025D-32C9-4948-0F940B861807}"/>
          </ac:spMkLst>
        </pc:spChg>
        <pc:spChg chg="add del mod">
          <ac:chgData name="Kate Mun (KYOUNGRAN)" userId="d8a93241-9b9d-4c25-8457-87ffab4b96e2" providerId="ADAL" clId="{D0392E92-C1C8-4E77-96D0-D493DA4AC621}" dt="2022-09-20T01:46:32.992" v="363" actId="478"/>
          <ac:spMkLst>
            <pc:docMk/>
            <pc:sldMk cId="3420303442" sldId="2147470300"/>
            <ac:spMk id="11" creationId="{C9A5EA34-D678-597A-771A-489AB1A10E41}"/>
          </ac:spMkLst>
        </pc:spChg>
        <pc:spChg chg="add del mod">
          <ac:chgData name="Kate Mun (KYOUNGRAN)" userId="d8a93241-9b9d-4c25-8457-87ffab4b96e2" providerId="ADAL" clId="{D0392E92-C1C8-4E77-96D0-D493DA4AC621}" dt="2022-09-20T01:46:32.992" v="363" actId="478"/>
          <ac:spMkLst>
            <pc:docMk/>
            <pc:sldMk cId="3420303442" sldId="2147470300"/>
            <ac:spMk id="12" creationId="{A0E2C3A0-1A94-0150-3B54-D3A8BB9178FC}"/>
          </ac:spMkLst>
        </pc:spChg>
        <pc:spChg chg="add del mod">
          <ac:chgData name="Kate Mun (KYOUNGRAN)" userId="d8a93241-9b9d-4c25-8457-87ffab4b96e2" providerId="ADAL" clId="{D0392E92-C1C8-4E77-96D0-D493DA4AC621}" dt="2022-09-20T01:46:32.992" v="363" actId="478"/>
          <ac:spMkLst>
            <pc:docMk/>
            <pc:sldMk cId="3420303442" sldId="2147470300"/>
            <ac:spMk id="13" creationId="{77CFECB2-401E-078B-EED4-2158FC010E93}"/>
          </ac:spMkLst>
        </pc:spChg>
        <pc:spChg chg="add del mod">
          <ac:chgData name="Kate Mun (KYOUNGRAN)" userId="d8a93241-9b9d-4c25-8457-87ffab4b96e2" providerId="ADAL" clId="{D0392E92-C1C8-4E77-96D0-D493DA4AC621}" dt="2022-09-20T01:46:32.992" v="363" actId="478"/>
          <ac:spMkLst>
            <pc:docMk/>
            <pc:sldMk cId="3420303442" sldId="2147470300"/>
            <ac:spMk id="14" creationId="{C972E712-D25A-A030-88B4-677C62C25114}"/>
          </ac:spMkLst>
        </pc:spChg>
        <pc:spChg chg="add del mod">
          <ac:chgData name="Kate Mun (KYOUNGRAN)" userId="d8a93241-9b9d-4c25-8457-87ffab4b96e2" providerId="ADAL" clId="{D0392E92-C1C8-4E77-96D0-D493DA4AC621}" dt="2022-09-20T01:46:32.992" v="363" actId="478"/>
          <ac:spMkLst>
            <pc:docMk/>
            <pc:sldMk cId="3420303442" sldId="2147470300"/>
            <ac:spMk id="15" creationId="{878EE961-A1AD-873C-8D8B-9284499C0981}"/>
          </ac:spMkLst>
        </pc:spChg>
        <pc:spChg chg="add del mod">
          <ac:chgData name="Kate Mun (KYOUNGRAN)" userId="d8a93241-9b9d-4c25-8457-87ffab4b96e2" providerId="ADAL" clId="{D0392E92-C1C8-4E77-96D0-D493DA4AC621}" dt="2022-09-20T01:46:32.992" v="363" actId="478"/>
          <ac:spMkLst>
            <pc:docMk/>
            <pc:sldMk cId="3420303442" sldId="2147470300"/>
            <ac:spMk id="16" creationId="{ED019A8E-7C80-9213-6BE9-152792F65C2B}"/>
          </ac:spMkLst>
        </pc:spChg>
        <pc:spChg chg="add del mod">
          <ac:chgData name="Kate Mun (KYOUNGRAN)" userId="d8a93241-9b9d-4c25-8457-87ffab4b96e2" providerId="ADAL" clId="{D0392E92-C1C8-4E77-96D0-D493DA4AC621}" dt="2022-09-20T01:46:32.992" v="363" actId="478"/>
          <ac:spMkLst>
            <pc:docMk/>
            <pc:sldMk cId="3420303442" sldId="2147470300"/>
            <ac:spMk id="17" creationId="{5C92BAE1-CD5C-E852-6A98-5156D67DC201}"/>
          </ac:spMkLst>
        </pc:spChg>
        <pc:spChg chg="add del mod">
          <ac:chgData name="Kate Mun (KYOUNGRAN)" userId="d8a93241-9b9d-4c25-8457-87ffab4b96e2" providerId="ADAL" clId="{D0392E92-C1C8-4E77-96D0-D493DA4AC621}" dt="2022-09-20T01:46:32.992" v="363" actId="478"/>
          <ac:spMkLst>
            <pc:docMk/>
            <pc:sldMk cId="3420303442" sldId="2147470300"/>
            <ac:spMk id="18" creationId="{F28C8F3B-E1ED-8DA4-63BD-2FE10896F67C}"/>
          </ac:spMkLst>
        </pc:spChg>
        <pc:spChg chg="add del mod">
          <ac:chgData name="Kate Mun (KYOUNGRAN)" userId="d8a93241-9b9d-4c25-8457-87ffab4b96e2" providerId="ADAL" clId="{D0392E92-C1C8-4E77-96D0-D493DA4AC621}" dt="2022-09-20T01:46:32.992" v="363" actId="478"/>
          <ac:spMkLst>
            <pc:docMk/>
            <pc:sldMk cId="3420303442" sldId="2147470300"/>
            <ac:spMk id="19" creationId="{B8EA63EC-D21E-D911-E8FA-EA56B6D0F749}"/>
          </ac:spMkLst>
        </pc:spChg>
        <pc:spChg chg="add del mod">
          <ac:chgData name="Kate Mun (KYOUNGRAN)" userId="d8a93241-9b9d-4c25-8457-87ffab4b96e2" providerId="ADAL" clId="{D0392E92-C1C8-4E77-96D0-D493DA4AC621}" dt="2022-09-20T01:46:32.992" v="363" actId="478"/>
          <ac:spMkLst>
            <pc:docMk/>
            <pc:sldMk cId="3420303442" sldId="2147470300"/>
            <ac:spMk id="20" creationId="{6BE770F6-E4A5-A171-1F04-1EDCF2AB8BBC}"/>
          </ac:spMkLst>
        </pc:spChg>
        <pc:spChg chg="add mod topLvl">
          <ac:chgData name="Kate Mun (KYOUNGRAN)" userId="d8a93241-9b9d-4c25-8457-87ffab4b96e2" providerId="ADAL" clId="{D0392E92-C1C8-4E77-96D0-D493DA4AC621}" dt="2022-09-20T02:05:51.491" v="979" actId="165"/>
          <ac:spMkLst>
            <pc:docMk/>
            <pc:sldMk cId="3420303442" sldId="2147470300"/>
            <ac:spMk id="21" creationId="{8399CEAB-9BDB-A990-A874-4CA080894034}"/>
          </ac:spMkLst>
        </pc:spChg>
        <pc:spChg chg="add mod topLvl">
          <ac:chgData name="Kate Mun (KYOUNGRAN)" userId="d8a93241-9b9d-4c25-8457-87ffab4b96e2" providerId="ADAL" clId="{D0392E92-C1C8-4E77-96D0-D493DA4AC621}" dt="2022-09-20T02:05:51.491" v="979" actId="165"/>
          <ac:spMkLst>
            <pc:docMk/>
            <pc:sldMk cId="3420303442" sldId="2147470300"/>
            <ac:spMk id="22" creationId="{7FEAB658-337C-82B3-35E5-C24AA0683414}"/>
          </ac:spMkLst>
        </pc:spChg>
        <pc:spChg chg="add mod topLvl">
          <ac:chgData name="Kate Mun (KYOUNGRAN)" userId="d8a93241-9b9d-4c25-8457-87ffab4b96e2" providerId="ADAL" clId="{D0392E92-C1C8-4E77-96D0-D493DA4AC621}" dt="2022-09-20T02:05:51.491" v="979" actId="165"/>
          <ac:spMkLst>
            <pc:docMk/>
            <pc:sldMk cId="3420303442" sldId="2147470300"/>
            <ac:spMk id="23" creationId="{EB82FFD0-CE51-2DAD-A423-F09B91437A72}"/>
          </ac:spMkLst>
        </pc:spChg>
        <pc:spChg chg="add mod topLvl">
          <ac:chgData name="Kate Mun (KYOUNGRAN)" userId="d8a93241-9b9d-4c25-8457-87ffab4b96e2" providerId="ADAL" clId="{D0392E92-C1C8-4E77-96D0-D493DA4AC621}" dt="2022-09-20T02:05:51.491" v="979" actId="165"/>
          <ac:spMkLst>
            <pc:docMk/>
            <pc:sldMk cId="3420303442" sldId="2147470300"/>
            <ac:spMk id="24" creationId="{41CF552B-D243-453B-0811-5F62D5C6C12A}"/>
          </ac:spMkLst>
        </pc:spChg>
        <pc:spChg chg="add mod topLvl">
          <ac:chgData name="Kate Mun (KYOUNGRAN)" userId="d8a93241-9b9d-4c25-8457-87ffab4b96e2" providerId="ADAL" clId="{D0392E92-C1C8-4E77-96D0-D493DA4AC621}" dt="2022-09-20T02:05:51.491" v="979" actId="165"/>
          <ac:spMkLst>
            <pc:docMk/>
            <pc:sldMk cId="3420303442" sldId="2147470300"/>
            <ac:spMk id="25" creationId="{4EBB77AA-7BD3-7679-C88C-5B6B5656D933}"/>
          </ac:spMkLst>
        </pc:spChg>
        <pc:spChg chg="add mod topLvl">
          <ac:chgData name="Kate Mun (KYOUNGRAN)" userId="d8a93241-9b9d-4c25-8457-87ffab4b96e2" providerId="ADAL" clId="{D0392E92-C1C8-4E77-96D0-D493DA4AC621}" dt="2022-09-20T02:05:51.491" v="979" actId="165"/>
          <ac:spMkLst>
            <pc:docMk/>
            <pc:sldMk cId="3420303442" sldId="2147470300"/>
            <ac:spMk id="26" creationId="{BFE7FB49-5C8D-A0B8-21F8-D0D93AEDCE07}"/>
          </ac:spMkLst>
        </pc:spChg>
        <pc:spChg chg="add mod topLvl">
          <ac:chgData name="Kate Mun (KYOUNGRAN)" userId="d8a93241-9b9d-4c25-8457-87ffab4b96e2" providerId="ADAL" clId="{D0392E92-C1C8-4E77-96D0-D493DA4AC621}" dt="2022-09-20T02:05:51.491" v="979" actId="165"/>
          <ac:spMkLst>
            <pc:docMk/>
            <pc:sldMk cId="3420303442" sldId="2147470300"/>
            <ac:spMk id="27" creationId="{6CD83462-7328-5776-9D66-2B89633F7942}"/>
          </ac:spMkLst>
        </pc:spChg>
        <pc:spChg chg="add mod topLvl">
          <ac:chgData name="Kate Mun (KYOUNGRAN)" userId="d8a93241-9b9d-4c25-8457-87ffab4b96e2" providerId="ADAL" clId="{D0392E92-C1C8-4E77-96D0-D493DA4AC621}" dt="2022-10-20T02:46:35.368" v="34320" actId="14100"/>
          <ac:spMkLst>
            <pc:docMk/>
            <pc:sldMk cId="3420303442" sldId="2147470300"/>
            <ac:spMk id="28" creationId="{1D4C1852-E094-4E2E-9E85-3EF521938051}"/>
          </ac:spMkLst>
        </pc:spChg>
        <pc:spChg chg="add mod topLvl">
          <ac:chgData name="Kate Mun (KYOUNGRAN)" userId="d8a93241-9b9d-4c25-8457-87ffab4b96e2" providerId="ADAL" clId="{D0392E92-C1C8-4E77-96D0-D493DA4AC621}" dt="2022-09-20T02:05:51.491" v="979" actId="165"/>
          <ac:spMkLst>
            <pc:docMk/>
            <pc:sldMk cId="3420303442" sldId="2147470300"/>
            <ac:spMk id="29" creationId="{FCA7E32E-3D6E-9949-CEDE-6D3B3C3C865E}"/>
          </ac:spMkLst>
        </pc:spChg>
        <pc:spChg chg="add mod topLvl">
          <ac:chgData name="Kate Mun (KYOUNGRAN)" userId="d8a93241-9b9d-4c25-8457-87ffab4b96e2" providerId="ADAL" clId="{D0392E92-C1C8-4E77-96D0-D493DA4AC621}" dt="2022-09-20T02:05:51.491" v="979" actId="165"/>
          <ac:spMkLst>
            <pc:docMk/>
            <pc:sldMk cId="3420303442" sldId="2147470300"/>
            <ac:spMk id="30" creationId="{B9021F59-50EB-14F3-1D72-D406905A63FD}"/>
          </ac:spMkLst>
        </pc:spChg>
        <pc:spChg chg="add mod">
          <ac:chgData name="Kate Mun (KYOUNGRAN)" userId="d8a93241-9b9d-4c25-8457-87ffab4b96e2" providerId="ADAL" clId="{D0392E92-C1C8-4E77-96D0-D493DA4AC621}" dt="2022-09-20T02:02:38.648" v="924" actId="1076"/>
          <ac:spMkLst>
            <pc:docMk/>
            <pc:sldMk cId="3420303442" sldId="2147470300"/>
            <ac:spMk id="31" creationId="{75F1BCC2-E007-74B0-24CB-3317A5BE8D5E}"/>
          </ac:spMkLst>
        </pc:spChg>
        <pc:spChg chg="add mod">
          <ac:chgData name="Kate Mun (KYOUNGRAN)" userId="d8a93241-9b9d-4c25-8457-87ffab4b96e2" providerId="ADAL" clId="{D0392E92-C1C8-4E77-96D0-D493DA4AC621}" dt="2022-09-20T02:02:38.648" v="924" actId="1076"/>
          <ac:spMkLst>
            <pc:docMk/>
            <pc:sldMk cId="3420303442" sldId="2147470300"/>
            <ac:spMk id="32" creationId="{C176630F-B337-D02F-DCC0-AFEB38983E05}"/>
          </ac:spMkLst>
        </pc:spChg>
        <pc:spChg chg="add mod">
          <ac:chgData name="Kate Mun (KYOUNGRAN)" userId="d8a93241-9b9d-4c25-8457-87ffab4b96e2" providerId="ADAL" clId="{D0392E92-C1C8-4E77-96D0-D493DA4AC621}" dt="2022-09-20T02:02:38.648" v="924" actId="1076"/>
          <ac:spMkLst>
            <pc:docMk/>
            <pc:sldMk cId="3420303442" sldId="2147470300"/>
            <ac:spMk id="33" creationId="{D6E87C21-2515-D0DC-D401-4D24BB510056}"/>
          </ac:spMkLst>
        </pc:spChg>
        <pc:spChg chg="add mod">
          <ac:chgData name="Kate Mun (KYOUNGRAN)" userId="d8a93241-9b9d-4c25-8457-87ffab4b96e2" providerId="ADAL" clId="{D0392E92-C1C8-4E77-96D0-D493DA4AC621}" dt="2022-09-20T02:02:38.648" v="924" actId="1076"/>
          <ac:spMkLst>
            <pc:docMk/>
            <pc:sldMk cId="3420303442" sldId="2147470300"/>
            <ac:spMk id="34" creationId="{AECD8BA1-F68C-C239-9B6B-340CF6315AD2}"/>
          </ac:spMkLst>
        </pc:spChg>
        <pc:spChg chg="add mod topLvl">
          <ac:chgData name="Kate Mun (KYOUNGRAN)" userId="d8a93241-9b9d-4c25-8457-87ffab4b96e2" providerId="ADAL" clId="{D0392E92-C1C8-4E77-96D0-D493DA4AC621}" dt="2022-09-20T02:05:51.491" v="979" actId="165"/>
          <ac:spMkLst>
            <pc:docMk/>
            <pc:sldMk cId="3420303442" sldId="2147470300"/>
            <ac:spMk id="35" creationId="{67F38700-1047-2804-DE07-36326A63CFEE}"/>
          </ac:spMkLst>
        </pc:spChg>
        <pc:spChg chg="add mod topLvl">
          <ac:chgData name="Kate Mun (KYOUNGRAN)" userId="d8a93241-9b9d-4c25-8457-87ffab4b96e2" providerId="ADAL" clId="{D0392E92-C1C8-4E77-96D0-D493DA4AC621}" dt="2022-09-20T02:05:51.491" v="979" actId="165"/>
          <ac:spMkLst>
            <pc:docMk/>
            <pc:sldMk cId="3420303442" sldId="2147470300"/>
            <ac:spMk id="36" creationId="{45A44FC1-439C-AC8C-7602-9A567FBA5226}"/>
          </ac:spMkLst>
        </pc:spChg>
        <pc:spChg chg="add mod topLvl">
          <ac:chgData name="Kate Mun (KYOUNGRAN)" userId="d8a93241-9b9d-4c25-8457-87ffab4b96e2" providerId="ADAL" clId="{D0392E92-C1C8-4E77-96D0-D493DA4AC621}" dt="2022-09-20T02:05:51.491" v="979" actId="165"/>
          <ac:spMkLst>
            <pc:docMk/>
            <pc:sldMk cId="3420303442" sldId="2147470300"/>
            <ac:spMk id="37" creationId="{7C798697-5D9C-D9BD-75A2-90D44518DA20}"/>
          </ac:spMkLst>
        </pc:spChg>
        <pc:spChg chg="add del mod">
          <ac:chgData name="Kate Mun (KYOUNGRAN)" userId="d8a93241-9b9d-4c25-8457-87ffab4b96e2" providerId="ADAL" clId="{D0392E92-C1C8-4E77-96D0-D493DA4AC621}" dt="2022-09-20T01:49:27.550" v="438"/>
          <ac:spMkLst>
            <pc:docMk/>
            <pc:sldMk cId="3420303442" sldId="2147470300"/>
            <ac:spMk id="40" creationId="{284C21B3-FEB0-85A1-F529-18C91B25C9CE}"/>
          </ac:spMkLst>
        </pc:spChg>
        <pc:spChg chg="add del mod">
          <ac:chgData name="Kate Mun (KYOUNGRAN)" userId="d8a93241-9b9d-4c25-8457-87ffab4b96e2" providerId="ADAL" clId="{D0392E92-C1C8-4E77-96D0-D493DA4AC621}" dt="2022-09-20T01:49:27.550" v="438"/>
          <ac:spMkLst>
            <pc:docMk/>
            <pc:sldMk cId="3420303442" sldId="2147470300"/>
            <ac:spMk id="41" creationId="{E73659F6-2C02-5512-B14A-EEEEE5B20649}"/>
          </ac:spMkLst>
        </pc:spChg>
        <pc:spChg chg="add del mod">
          <ac:chgData name="Kate Mun (KYOUNGRAN)" userId="d8a93241-9b9d-4c25-8457-87ffab4b96e2" providerId="ADAL" clId="{D0392E92-C1C8-4E77-96D0-D493DA4AC621}" dt="2022-09-20T01:49:27.550" v="438"/>
          <ac:spMkLst>
            <pc:docMk/>
            <pc:sldMk cId="3420303442" sldId="2147470300"/>
            <ac:spMk id="42" creationId="{B69AB544-A8DF-6BCE-1C87-A3C07E3166BB}"/>
          </ac:spMkLst>
        </pc:spChg>
        <pc:spChg chg="add del mod">
          <ac:chgData name="Kate Mun (KYOUNGRAN)" userId="d8a93241-9b9d-4c25-8457-87ffab4b96e2" providerId="ADAL" clId="{D0392E92-C1C8-4E77-96D0-D493DA4AC621}" dt="2022-09-20T01:49:27.550" v="438"/>
          <ac:spMkLst>
            <pc:docMk/>
            <pc:sldMk cId="3420303442" sldId="2147470300"/>
            <ac:spMk id="43" creationId="{60016246-C499-B078-03A1-068AC2B29BC8}"/>
          </ac:spMkLst>
        </pc:spChg>
        <pc:spChg chg="add del mod">
          <ac:chgData name="Kate Mun (KYOUNGRAN)" userId="d8a93241-9b9d-4c25-8457-87ffab4b96e2" providerId="ADAL" clId="{D0392E92-C1C8-4E77-96D0-D493DA4AC621}" dt="2022-09-20T01:49:27.550" v="438"/>
          <ac:spMkLst>
            <pc:docMk/>
            <pc:sldMk cId="3420303442" sldId="2147470300"/>
            <ac:spMk id="44" creationId="{AECB36B2-DACD-616E-EE24-5E6E6AFE1341}"/>
          </ac:spMkLst>
        </pc:spChg>
        <pc:spChg chg="add del mod">
          <ac:chgData name="Kate Mun (KYOUNGRAN)" userId="d8a93241-9b9d-4c25-8457-87ffab4b96e2" providerId="ADAL" clId="{D0392E92-C1C8-4E77-96D0-D493DA4AC621}" dt="2022-09-20T01:49:27.550" v="438"/>
          <ac:spMkLst>
            <pc:docMk/>
            <pc:sldMk cId="3420303442" sldId="2147470300"/>
            <ac:spMk id="45" creationId="{1D56D9F1-996D-5977-3B27-FC0616DFBCA3}"/>
          </ac:spMkLst>
        </pc:spChg>
        <pc:spChg chg="add del mod">
          <ac:chgData name="Kate Mun (KYOUNGRAN)" userId="d8a93241-9b9d-4c25-8457-87ffab4b96e2" providerId="ADAL" clId="{D0392E92-C1C8-4E77-96D0-D493DA4AC621}" dt="2022-09-20T01:49:27.550" v="438"/>
          <ac:spMkLst>
            <pc:docMk/>
            <pc:sldMk cId="3420303442" sldId="2147470300"/>
            <ac:spMk id="46" creationId="{EC892BCB-F7DA-9437-7729-68385012F63C}"/>
          </ac:spMkLst>
        </pc:spChg>
        <pc:spChg chg="add del mod">
          <ac:chgData name="Kate Mun (KYOUNGRAN)" userId="d8a93241-9b9d-4c25-8457-87ffab4b96e2" providerId="ADAL" clId="{D0392E92-C1C8-4E77-96D0-D493DA4AC621}" dt="2022-09-20T01:49:27.550" v="438"/>
          <ac:spMkLst>
            <pc:docMk/>
            <pc:sldMk cId="3420303442" sldId="2147470300"/>
            <ac:spMk id="47" creationId="{3D4CDB96-8EFE-B2EB-C871-26F61E1E1230}"/>
          </ac:spMkLst>
        </pc:spChg>
        <pc:spChg chg="add del mod">
          <ac:chgData name="Kate Mun (KYOUNGRAN)" userId="d8a93241-9b9d-4c25-8457-87ffab4b96e2" providerId="ADAL" clId="{D0392E92-C1C8-4E77-96D0-D493DA4AC621}" dt="2022-09-20T01:49:27.550" v="438"/>
          <ac:spMkLst>
            <pc:docMk/>
            <pc:sldMk cId="3420303442" sldId="2147470300"/>
            <ac:spMk id="48" creationId="{B5B74F65-7E35-D018-9550-BE8F713854C7}"/>
          </ac:spMkLst>
        </pc:spChg>
        <pc:spChg chg="add del mod">
          <ac:chgData name="Kate Mun (KYOUNGRAN)" userId="d8a93241-9b9d-4c25-8457-87ffab4b96e2" providerId="ADAL" clId="{D0392E92-C1C8-4E77-96D0-D493DA4AC621}" dt="2022-09-20T01:49:27.550" v="438"/>
          <ac:spMkLst>
            <pc:docMk/>
            <pc:sldMk cId="3420303442" sldId="2147470300"/>
            <ac:spMk id="49" creationId="{F8929C2D-AAB0-962C-763F-C1CE69A0A3FF}"/>
          </ac:spMkLst>
        </pc:spChg>
        <pc:spChg chg="add del mod">
          <ac:chgData name="Kate Mun (KYOUNGRAN)" userId="d8a93241-9b9d-4c25-8457-87ffab4b96e2" providerId="ADAL" clId="{D0392E92-C1C8-4E77-96D0-D493DA4AC621}" dt="2022-09-20T01:49:32.698" v="440"/>
          <ac:spMkLst>
            <pc:docMk/>
            <pc:sldMk cId="3420303442" sldId="2147470300"/>
            <ac:spMk id="50" creationId="{C4C1FF4D-BFBA-7973-50C7-83A7DB0566C4}"/>
          </ac:spMkLst>
        </pc:spChg>
        <pc:spChg chg="add del mod">
          <ac:chgData name="Kate Mun (KYOUNGRAN)" userId="d8a93241-9b9d-4c25-8457-87ffab4b96e2" providerId="ADAL" clId="{D0392E92-C1C8-4E77-96D0-D493DA4AC621}" dt="2022-09-20T01:49:32.698" v="440"/>
          <ac:spMkLst>
            <pc:docMk/>
            <pc:sldMk cId="3420303442" sldId="2147470300"/>
            <ac:spMk id="51" creationId="{9E67B06C-06AF-9805-2E2B-19DA6F2F8C46}"/>
          </ac:spMkLst>
        </pc:spChg>
        <pc:spChg chg="add del mod">
          <ac:chgData name="Kate Mun (KYOUNGRAN)" userId="d8a93241-9b9d-4c25-8457-87ffab4b96e2" providerId="ADAL" clId="{D0392E92-C1C8-4E77-96D0-D493DA4AC621}" dt="2022-09-20T01:49:32.698" v="440"/>
          <ac:spMkLst>
            <pc:docMk/>
            <pc:sldMk cId="3420303442" sldId="2147470300"/>
            <ac:spMk id="52" creationId="{6E814BC0-3FF9-DD2F-C57D-8BC71E97F55D}"/>
          </ac:spMkLst>
        </pc:spChg>
        <pc:spChg chg="add del mod">
          <ac:chgData name="Kate Mun (KYOUNGRAN)" userId="d8a93241-9b9d-4c25-8457-87ffab4b96e2" providerId="ADAL" clId="{D0392E92-C1C8-4E77-96D0-D493DA4AC621}" dt="2022-09-20T01:49:32.698" v="440"/>
          <ac:spMkLst>
            <pc:docMk/>
            <pc:sldMk cId="3420303442" sldId="2147470300"/>
            <ac:spMk id="53" creationId="{70C476D2-E2F6-BBE0-AB3D-F01B346471A1}"/>
          </ac:spMkLst>
        </pc:spChg>
        <pc:spChg chg="add del mod">
          <ac:chgData name="Kate Mun (KYOUNGRAN)" userId="d8a93241-9b9d-4c25-8457-87ffab4b96e2" providerId="ADAL" clId="{D0392E92-C1C8-4E77-96D0-D493DA4AC621}" dt="2022-09-20T01:49:32.698" v="440"/>
          <ac:spMkLst>
            <pc:docMk/>
            <pc:sldMk cId="3420303442" sldId="2147470300"/>
            <ac:spMk id="54" creationId="{C17C85E0-0514-0495-6184-3001156C32EF}"/>
          </ac:spMkLst>
        </pc:spChg>
        <pc:spChg chg="add del mod">
          <ac:chgData name="Kate Mun (KYOUNGRAN)" userId="d8a93241-9b9d-4c25-8457-87ffab4b96e2" providerId="ADAL" clId="{D0392E92-C1C8-4E77-96D0-D493DA4AC621}" dt="2022-09-20T01:49:32.698" v="440"/>
          <ac:spMkLst>
            <pc:docMk/>
            <pc:sldMk cId="3420303442" sldId="2147470300"/>
            <ac:spMk id="55" creationId="{822CB8DB-8737-D95B-2963-F72BCB5A84B5}"/>
          </ac:spMkLst>
        </pc:spChg>
        <pc:spChg chg="add del mod">
          <ac:chgData name="Kate Mun (KYOUNGRAN)" userId="d8a93241-9b9d-4c25-8457-87ffab4b96e2" providerId="ADAL" clId="{D0392E92-C1C8-4E77-96D0-D493DA4AC621}" dt="2022-09-20T01:49:32.698" v="440"/>
          <ac:spMkLst>
            <pc:docMk/>
            <pc:sldMk cId="3420303442" sldId="2147470300"/>
            <ac:spMk id="56" creationId="{86D8A264-B444-73F8-95A7-344E24A020D1}"/>
          </ac:spMkLst>
        </pc:spChg>
        <pc:spChg chg="add del mod">
          <ac:chgData name="Kate Mun (KYOUNGRAN)" userId="d8a93241-9b9d-4c25-8457-87ffab4b96e2" providerId="ADAL" clId="{D0392E92-C1C8-4E77-96D0-D493DA4AC621}" dt="2022-09-20T01:49:32.698" v="440"/>
          <ac:spMkLst>
            <pc:docMk/>
            <pc:sldMk cId="3420303442" sldId="2147470300"/>
            <ac:spMk id="57" creationId="{B9D89DE7-4AB9-D5A6-E80A-31C7B540D4C5}"/>
          </ac:spMkLst>
        </pc:spChg>
        <pc:spChg chg="add del mod">
          <ac:chgData name="Kate Mun (KYOUNGRAN)" userId="d8a93241-9b9d-4c25-8457-87ffab4b96e2" providerId="ADAL" clId="{D0392E92-C1C8-4E77-96D0-D493DA4AC621}" dt="2022-09-20T01:49:32.698" v="440"/>
          <ac:spMkLst>
            <pc:docMk/>
            <pc:sldMk cId="3420303442" sldId="2147470300"/>
            <ac:spMk id="58" creationId="{F9D1FCE2-E984-0B6E-7243-4B2728C43582}"/>
          </ac:spMkLst>
        </pc:spChg>
        <pc:spChg chg="add del mod">
          <ac:chgData name="Kate Mun (KYOUNGRAN)" userId="d8a93241-9b9d-4c25-8457-87ffab4b96e2" providerId="ADAL" clId="{D0392E92-C1C8-4E77-96D0-D493DA4AC621}" dt="2022-09-20T01:49:32.698" v="440"/>
          <ac:spMkLst>
            <pc:docMk/>
            <pc:sldMk cId="3420303442" sldId="2147470300"/>
            <ac:spMk id="59" creationId="{255968E8-1A1D-C632-C906-D868932C75EF}"/>
          </ac:spMkLst>
        </pc:spChg>
        <pc:spChg chg="add del mod">
          <ac:chgData name="Kate Mun (KYOUNGRAN)" userId="d8a93241-9b9d-4c25-8457-87ffab4b96e2" providerId="ADAL" clId="{D0392E92-C1C8-4E77-96D0-D493DA4AC621}" dt="2022-09-20T01:50:22.699" v="453" actId="478"/>
          <ac:spMkLst>
            <pc:docMk/>
            <pc:sldMk cId="3420303442" sldId="2147470300"/>
            <ac:spMk id="60" creationId="{81AAD76E-C8BD-DB9D-1565-CD471FA85974}"/>
          </ac:spMkLst>
        </pc:spChg>
        <pc:spChg chg="add mod topLvl">
          <ac:chgData name="Kate Mun (KYOUNGRAN)" userId="d8a93241-9b9d-4c25-8457-87ffab4b96e2" providerId="ADAL" clId="{D0392E92-C1C8-4E77-96D0-D493DA4AC621}" dt="2022-09-20T01:51:39.849" v="475" actId="1076"/>
          <ac:spMkLst>
            <pc:docMk/>
            <pc:sldMk cId="3420303442" sldId="2147470300"/>
            <ac:spMk id="61" creationId="{A821016D-CD7D-04C4-5FF5-E949C00204E2}"/>
          </ac:spMkLst>
        </pc:spChg>
        <pc:spChg chg="add mod topLvl">
          <ac:chgData name="Kate Mun (KYOUNGRAN)" userId="d8a93241-9b9d-4c25-8457-87ffab4b96e2" providerId="ADAL" clId="{D0392E92-C1C8-4E77-96D0-D493DA4AC621}" dt="2022-09-20T01:51:39.849" v="475" actId="1076"/>
          <ac:spMkLst>
            <pc:docMk/>
            <pc:sldMk cId="3420303442" sldId="2147470300"/>
            <ac:spMk id="62" creationId="{38E9F705-B060-9E2E-40BF-BAC28633E79B}"/>
          </ac:spMkLst>
        </pc:spChg>
        <pc:spChg chg="add mod topLvl">
          <ac:chgData name="Kate Mun (KYOUNGRAN)" userId="d8a93241-9b9d-4c25-8457-87ffab4b96e2" providerId="ADAL" clId="{D0392E92-C1C8-4E77-96D0-D493DA4AC621}" dt="2022-09-20T01:51:39.849" v="475" actId="1076"/>
          <ac:spMkLst>
            <pc:docMk/>
            <pc:sldMk cId="3420303442" sldId="2147470300"/>
            <ac:spMk id="63" creationId="{F233D0B8-BA61-06BC-6F42-EEEADA0F1355}"/>
          </ac:spMkLst>
        </pc:spChg>
        <pc:spChg chg="add mod topLvl">
          <ac:chgData name="Kate Mun (KYOUNGRAN)" userId="d8a93241-9b9d-4c25-8457-87ffab4b96e2" providerId="ADAL" clId="{D0392E92-C1C8-4E77-96D0-D493DA4AC621}" dt="2022-09-20T01:51:39.849" v="475" actId="1076"/>
          <ac:spMkLst>
            <pc:docMk/>
            <pc:sldMk cId="3420303442" sldId="2147470300"/>
            <ac:spMk id="64" creationId="{B6CF8983-EAD5-3FAD-3646-99FED19F3117}"/>
          </ac:spMkLst>
        </pc:spChg>
        <pc:spChg chg="add mod topLvl">
          <ac:chgData name="Kate Mun (KYOUNGRAN)" userId="d8a93241-9b9d-4c25-8457-87ffab4b96e2" providerId="ADAL" clId="{D0392E92-C1C8-4E77-96D0-D493DA4AC621}" dt="2022-09-20T01:51:39.849" v="475" actId="1076"/>
          <ac:spMkLst>
            <pc:docMk/>
            <pc:sldMk cId="3420303442" sldId="2147470300"/>
            <ac:spMk id="65" creationId="{85C9DC2A-12C6-5557-FC25-68FB744CC3F9}"/>
          </ac:spMkLst>
        </pc:spChg>
        <pc:spChg chg="add mod topLvl">
          <ac:chgData name="Kate Mun (KYOUNGRAN)" userId="d8a93241-9b9d-4c25-8457-87ffab4b96e2" providerId="ADAL" clId="{D0392E92-C1C8-4E77-96D0-D493DA4AC621}" dt="2022-09-20T02:03:07.777" v="939" actId="1076"/>
          <ac:spMkLst>
            <pc:docMk/>
            <pc:sldMk cId="3420303442" sldId="2147470300"/>
            <ac:spMk id="66" creationId="{3B2F5A67-0403-43AD-01DD-E4FF97B7BB9A}"/>
          </ac:spMkLst>
        </pc:spChg>
        <pc:spChg chg="add mod topLvl">
          <ac:chgData name="Kate Mun (KYOUNGRAN)" userId="d8a93241-9b9d-4c25-8457-87ffab4b96e2" providerId="ADAL" clId="{D0392E92-C1C8-4E77-96D0-D493DA4AC621}" dt="2022-09-20T01:51:39.849" v="475" actId="1076"/>
          <ac:spMkLst>
            <pc:docMk/>
            <pc:sldMk cId="3420303442" sldId="2147470300"/>
            <ac:spMk id="67" creationId="{7F44E773-3ED2-DDD1-2255-2EF04627AAAB}"/>
          </ac:spMkLst>
        </pc:spChg>
        <pc:spChg chg="add mod topLvl">
          <ac:chgData name="Kate Mun (KYOUNGRAN)" userId="d8a93241-9b9d-4c25-8457-87ffab4b96e2" providerId="ADAL" clId="{D0392E92-C1C8-4E77-96D0-D493DA4AC621}" dt="2022-09-20T01:51:39.849" v="475" actId="1076"/>
          <ac:spMkLst>
            <pc:docMk/>
            <pc:sldMk cId="3420303442" sldId="2147470300"/>
            <ac:spMk id="68" creationId="{863886DE-650F-9D67-7158-9C5E556FECB9}"/>
          </ac:spMkLst>
        </pc:spChg>
        <pc:spChg chg="add mod topLvl">
          <ac:chgData name="Kate Mun (KYOUNGRAN)" userId="d8a93241-9b9d-4c25-8457-87ffab4b96e2" providerId="ADAL" clId="{D0392E92-C1C8-4E77-96D0-D493DA4AC621}" dt="2022-09-20T01:51:39.849" v="475" actId="1076"/>
          <ac:spMkLst>
            <pc:docMk/>
            <pc:sldMk cId="3420303442" sldId="2147470300"/>
            <ac:spMk id="69" creationId="{A17F99D5-FECA-C2F2-C294-671A581F6C6E}"/>
          </ac:spMkLst>
        </pc:spChg>
        <pc:spChg chg="add mod topLvl">
          <ac:chgData name="Kate Mun (KYOUNGRAN)" userId="d8a93241-9b9d-4c25-8457-87ffab4b96e2" providerId="ADAL" clId="{D0392E92-C1C8-4E77-96D0-D493DA4AC621}" dt="2022-09-20T01:51:39.849" v="475" actId="1076"/>
          <ac:spMkLst>
            <pc:docMk/>
            <pc:sldMk cId="3420303442" sldId="2147470300"/>
            <ac:spMk id="70" creationId="{3C397F47-CF22-7F6B-B734-D477276941E8}"/>
          </ac:spMkLst>
        </pc:spChg>
        <pc:spChg chg="add mod topLvl">
          <ac:chgData name="Kate Mun (KYOUNGRAN)" userId="d8a93241-9b9d-4c25-8457-87ffab4b96e2" providerId="ADAL" clId="{D0392E92-C1C8-4E77-96D0-D493DA4AC621}" dt="2022-09-20T02:03:16.088" v="940" actId="1076"/>
          <ac:spMkLst>
            <pc:docMk/>
            <pc:sldMk cId="3420303442" sldId="2147470300"/>
            <ac:spMk id="71" creationId="{F2849168-6365-B4C3-1763-29527D33B826}"/>
          </ac:spMkLst>
        </pc:spChg>
        <pc:spChg chg="add mod topLvl">
          <ac:chgData name="Kate Mun (KYOUNGRAN)" userId="d8a93241-9b9d-4c25-8457-87ffab4b96e2" providerId="ADAL" clId="{D0392E92-C1C8-4E77-96D0-D493DA4AC621}" dt="2022-09-20T01:51:39.849" v="475" actId="1076"/>
          <ac:spMkLst>
            <pc:docMk/>
            <pc:sldMk cId="3420303442" sldId="2147470300"/>
            <ac:spMk id="72" creationId="{685913AE-0BE7-B418-1C51-779A21C46999}"/>
          </ac:spMkLst>
        </pc:spChg>
        <pc:spChg chg="add mod topLvl">
          <ac:chgData name="Kate Mun (KYOUNGRAN)" userId="d8a93241-9b9d-4c25-8457-87ffab4b96e2" providerId="ADAL" clId="{D0392E92-C1C8-4E77-96D0-D493DA4AC621}" dt="2022-09-20T01:51:39.849" v="475" actId="1076"/>
          <ac:spMkLst>
            <pc:docMk/>
            <pc:sldMk cId="3420303442" sldId="2147470300"/>
            <ac:spMk id="73" creationId="{6BA6E570-8968-38ED-031F-109C99584FEF}"/>
          </ac:spMkLst>
        </pc:spChg>
        <pc:spChg chg="add mod topLvl">
          <ac:chgData name="Kate Mun (KYOUNGRAN)" userId="d8a93241-9b9d-4c25-8457-87ffab4b96e2" providerId="ADAL" clId="{D0392E92-C1C8-4E77-96D0-D493DA4AC621}" dt="2022-09-20T01:51:39.849" v="475" actId="1076"/>
          <ac:spMkLst>
            <pc:docMk/>
            <pc:sldMk cId="3420303442" sldId="2147470300"/>
            <ac:spMk id="74" creationId="{846B322F-B1F9-B882-B56A-A9FCDE21AA4F}"/>
          </ac:spMkLst>
        </pc:spChg>
        <pc:spChg chg="add mod topLvl">
          <ac:chgData name="Kate Mun (KYOUNGRAN)" userId="d8a93241-9b9d-4c25-8457-87ffab4b96e2" providerId="ADAL" clId="{D0392E92-C1C8-4E77-96D0-D493DA4AC621}" dt="2022-09-20T01:51:39.849" v="475" actId="1076"/>
          <ac:spMkLst>
            <pc:docMk/>
            <pc:sldMk cId="3420303442" sldId="2147470300"/>
            <ac:spMk id="75" creationId="{1B3B4E99-3379-C2A6-4997-F2E06E8281A7}"/>
          </ac:spMkLst>
        </pc:spChg>
        <pc:spChg chg="add del mod">
          <ac:chgData name="Kate Mun (KYOUNGRAN)" userId="d8a93241-9b9d-4c25-8457-87ffab4b96e2" providerId="ADAL" clId="{D0392E92-C1C8-4E77-96D0-D493DA4AC621}" dt="2022-09-20T01:50:20.532" v="452" actId="478"/>
          <ac:spMkLst>
            <pc:docMk/>
            <pc:sldMk cId="3420303442" sldId="2147470300"/>
            <ac:spMk id="76" creationId="{34B33B3D-5296-2173-A846-3CD71DF71652}"/>
          </ac:spMkLst>
        </pc:spChg>
        <pc:spChg chg="add del mod">
          <ac:chgData name="Kate Mun (KYOUNGRAN)" userId="d8a93241-9b9d-4c25-8457-87ffab4b96e2" providerId="ADAL" clId="{D0392E92-C1C8-4E77-96D0-D493DA4AC621}" dt="2022-09-20T02:01:01.249" v="874" actId="478"/>
          <ac:spMkLst>
            <pc:docMk/>
            <pc:sldMk cId="3420303442" sldId="2147470300"/>
            <ac:spMk id="79" creationId="{CF46AA61-33F3-1B9F-EAC2-BA3F2C6C5EE6}"/>
          </ac:spMkLst>
        </pc:spChg>
        <pc:spChg chg="add mod topLvl">
          <ac:chgData name="Kate Mun (KYOUNGRAN)" userId="d8a93241-9b9d-4c25-8457-87ffab4b96e2" providerId="ADAL" clId="{D0392E92-C1C8-4E77-96D0-D493DA4AC621}" dt="2022-09-20T02:02:51.100" v="937" actId="1035"/>
          <ac:spMkLst>
            <pc:docMk/>
            <pc:sldMk cId="3420303442" sldId="2147470300"/>
            <ac:spMk id="80" creationId="{48951852-79D0-8475-FFD3-633B98DE294D}"/>
          </ac:spMkLst>
        </pc:spChg>
        <pc:spChg chg="add mod topLvl">
          <ac:chgData name="Kate Mun (KYOUNGRAN)" userId="d8a93241-9b9d-4c25-8457-87ffab4b96e2" providerId="ADAL" clId="{D0392E92-C1C8-4E77-96D0-D493DA4AC621}" dt="2022-09-20T02:02:51.100" v="937" actId="1035"/>
          <ac:spMkLst>
            <pc:docMk/>
            <pc:sldMk cId="3420303442" sldId="2147470300"/>
            <ac:spMk id="81" creationId="{3A079192-4513-1811-1D7F-6D291D9838EE}"/>
          </ac:spMkLst>
        </pc:spChg>
        <pc:spChg chg="add mod topLvl">
          <ac:chgData name="Kate Mun (KYOUNGRAN)" userId="d8a93241-9b9d-4c25-8457-87ffab4b96e2" providerId="ADAL" clId="{D0392E92-C1C8-4E77-96D0-D493DA4AC621}" dt="2022-09-20T02:02:51.100" v="937" actId="1035"/>
          <ac:spMkLst>
            <pc:docMk/>
            <pc:sldMk cId="3420303442" sldId="2147470300"/>
            <ac:spMk id="82" creationId="{470683BF-6037-ACBD-695F-B1D0C7624497}"/>
          </ac:spMkLst>
        </pc:spChg>
        <pc:spChg chg="add mod topLvl">
          <ac:chgData name="Kate Mun (KYOUNGRAN)" userId="d8a93241-9b9d-4c25-8457-87ffab4b96e2" providerId="ADAL" clId="{D0392E92-C1C8-4E77-96D0-D493DA4AC621}" dt="2022-09-20T02:02:51.100" v="937" actId="1035"/>
          <ac:spMkLst>
            <pc:docMk/>
            <pc:sldMk cId="3420303442" sldId="2147470300"/>
            <ac:spMk id="83" creationId="{D8F50BC0-0D87-EB53-A49D-2450162D090E}"/>
          </ac:spMkLst>
        </pc:spChg>
        <pc:spChg chg="add mod topLvl">
          <ac:chgData name="Kate Mun (KYOUNGRAN)" userId="d8a93241-9b9d-4c25-8457-87ffab4b96e2" providerId="ADAL" clId="{D0392E92-C1C8-4E77-96D0-D493DA4AC621}" dt="2022-09-20T02:02:51.100" v="937" actId="1035"/>
          <ac:spMkLst>
            <pc:docMk/>
            <pc:sldMk cId="3420303442" sldId="2147470300"/>
            <ac:spMk id="84" creationId="{63CC6414-9FAC-6C5D-AED3-48025BF19EF2}"/>
          </ac:spMkLst>
        </pc:spChg>
        <pc:spChg chg="add mod topLvl">
          <ac:chgData name="Kate Mun (KYOUNGRAN)" userId="d8a93241-9b9d-4c25-8457-87ffab4b96e2" providerId="ADAL" clId="{D0392E92-C1C8-4E77-96D0-D493DA4AC621}" dt="2022-09-20T02:02:51.100" v="937" actId="1035"/>
          <ac:spMkLst>
            <pc:docMk/>
            <pc:sldMk cId="3420303442" sldId="2147470300"/>
            <ac:spMk id="85" creationId="{80202A16-7147-A24A-0D9E-5C6A1EDC0016}"/>
          </ac:spMkLst>
        </pc:spChg>
        <pc:spChg chg="add mod topLvl">
          <ac:chgData name="Kate Mun (KYOUNGRAN)" userId="d8a93241-9b9d-4c25-8457-87ffab4b96e2" providerId="ADAL" clId="{D0392E92-C1C8-4E77-96D0-D493DA4AC621}" dt="2022-09-20T02:02:51.100" v="937" actId="1035"/>
          <ac:spMkLst>
            <pc:docMk/>
            <pc:sldMk cId="3420303442" sldId="2147470300"/>
            <ac:spMk id="86" creationId="{4FDF8495-04EE-40CB-23E9-0B0DF7F28E32}"/>
          </ac:spMkLst>
        </pc:spChg>
        <pc:spChg chg="add mod topLvl">
          <ac:chgData name="Kate Mun (KYOUNGRAN)" userId="d8a93241-9b9d-4c25-8457-87ffab4b96e2" providerId="ADAL" clId="{D0392E92-C1C8-4E77-96D0-D493DA4AC621}" dt="2022-09-20T02:02:51.100" v="937" actId="1035"/>
          <ac:spMkLst>
            <pc:docMk/>
            <pc:sldMk cId="3420303442" sldId="2147470300"/>
            <ac:spMk id="87" creationId="{A58AE57E-B6B2-C5F9-A93F-A57ECC0B14D8}"/>
          </ac:spMkLst>
        </pc:spChg>
        <pc:spChg chg="add mod topLvl">
          <ac:chgData name="Kate Mun (KYOUNGRAN)" userId="d8a93241-9b9d-4c25-8457-87ffab4b96e2" providerId="ADAL" clId="{D0392E92-C1C8-4E77-96D0-D493DA4AC621}" dt="2022-09-20T02:02:51.100" v="937" actId="1035"/>
          <ac:spMkLst>
            <pc:docMk/>
            <pc:sldMk cId="3420303442" sldId="2147470300"/>
            <ac:spMk id="88" creationId="{1A269A68-68A0-5939-562E-C4DC0AFA7D20}"/>
          </ac:spMkLst>
        </pc:spChg>
        <pc:spChg chg="add mod topLvl">
          <ac:chgData name="Kate Mun (KYOUNGRAN)" userId="d8a93241-9b9d-4c25-8457-87ffab4b96e2" providerId="ADAL" clId="{D0392E92-C1C8-4E77-96D0-D493DA4AC621}" dt="2022-09-20T02:02:51.100" v="937" actId="1035"/>
          <ac:spMkLst>
            <pc:docMk/>
            <pc:sldMk cId="3420303442" sldId="2147470300"/>
            <ac:spMk id="89" creationId="{E8D55442-8AF6-EA37-AFE8-5359142AEBBB}"/>
          </ac:spMkLst>
        </pc:spChg>
        <pc:spChg chg="mod topLvl">
          <ac:chgData name="Kate Mun (KYOUNGRAN)" userId="d8a93241-9b9d-4c25-8457-87ffab4b96e2" providerId="ADAL" clId="{D0392E92-C1C8-4E77-96D0-D493DA4AC621}" dt="2022-09-20T02:02:51.100" v="937" actId="1035"/>
          <ac:spMkLst>
            <pc:docMk/>
            <pc:sldMk cId="3420303442" sldId="2147470300"/>
            <ac:spMk id="91" creationId="{13C84996-41BC-0174-D293-FC75FB04222E}"/>
          </ac:spMkLst>
        </pc:spChg>
        <pc:spChg chg="mod topLvl">
          <ac:chgData name="Kate Mun (KYOUNGRAN)" userId="d8a93241-9b9d-4c25-8457-87ffab4b96e2" providerId="ADAL" clId="{D0392E92-C1C8-4E77-96D0-D493DA4AC621}" dt="2022-09-20T02:02:51.100" v="937" actId="1035"/>
          <ac:spMkLst>
            <pc:docMk/>
            <pc:sldMk cId="3420303442" sldId="2147470300"/>
            <ac:spMk id="92" creationId="{54F472C8-3CE6-E4CD-8D69-7688023290CD}"/>
          </ac:spMkLst>
        </pc:spChg>
        <pc:spChg chg="mod topLvl">
          <ac:chgData name="Kate Mun (KYOUNGRAN)" userId="d8a93241-9b9d-4c25-8457-87ffab4b96e2" providerId="ADAL" clId="{D0392E92-C1C8-4E77-96D0-D493DA4AC621}" dt="2022-09-20T02:02:51.100" v="937" actId="1035"/>
          <ac:spMkLst>
            <pc:docMk/>
            <pc:sldMk cId="3420303442" sldId="2147470300"/>
            <ac:spMk id="93" creationId="{F124A9DA-B8D4-01B9-B2CC-20F25BC4C36E}"/>
          </ac:spMkLst>
        </pc:spChg>
        <pc:spChg chg="mod topLvl">
          <ac:chgData name="Kate Mun (KYOUNGRAN)" userId="d8a93241-9b9d-4c25-8457-87ffab4b96e2" providerId="ADAL" clId="{D0392E92-C1C8-4E77-96D0-D493DA4AC621}" dt="2022-09-20T02:02:51.100" v="937" actId="1035"/>
          <ac:spMkLst>
            <pc:docMk/>
            <pc:sldMk cId="3420303442" sldId="2147470300"/>
            <ac:spMk id="94" creationId="{D7039269-6806-B91B-983A-D3C184382159}"/>
          </ac:spMkLst>
        </pc:spChg>
        <pc:spChg chg="mod topLvl">
          <ac:chgData name="Kate Mun (KYOUNGRAN)" userId="d8a93241-9b9d-4c25-8457-87ffab4b96e2" providerId="ADAL" clId="{D0392E92-C1C8-4E77-96D0-D493DA4AC621}" dt="2022-09-20T02:02:51.100" v="937" actId="1035"/>
          <ac:spMkLst>
            <pc:docMk/>
            <pc:sldMk cId="3420303442" sldId="2147470300"/>
            <ac:spMk id="95" creationId="{6D88CDC5-3CDB-8B1D-AB70-568D3D5E7A46}"/>
          </ac:spMkLst>
        </pc:spChg>
        <pc:spChg chg="mod topLvl">
          <ac:chgData name="Kate Mun (KYOUNGRAN)" userId="d8a93241-9b9d-4c25-8457-87ffab4b96e2" providerId="ADAL" clId="{D0392E92-C1C8-4E77-96D0-D493DA4AC621}" dt="2022-09-20T02:02:51.100" v="937" actId="1035"/>
          <ac:spMkLst>
            <pc:docMk/>
            <pc:sldMk cId="3420303442" sldId="2147470300"/>
            <ac:spMk id="96" creationId="{2B8B7ABB-5FB7-4FFD-5214-EAF7B69C0E8B}"/>
          </ac:spMkLst>
        </pc:spChg>
        <pc:spChg chg="mod topLvl">
          <ac:chgData name="Kate Mun (KYOUNGRAN)" userId="d8a93241-9b9d-4c25-8457-87ffab4b96e2" providerId="ADAL" clId="{D0392E92-C1C8-4E77-96D0-D493DA4AC621}" dt="2022-09-20T02:02:51.100" v="937" actId="1035"/>
          <ac:spMkLst>
            <pc:docMk/>
            <pc:sldMk cId="3420303442" sldId="2147470300"/>
            <ac:spMk id="97" creationId="{44E41A7C-EFC4-AF6F-8B16-B77F607B8F26}"/>
          </ac:spMkLst>
        </pc:spChg>
        <pc:spChg chg="mod topLvl">
          <ac:chgData name="Kate Mun (KYOUNGRAN)" userId="d8a93241-9b9d-4c25-8457-87ffab4b96e2" providerId="ADAL" clId="{D0392E92-C1C8-4E77-96D0-D493DA4AC621}" dt="2022-09-20T02:02:51.100" v="937" actId="1035"/>
          <ac:spMkLst>
            <pc:docMk/>
            <pc:sldMk cId="3420303442" sldId="2147470300"/>
            <ac:spMk id="98" creationId="{5AA58954-63AB-A118-4373-C931FEEDA18A}"/>
          </ac:spMkLst>
        </pc:spChg>
        <pc:spChg chg="del mod topLvl">
          <ac:chgData name="Kate Mun (KYOUNGRAN)" userId="d8a93241-9b9d-4c25-8457-87ffab4b96e2" providerId="ADAL" clId="{D0392E92-C1C8-4E77-96D0-D493DA4AC621}" dt="2022-09-20T01:58:04.072" v="713" actId="478"/>
          <ac:spMkLst>
            <pc:docMk/>
            <pc:sldMk cId="3420303442" sldId="2147470300"/>
            <ac:spMk id="99" creationId="{3A0790C9-C7A0-F764-3DAC-E49804B089F6}"/>
          </ac:spMkLst>
        </pc:spChg>
        <pc:spChg chg="add mod">
          <ac:chgData name="Kate Mun (KYOUNGRAN)" userId="d8a93241-9b9d-4c25-8457-87ffab4b96e2" providerId="ADAL" clId="{D0392E92-C1C8-4E77-96D0-D493DA4AC621}" dt="2022-09-20T02:02:51.100" v="937" actId="1035"/>
          <ac:spMkLst>
            <pc:docMk/>
            <pc:sldMk cId="3420303442" sldId="2147470300"/>
            <ac:spMk id="101" creationId="{2FEBE7A0-74E6-FE14-AD46-506AC2758464}"/>
          </ac:spMkLst>
        </pc:spChg>
        <pc:spChg chg="add del mod">
          <ac:chgData name="Kate Mun (KYOUNGRAN)" userId="d8a93241-9b9d-4c25-8457-87ffab4b96e2" providerId="ADAL" clId="{D0392E92-C1C8-4E77-96D0-D493DA4AC621}" dt="2022-09-20T02:00:39.044" v="821" actId="478"/>
          <ac:spMkLst>
            <pc:docMk/>
            <pc:sldMk cId="3420303442" sldId="2147470300"/>
            <ac:spMk id="102" creationId="{FF0E42F2-62E2-1323-FC8C-63E12A1E9258}"/>
          </ac:spMkLst>
        </pc:spChg>
        <pc:spChg chg="add mod">
          <ac:chgData name="Kate Mun (KYOUNGRAN)" userId="d8a93241-9b9d-4c25-8457-87ffab4b96e2" providerId="ADAL" clId="{D0392E92-C1C8-4E77-96D0-D493DA4AC621}" dt="2022-09-20T02:00:46.751" v="823" actId="571"/>
          <ac:spMkLst>
            <pc:docMk/>
            <pc:sldMk cId="3420303442" sldId="2147470300"/>
            <ac:spMk id="103" creationId="{00A38794-3C1A-1825-8963-F956E1B68CE8}"/>
          </ac:spMkLst>
        </pc:spChg>
        <pc:spChg chg="add mod">
          <ac:chgData name="Kate Mun (KYOUNGRAN)" userId="d8a93241-9b9d-4c25-8457-87ffab4b96e2" providerId="ADAL" clId="{D0392E92-C1C8-4E77-96D0-D493DA4AC621}" dt="2022-09-20T02:00:46.751" v="823" actId="571"/>
          <ac:spMkLst>
            <pc:docMk/>
            <pc:sldMk cId="3420303442" sldId="2147470300"/>
            <ac:spMk id="104" creationId="{04D215E8-688D-FBEF-C09B-E1CA406F5B9A}"/>
          </ac:spMkLst>
        </pc:spChg>
        <pc:spChg chg="add mod">
          <ac:chgData name="Kate Mun (KYOUNGRAN)" userId="d8a93241-9b9d-4c25-8457-87ffab4b96e2" providerId="ADAL" clId="{D0392E92-C1C8-4E77-96D0-D493DA4AC621}" dt="2022-09-20T02:00:46.751" v="823" actId="571"/>
          <ac:spMkLst>
            <pc:docMk/>
            <pc:sldMk cId="3420303442" sldId="2147470300"/>
            <ac:spMk id="105" creationId="{41B5EE5B-9092-86F7-0052-8084D62B88D2}"/>
          </ac:spMkLst>
        </pc:spChg>
        <pc:spChg chg="add mod">
          <ac:chgData name="Kate Mun (KYOUNGRAN)" userId="d8a93241-9b9d-4c25-8457-87ffab4b96e2" providerId="ADAL" clId="{D0392E92-C1C8-4E77-96D0-D493DA4AC621}" dt="2022-09-20T02:00:46.751" v="823" actId="571"/>
          <ac:spMkLst>
            <pc:docMk/>
            <pc:sldMk cId="3420303442" sldId="2147470300"/>
            <ac:spMk id="106" creationId="{9158B229-D9D3-E9B2-67D1-042C3F4098C4}"/>
          </ac:spMkLst>
        </pc:spChg>
        <pc:spChg chg="mod">
          <ac:chgData name="Kate Mun (KYOUNGRAN)" userId="d8a93241-9b9d-4c25-8457-87ffab4b96e2" providerId="ADAL" clId="{D0392E92-C1C8-4E77-96D0-D493DA4AC621}" dt="2022-09-20T02:00:46.751" v="823" actId="571"/>
          <ac:spMkLst>
            <pc:docMk/>
            <pc:sldMk cId="3420303442" sldId="2147470300"/>
            <ac:spMk id="108" creationId="{09D6EE60-0435-9798-24C2-E889E096CA70}"/>
          </ac:spMkLst>
        </pc:spChg>
        <pc:spChg chg="mod">
          <ac:chgData name="Kate Mun (KYOUNGRAN)" userId="d8a93241-9b9d-4c25-8457-87ffab4b96e2" providerId="ADAL" clId="{D0392E92-C1C8-4E77-96D0-D493DA4AC621}" dt="2022-09-20T02:00:46.751" v="823" actId="571"/>
          <ac:spMkLst>
            <pc:docMk/>
            <pc:sldMk cId="3420303442" sldId="2147470300"/>
            <ac:spMk id="109" creationId="{627999E5-E787-4235-813D-4DBBD5C8CD8D}"/>
          </ac:spMkLst>
        </pc:spChg>
        <pc:spChg chg="mod">
          <ac:chgData name="Kate Mun (KYOUNGRAN)" userId="d8a93241-9b9d-4c25-8457-87ffab4b96e2" providerId="ADAL" clId="{D0392E92-C1C8-4E77-96D0-D493DA4AC621}" dt="2022-09-20T02:00:46.751" v="823" actId="571"/>
          <ac:spMkLst>
            <pc:docMk/>
            <pc:sldMk cId="3420303442" sldId="2147470300"/>
            <ac:spMk id="110" creationId="{47CCBB69-996C-AF38-FC27-67AF74A87C76}"/>
          </ac:spMkLst>
        </pc:spChg>
        <pc:spChg chg="mod">
          <ac:chgData name="Kate Mun (KYOUNGRAN)" userId="d8a93241-9b9d-4c25-8457-87ffab4b96e2" providerId="ADAL" clId="{D0392E92-C1C8-4E77-96D0-D493DA4AC621}" dt="2022-09-20T02:00:46.751" v="823" actId="571"/>
          <ac:spMkLst>
            <pc:docMk/>
            <pc:sldMk cId="3420303442" sldId="2147470300"/>
            <ac:spMk id="111" creationId="{8B1B0C85-BEF5-11CD-385D-D97518E50E9A}"/>
          </ac:spMkLst>
        </pc:spChg>
        <pc:spChg chg="mod">
          <ac:chgData name="Kate Mun (KYOUNGRAN)" userId="d8a93241-9b9d-4c25-8457-87ffab4b96e2" providerId="ADAL" clId="{D0392E92-C1C8-4E77-96D0-D493DA4AC621}" dt="2022-09-20T02:00:46.751" v="823" actId="571"/>
          <ac:spMkLst>
            <pc:docMk/>
            <pc:sldMk cId="3420303442" sldId="2147470300"/>
            <ac:spMk id="112" creationId="{3CB07E48-DC9B-3B12-202E-C7051EFE9072}"/>
          </ac:spMkLst>
        </pc:spChg>
        <pc:spChg chg="mod">
          <ac:chgData name="Kate Mun (KYOUNGRAN)" userId="d8a93241-9b9d-4c25-8457-87ffab4b96e2" providerId="ADAL" clId="{D0392E92-C1C8-4E77-96D0-D493DA4AC621}" dt="2022-09-20T02:00:46.751" v="823" actId="571"/>
          <ac:spMkLst>
            <pc:docMk/>
            <pc:sldMk cId="3420303442" sldId="2147470300"/>
            <ac:spMk id="113" creationId="{E46AF2FA-1867-AFC8-308F-8C8F0048DA06}"/>
          </ac:spMkLst>
        </pc:spChg>
        <pc:spChg chg="mod">
          <ac:chgData name="Kate Mun (KYOUNGRAN)" userId="d8a93241-9b9d-4c25-8457-87ffab4b96e2" providerId="ADAL" clId="{D0392E92-C1C8-4E77-96D0-D493DA4AC621}" dt="2022-09-20T02:00:46.751" v="823" actId="571"/>
          <ac:spMkLst>
            <pc:docMk/>
            <pc:sldMk cId="3420303442" sldId="2147470300"/>
            <ac:spMk id="114" creationId="{F21E96B4-F206-75A9-FBCF-F2677CC740D4}"/>
          </ac:spMkLst>
        </pc:spChg>
        <pc:spChg chg="mod">
          <ac:chgData name="Kate Mun (KYOUNGRAN)" userId="d8a93241-9b9d-4c25-8457-87ffab4b96e2" providerId="ADAL" clId="{D0392E92-C1C8-4E77-96D0-D493DA4AC621}" dt="2022-09-20T02:00:46.751" v="823" actId="571"/>
          <ac:spMkLst>
            <pc:docMk/>
            <pc:sldMk cId="3420303442" sldId="2147470300"/>
            <ac:spMk id="115" creationId="{84B45F18-0E99-89F4-9AE7-4EEBDF7986C1}"/>
          </ac:spMkLst>
        </pc:spChg>
        <pc:spChg chg="mod">
          <ac:chgData name="Kate Mun (KYOUNGRAN)" userId="d8a93241-9b9d-4c25-8457-87ffab4b96e2" providerId="ADAL" clId="{D0392E92-C1C8-4E77-96D0-D493DA4AC621}" dt="2022-09-20T02:00:46.751" v="823" actId="571"/>
          <ac:spMkLst>
            <pc:docMk/>
            <pc:sldMk cId="3420303442" sldId="2147470300"/>
            <ac:spMk id="116" creationId="{03801F1B-80D4-FB87-941C-370CAFCAE3D4}"/>
          </ac:spMkLst>
        </pc:spChg>
        <pc:spChg chg="mod">
          <ac:chgData name="Kate Mun (KYOUNGRAN)" userId="d8a93241-9b9d-4c25-8457-87ffab4b96e2" providerId="ADAL" clId="{D0392E92-C1C8-4E77-96D0-D493DA4AC621}" dt="2022-09-20T02:00:46.751" v="823" actId="571"/>
          <ac:spMkLst>
            <pc:docMk/>
            <pc:sldMk cId="3420303442" sldId="2147470300"/>
            <ac:spMk id="117" creationId="{94B0F11C-625F-94CE-ADB2-E69D3D6A1868}"/>
          </ac:spMkLst>
        </pc:spChg>
        <pc:spChg chg="mod">
          <ac:chgData name="Kate Mun (KYOUNGRAN)" userId="d8a93241-9b9d-4c25-8457-87ffab4b96e2" providerId="ADAL" clId="{D0392E92-C1C8-4E77-96D0-D493DA4AC621}" dt="2022-09-20T02:00:46.751" v="823" actId="571"/>
          <ac:spMkLst>
            <pc:docMk/>
            <pc:sldMk cId="3420303442" sldId="2147470300"/>
            <ac:spMk id="118" creationId="{71572C38-9601-FFE7-52AE-3F232C82E10E}"/>
          </ac:spMkLst>
        </pc:spChg>
        <pc:spChg chg="mod">
          <ac:chgData name="Kate Mun (KYOUNGRAN)" userId="d8a93241-9b9d-4c25-8457-87ffab4b96e2" providerId="ADAL" clId="{D0392E92-C1C8-4E77-96D0-D493DA4AC621}" dt="2022-09-20T02:00:46.751" v="823" actId="571"/>
          <ac:spMkLst>
            <pc:docMk/>
            <pc:sldMk cId="3420303442" sldId="2147470300"/>
            <ac:spMk id="119" creationId="{41A1B00C-D3DA-7D5D-B513-74DBD0B1AFCC}"/>
          </ac:spMkLst>
        </pc:spChg>
        <pc:spChg chg="mod">
          <ac:chgData name="Kate Mun (KYOUNGRAN)" userId="d8a93241-9b9d-4c25-8457-87ffab4b96e2" providerId="ADAL" clId="{D0392E92-C1C8-4E77-96D0-D493DA4AC621}" dt="2022-09-20T02:00:46.751" v="823" actId="571"/>
          <ac:spMkLst>
            <pc:docMk/>
            <pc:sldMk cId="3420303442" sldId="2147470300"/>
            <ac:spMk id="120" creationId="{27AEAF06-8147-E23E-8DFC-20A811F2007A}"/>
          </ac:spMkLst>
        </pc:spChg>
        <pc:spChg chg="mod">
          <ac:chgData name="Kate Mun (KYOUNGRAN)" userId="d8a93241-9b9d-4c25-8457-87ffab4b96e2" providerId="ADAL" clId="{D0392E92-C1C8-4E77-96D0-D493DA4AC621}" dt="2022-09-20T02:00:46.751" v="823" actId="571"/>
          <ac:spMkLst>
            <pc:docMk/>
            <pc:sldMk cId="3420303442" sldId="2147470300"/>
            <ac:spMk id="122" creationId="{7066B65A-20EF-92E6-DA3A-AC085BE81AB2}"/>
          </ac:spMkLst>
        </pc:spChg>
        <pc:spChg chg="mod">
          <ac:chgData name="Kate Mun (KYOUNGRAN)" userId="d8a93241-9b9d-4c25-8457-87ffab4b96e2" providerId="ADAL" clId="{D0392E92-C1C8-4E77-96D0-D493DA4AC621}" dt="2022-09-20T02:00:46.751" v="823" actId="571"/>
          <ac:spMkLst>
            <pc:docMk/>
            <pc:sldMk cId="3420303442" sldId="2147470300"/>
            <ac:spMk id="123" creationId="{4F44D8F9-5B49-E626-08E0-85A8EA2C53B3}"/>
          </ac:spMkLst>
        </pc:spChg>
        <pc:spChg chg="mod">
          <ac:chgData name="Kate Mun (KYOUNGRAN)" userId="d8a93241-9b9d-4c25-8457-87ffab4b96e2" providerId="ADAL" clId="{D0392E92-C1C8-4E77-96D0-D493DA4AC621}" dt="2022-09-20T02:00:46.751" v="823" actId="571"/>
          <ac:spMkLst>
            <pc:docMk/>
            <pc:sldMk cId="3420303442" sldId="2147470300"/>
            <ac:spMk id="124" creationId="{DEC37951-7AD9-D632-D583-7366E071197B}"/>
          </ac:spMkLst>
        </pc:spChg>
        <pc:spChg chg="mod">
          <ac:chgData name="Kate Mun (KYOUNGRAN)" userId="d8a93241-9b9d-4c25-8457-87ffab4b96e2" providerId="ADAL" clId="{D0392E92-C1C8-4E77-96D0-D493DA4AC621}" dt="2022-09-20T02:00:46.751" v="823" actId="571"/>
          <ac:spMkLst>
            <pc:docMk/>
            <pc:sldMk cId="3420303442" sldId="2147470300"/>
            <ac:spMk id="125" creationId="{2C828CE7-CB8F-1302-0BAF-F6AD776ACE6C}"/>
          </ac:spMkLst>
        </pc:spChg>
        <pc:spChg chg="mod">
          <ac:chgData name="Kate Mun (KYOUNGRAN)" userId="d8a93241-9b9d-4c25-8457-87ffab4b96e2" providerId="ADAL" clId="{D0392E92-C1C8-4E77-96D0-D493DA4AC621}" dt="2022-09-20T02:00:46.751" v="823" actId="571"/>
          <ac:spMkLst>
            <pc:docMk/>
            <pc:sldMk cId="3420303442" sldId="2147470300"/>
            <ac:spMk id="126" creationId="{0E20069C-6AB5-9FBD-6C7F-6523B4A4CD1A}"/>
          </ac:spMkLst>
        </pc:spChg>
        <pc:spChg chg="mod">
          <ac:chgData name="Kate Mun (KYOUNGRAN)" userId="d8a93241-9b9d-4c25-8457-87ffab4b96e2" providerId="ADAL" clId="{D0392E92-C1C8-4E77-96D0-D493DA4AC621}" dt="2022-09-20T02:00:46.751" v="823" actId="571"/>
          <ac:spMkLst>
            <pc:docMk/>
            <pc:sldMk cId="3420303442" sldId="2147470300"/>
            <ac:spMk id="127" creationId="{587FED6F-1C70-36E1-3F66-EDB6A3998174}"/>
          </ac:spMkLst>
        </pc:spChg>
        <pc:spChg chg="mod">
          <ac:chgData name="Kate Mun (KYOUNGRAN)" userId="d8a93241-9b9d-4c25-8457-87ffab4b96e2" providerId="ADAL" clId="{D0392E92-C1C8-4E77-96D0-D493DA4AC621}" dt="2022-09-20T02:00:46.751" v="823" actId="571"/>
          <ac:spMkLst>
            <pc:docMk/>
            <pc:sldMk cId="3420303442" sldId="2147470300"/>
            <ac:spMk id="128" creationId="{69B964F9-1AF0-18D3-642F-4C85729CCE0C}"/>
          </ac:spMkLst>
        </pc:spChg>
        <pc:spChg chg="mod">
          <ac:chgData name="Kate Mun (KYOUNGRAN)" userId="d8a93241-9b9d-4c25-8457-87ffab4b96e2" providerId="ADAL" clId="{D0392E92-C1C8-4E77-96D0-D493DA4AC621}" dt="2022-09-20T02:00:46.751" v="823" actId="571"/>
          <ac:spMkLst>
            <pc:docMk/>
            <pc:sldMk cId="3420303442" sldId="2147470300"/>
            <ac:spMk id="129" creationId="{FAF74DA0-8739-4CC4-D868-CD5DC442BAAC}"/>
          </ac:spMkLst>
        </pc:spChg>
        <pc:spChg chg="mod">
          <ac:chgData name="Kate Mun (KYOUNGRAN)" userId="d8a93241-9b9d-4c25-8457-87ffab4b96e2" providerId="ADAL" clId="{D0392E92-C1C8-4E77-96D0-D493DA4AC621}" dt="2022-09-20T02:00:46.751" v="823" actId="571"/>
          <ac:spMkLst>
            <pc:docMk/>
            <pc:sldMk cId="3420303442" sldId="2147470300"/>
            <ac:spMk id="130" creationId="{A43B8AAD-5090-4B0E-74F1-E480136B9ED1}"/>
          </ac:spMkLst>
        </pc:spChg>
        <pc:spChg chg="mod">
          <ac:chgData name="Kate Mun (KYOUNGRAN)" userId="d8a93241-9b9d-4c25-8457-87ffab4b96e2" providerId="ADAL" clId="{D0392E92-C1C8-4E77-96D0-D493DA4AC621}" dt="2022-09-20T02:00:46.751" v="823" actId="571"/>
          <ac:spMkLst>
            <pc:docMk/>
            <pc:sldMk cId="3420303442" sldId="2147470300"/>
            <ac:spMk id="131" creationId="{5B50C1D5-40F4-603D-7170-948AD16EBA95}"/>
          </ac:spMkLst>
        </pc:spChg>
        <pc:spChg chg="mod">
          <ac:chgData name="Kate Mun (KYOUNGRAN)" userId="d8a93241-9b9d-4c25-8457-87ffab4b96e2" providerId="ADAL" clId="{D0392E92-C1C8-4E77-96D0-D493DA4AC621}" dt="2022-09-20T02:00:46.751" v="823" actId="571"/>
          <ac:spMkLst>
            <pc:docMk/>
            <pc:sldMk cId="3420303442" sldId="2147470300"/>
            <ac:spMk id="132" creationId="{F621A894-07ED-873D-07F0-312AF135475A}"/>
          </ac:spMkLst>
        </pc:spChg>
        <pc:spChg chg="mod">
          <ac:chgData name="Kate Mun (KYOUNGRAN)" userId="d8a93241-9b9d-4c25-8457-87ffab4b96e2" providerId="ADAL" clId="{D0392E92-C1C8-4E77-96D0-D493DA4AC621}" dt="2022-09-20T02:00:46.751" v="823" actId="571"/>
          <ac:spMkLst>
            <pc:docMk/>
            <pc:sldMk cId="3420303442" sldId="2147470300"/>
            <ac:spMk id="133" creationId="{4BEA8780-2983-1149-D8D7-6CD8E9E728B1}"/>
          </ac:spMkLst>
        </pc:spChg>
        <pc:spChg chg="mod">
          <ac:chgData name="Kate Mun (KYOUNGRAN)" userId="d8a93241-9b9d-4c25-8457-87ffab4b96e2" providerId="ADAL" clId="{D0392E92-C1C8-4E77-96D0-D493DA4AC621}" dt="2022-09-20T02:00:46.751" v="823" actId="571"/>
          <ac:spMkLst>
            <pc:docMk/>
            <pc:sldMk cId="3420303442" sldId="2147470300"/>
            <ac:spMk id="134" creationId="{AE14BEC4-0D63-15C3-5110-E818298901BA}"/>
          </ac:spMkLst>
        </pc:spChg>
        <pc:spChg chg="mod">
          <ac:chgData name="Kate Mun (KYOUNGRAN)" userId="d8a93241-9b9d-4c25-8457-87ffab4b96e2" providerId="ADAL" clId="{D0392E92-C1C8-4E77-96D0-D493DA4AC621}" dt="2022-09-20T02:00:46.751" v="823" actId="571"/>
          <ac:spMkLst>
            <pc:docMk/>
            <pc:sldMk cId="3420303442" sldId="2147470300"/>
            <ac:spMk id="135" creationId="{89A00A87-E6AA-10D1-B235-8F22B8F6F96F}"/>
          </ac:spMkLst>
        </pc:spChg>
        <pc:spChg chg="mod">
          <ac:chgData name="Kate Mun (KYOUNGRAN)" userId="d8a93241-9b9d-4c25-8457-87ffab4b96e2" providerId="ADAL" clId="{D0392E92-C1C8-4E77-96D0-D493DA4AC621}" dt="2022-09-20T02:00:46.751" v="823" actId="571"/>
          <ac:spMkLst>
            <pc:docMk/>
            <pc:sldMk cId="3420303442" sldId="2147470300"/>
            <ac:spMk id="136" creationId="{C793325A-E62A-AFFA-76A0-A60587191D2F}"/>
          </ac:spMkLst>
        </pc:spChg>
        <pc:spChg chg="add mod">
          <ac:chgData name="Kate Mun (KYOUNGRAN)" userId="d8a93241-9b9d-4c25-8457-87ffab4b96e2" providerId="ADAL" clId="{D0392E92-C1C8-4E77-96D0-D493DA4AC621}" dt="2022-09-20T02:00:46.751" v="823" actId="571"/>
          <ac:spMkLst>
            <pc:docMk/>
            <pc:sldMk cId="3420303442" sldId="2147470300"/>
            <ac:spMk id="137" creationId="{344F3B82-CFEE-E45A-6238-1FCF2BE9E779}"/>
          </ac:spMkLst>
        </pc:spChg>
        <pc:spChg chg="add mod">
          <ac:chgData name="Kate Mun (KYOUNGRAN)" userId="d8a93241-9b9d-4c25-8457-87ffab4b96e2" providerId="ADAL" clId="{D0392E92-C1C8-4E77-96D0-D493DA4AC621}" dt="2022-09-20T02:00:46.751" v="823" actId="571"/>
          <ac:spMkLst>
            <pc:docMk/>
            <pc:sldMk cId="3420303442" sldId="2147470300"/>
            <ac:spMk id="138" creationId="{2A505F09-10A6-E02F-347E-47E79B3B2D51}"/>
          </ac:spMkLst>
        </pc:spChg>
        <pc:spChg chg="add mod">
          <ac:chgData name="Kate Mun (KYOUNGRAN)" userId="d8a93241-9b9d-4c25-8457-87ffab4b96e2" providerId="ADAL" clId="{D0392E92-C1C8-4E77-96D0-D493DA4AC621}" dt="2022-09-20T02:00:46.751" v="823" actId="571"/>
          <ac:spMkLst>
            <pc:docMk/>
            <pc:sldMk cId="3420303442" sldId="2147470300"/>
            <ac:spMk id="139" creationId="{E716A64D-B0B4-999A-F537-3E527E0178FC}"/>
          </ac:spMkLst>
        </pc:spChg>
        <pc:spChg chg="add mod">
          <ac:chgData name="Kate Mun (KYOUNGRAN)" userId="d8a93241-9b9d-4c25-8457-87ffab4b96e2" providerId="ADAL" clId="{D0392E92-C1C8-4E77-96D0-D493DA4AC621}" dt="2022-09-20T02:00:46.751" v="823" actId="571"/>
          <ac:spMkLst>
            <pc:docMk/>
            <pc:sldMk cId="3420303442" sldId="2147470300"/>
            <ac:spMk id="140" creationId="{87207B21-8F43-A902-B24B-183B931DA08F}"/>
          </ac:spMkLst>
        </pc:spChg>
        <pc:spChg chg="add mod">
          <ac:chgData name="Kate Mun (KYOUNGRAN)" userId="d8a93241-9b9d-4c25-8457-87ffab4b96e2" providerId="ADAL" clId="{D0392E92-C1C8-4E77-96D0-D493DA4AC621}" dt="2022-09-20T02:00:46.751" v="823" actId="571"/>
          <ac:spMkLst>
            <pc:docMk/>
            <pc:sldMk cId="3420303442" sldId="2147470300"/>
            <ac:spMk id="141" creationId="{52CED8C1-A116-A5F9-9E3E-B6F1DFD9C3C5}"/>
          </ac:spMkLst>
        </pc:spChg>
        <pc:spChg chg="add mod">
          <ac:chgData name="Kate Mun (KYOUNGRAN)" userId="d8a93241-9b9d-4c25-8457-87ffab4b96e2" providerId="ADAL" clId="{D0392E92-C1C8-4E77-96D0-D493DA4AC621}" dt="2022-09-20T02:00:46.751" v="823" actId="571"/>
          <ac:spMkLst>
            <pc:docMk/>
            <pc:sldMk cId="3420303442" sldId="2147470300"/>
            <ac:spMk id="142" creationId="{2E5946E6-5487-6CFB-2A22-9D39FF09A7BA}"/>
          </ac:spMkLst>
        </pc:spChg>
        <pc:spChg chg="add mod">
          <ac:chgData name="Kate Mun (KYOUNGRAN)" userId="d8a93241-9b9d-4c25-8457-87ffab4b96e2" providerId="ADAL" clId="{D0392E92-C1C8-4E77-96D0-D493DA4AC621}" dt="2022-09-20T02:00:46.751" v="823" actId="571"/>
          <ac:spMkLst>
            <pc:docMk/>
            <pc:sldMk cId="3420303442" sldId="2147470300"/>
            <ac:spMk id="143" creationId="{BF38006E-5652-3B75-0AED-3053A048D39F}"/>
          </ac:spMkLst>
        </pc:spChg>
        <pc:spChg chg="add mod">
          <ac:chgData name="Kate Mun (KYOUNGRAN)" userId="d8a93241-9b9d-4c25-8457-87ffab4b96e2" providerId="ADAL" clId="{D0392E92-C1C8-4E77-96D0-D493DA4AC621}" dt="2022-09-20T02:00:46.751" v="823" actId="571"/>
          <ac:spMkLst>
            <pc:docMk/>
            <pc:sldMk cId="3420303442" sldId="2147470300"/>
            <ac:spMk id="144" creationId="{70052961-5B2D-DD84-60B2-516A9CD52A19}"/>
          </ac:spMkLst>
        </pc:spChg>
        <pc:spChg chg="add mod">
          <ac:chgData name="Kate Mun (KYOUNGRAN)" userId="d8a93241-9b9d-4c25-8457-87ffab4b96e2" providerId="ADAL" clId="{D0392E92-C1C8-4E77-96D0-D493DA4AC621}" dt="2022-09-20T02:00:46.751" v="823" actId="571"/>
          <ac:spMkLst>
            <pc:docMk/>
            <pc:sldMk cId="3420303442" sldId="2147470300"/>
            <ac:spMk id="145" creationId="{0ADB4554-0DD0-A190-D32D-000DB01719AD}"/>
          </ac:spMkLst>
        </pc:spChg>
        <pc:spChg chg="add mod">
          <ac:chgData name="Kate Mun (KYOUNGRAN)" userId="d8a93241-9b9d-4c25-8457-87ffab4b96e2" providerId="ADAL" clId="{D0392E92-C1C8-4E77-96D0-D493DA4AC621}" dt="2022-09-20T02:00:46.751" v="823" actId="571"/>
          <ac:spMkLst>
            <pc:docMk/>
            <pc:sldMk cId="3420303442" sldId="2147470300"/>
            <ac:spMk id="146" creationId="{0383762F-8215-4077-33A0-3CEE5890AA51}"/>
          </ac:spMkLst>
        </pc:spChg>
        <pc:spChg chg="add mod">
          <ac:chgData name="Kate Mun (KYOUNGRAN)" userId="d8a93241-9b9d-4c25-8457-87ffab4b96e2" providerId="ADAL" clId="{D0392E92-C1C8-4E77-96D0-D493DA4AC621}" dt="2022-09-20T02:00:46.751" v="823" actId="571"/>
          <ac:spMkLst>
            <pc:docMk/>
            <pc:sldMk cId="3420303442" sldId="2147470300"/>
            <ac:spMk id="147" creationId="{655D1159-8C32-7E4F-4C96-9964F32CDA4C}"/>
          </ac:spMkLst>
        </pc:spChg>
        <pc:spChg chg="add mod">
          <ac:chgData name="Kate Mun (KYOUNGRAN)" userId="d8a93241-9b9d-4c25-8457-87ffab4b96e2" providerId="ADAL" clId="{D0392E92-C1C8-4E77-96D0-D493DA4AC621}" dt="2022-09-20T02:00:46.751" v="823" actId="571"/>
          <ac:spMkLst>
            <pc:docMk/>
            <pc:sldMk cId="3420303442" sldId="2147470300"/>
            <ac:spMk id="148" creationId="{1E9B5176-02DE-6556-4966-F2AD38E8B9D6}"/>
          </ac:spMkLst>
        </pc:spChg>
        <pc:spChg chg="add mod">
          <ac:chgData name="Kate Mun (KYOUNGRAN)" userId="d8a93241-9b9d-4c25-8457-87ffab4b96e2" providerId="ADAL" clId="{D0392E92-C1C8-4E77-96D0-D493DA4AC621}" dt="2022-09-20T02:00:46.751" v="823" actId="571"/>
          <ac:spMkLst>
            <pc:docMk/>
            <pc:sldMk cId="3420303442" sldId="2147470300"/>
            <ac:spMk id="149" creationId="{3D61A7EE-0DF0-5EC9-7E13-1D8A374436A8}"/>
          </ac:spMkLst>
        </pc:spChg>
        <pc:spChg chg="add mod">
          <ac:chgData name="Kate Mun (KYOUNGRAN)" userId="d8a93241-9b9d-4c25-8457-87ffab4b96e2" providerId="ADAL" clId="{D0392E92-C1C8-4E77-96D0-D493DA4AC621}" dt="2022-09-20T02:00:46.751" v="823" actId="571"/>
          <ac:spMkLst>
            <pc:docMk/>
            <pc:sldMk cId="3420303442" sldId="2147470300"/>
            <ac:spMk id="150" creationId="{F119879C-43BD-663A-37DF-A9D9EAC2B96F}"/>
          </ac:spMkLst>
        </pc:spChg>
        <pc:spChg chg="add mod">
          <ac:chgData name="Kate Mun (KYOUNGRAN)" userId="d8a93241-9b9d-4c25-8457-87ffab4b96e2" providerId="ADAL" clId="{D0392E92-C1C8-4E77-96D0-D493DA4AC621}" dt="2022-09-20T02:00:46.751" v="823" actId="571"/>
          <ac:spMkLst>
            <pc:docMk/>
            <pc:sldMk cId="3420303442" sldId="2147470300"/>
            <ac:spMk id="151" creationId="{7878B199-4263-CFC9-0CE2-A18A4D3D1C27}"/>
          </ac:spMkLst>
        </pc:spChg>
        <pc:spChg chg="add mod">
          <ac:chgData name="Kate Mun (KYOUNGRAN)" userId="d8a93241-9b9d-4c25-8457-87ffab4b96e2" providerId="ADAL" clId="{D0392E92-C1C8-4E77-96D0-D493DA4AC621}" dt="2022-09-20T02:00:46.751" v="823" actId="571"/>
          <ac:spMkLst>
            <pc:docMk/>
            <pc:sldMk cId="3420303442" sldId="2147470300"/>
            <ac:spMk id="152" creationId="{40CC4499-074E-BDE8-3609-82C92AB1808D}"/>
          </ac:spMkLst>
        </pc:spChg>
        <pc:spChg chg="add mod">
          <ac:chgData name="Kate Mun (KYOUNGRAN)" userId="d8a93241-9b9d-4c25-8457-87ffab4b96e2" providerId="ADAL" clId="{D0392E92-C1C8-4E77-96D0-D493DA4AC621}" dt="2022-09-20T02:00:46.751" v="823" actId="571"/>
          <ac:spMkLst>
            <pc:docMk/>
            <pc:sldMk cId="3420303442" sldId="2147470300"/>
            <ac:spMk id="153" creationId="{0B993D23-FC08-9F18-9791-88603B96AB25}"/>
          </ac:spMkLst>
        </pc:spChg>
        <pc:spChg chg="add mod">
          <ac:chgData name="Kate Mun (KYOUNGRAN)" userId="d8a93241-9b9d-4c25-8457-87ffab4b96e2" providerId="ADAL" clId="{D0392E92-C1C8-4E77-96D0-D493DA4AC621}" dt="2022-09-20T02:00:46.751" v="823" actId="571"/>
          <ac:spMkLst>
            <pc:docMk/>
            <pc:sldMk cId="3420303442" sldId="2147470300"/>
            <ac:spMk id="154" creationId="{C4255FC9-11E2-B462-063F-9DBF5DFBCA3D}"/>
          </ac:spMkLst>
        </pc:spChg>
        <pc:spChg chg="add mod">
          <ac:chgData name="Kate Mun (KYOUNGRAN)" userId="d8a93241-9b9d-4c25-8457-87ffab4b96e2" providerId="ADAL" clId="{D0392E92-C1C8-4E77-96D0-D493DA4AC621}" dt="2022-09-20T02:00:46.751" v="823" actId="571"/>
          <ac:spMkLst>
            <pc:docMk/>
            <pc:sldMk cId="3420303442" sldId="2147470300"/>
            <ac:spMk id="155" creationId="{3A2D1EDB-CCDE-4B2F-4718-DC732FF0211C}"/>
          </ac:spMkLst>
        </pc:spChg>
        <pc:spChg chg="add mod">
          <ac:chgData name="Kate Mun (KYOUNGRAN)" userId="d8a93241-9b9d-4c25-8457-87ffab4b96e2" providerId="ADAL" clId="{D0392E92-C1C8-4E77-96D0-D493DA4AC621}" dt="2022-09-20T02:00:46.751" v="823" actId="571"/>
          <ac:spMkLst>
            <pc:docMk/>
            <pc:sldMk cId="3420303442" sldId="2147470300"/>
            <ac:spMk id="156" creationId="{6C8663AF-9CC6-8467-3247-86E22BB50681}"/>
          </ac:spMkLst>
        </pc:spChg>
        <pc:grpChg chg="add del mod">
          <ac:chgData name="Kate Mun (KYOUNGRAN)" userId="d8a93241-9b9d-4c25-8457-87ffab4b96e2" providerId="ADAL" clId="{D0392E92-C1C8-4E77-96D0-D493DA4AC621}" dt="2022-09-20T01:48:20.887" v="426" actId="165"/>
          <ac:grpSpMkLst>
            <pc:docMk/>
            <pc:sldMk cId="3420303442" sldId="2147470300"/>
            <ac:grpSpMk id="38" creationId="{76FC7446-ED1E-15D8-B00C-BC47821064D3}"/>
          </ac:grpSpMkLst>
        </pc:grpChg>
        <pc:grpChg chg="add del mod">
          <ac:chgData name="Kate Mun (KYOUNGRAN)" userId="d8a93241-9b9d-4c25-8457-87ffab4b96e2" providerId="ADAL" clId="{D0392E92-C1C8-4E77-96D0-D493DA4AC621}" dt="2022-09-20T02:05:51.491" v="979" actId="165"/>
          <ac:grpSpMkLst>
            <pc:docMk/>
            <pc:sldMk cId="3420303442" sldId="2147470300"/>
            <ac:grpSpMk id="39" creationId="{5DB09B21-F0AE-D8C7-DEC6-483A3415F846}"/>
          </ac:grpSpMkLst>
        </pc:grpChg>
        <pc:grpChg chg="add del mod">
          <ac:chgData name="Kate Mun (KYOUNGRAN)" userId="d8a93241-9b9d-4c25-8457-87ffab4b96e2" providerId="ADAL" clId="{D0392E92-C1C8-4E77-96D0-D493DA4AC621}" dt="2022-09-20T01:50:50.019" v="459" actId="165"/>
          <ac:grpSpMkLst>
            <pc:docMk/>
            <pc:sldMk cId="3420303442" sldId="2147470300"/>
            <ac:grpSpMk id="77" creationId="{B02B1B9A-7E31-3CDF-1C5E-0B1C076301D5}"/>
          </ac:grpSpMkLst>
        </pc:grpChg>
        <pc:grpChg chg="add mod">
          <ac:chgData name="Kate Mun (KYOUNGRAN)" userId="d8a93241-9b9d-4c25-8457-87ffab4b96e2" providerId="ADAL" clId="{D0392E92-C1C8-4E77-96D0-D493DA4AC621}" dt="2022-09-20T02:01:42.790" v="911" actId="1035"/>
          <ac:grpSpMkLst>
            <pc:docMk/>
            <pc:sldMk cId="3420303442" sldId="2147470300"/>
            <ac:grpSpMk id="78" creationId="{019107AD-426E-1BEA-D6C6-E1C889E1A0A9}"/>
          </ac:grpSpMkLst>
        </pc:grpChg>
        <pc:grpChg chg="add del mod topLvl">
          <ac:chgData name="Kate Mun (KYOUNGRAN)" userId="d8a93241-9b9d-4c25-8457-87ffab4b96e2" providerId="ADAL" clId="{D0392E92-C1C8-4E77-96D0-D493DA4AC621}" dt="2022-09-20T01:57:03.044" v="677" actId="165"/>
          <ac:grpSpMkLst>
            <pc:docMk/>
            <pc:sldMk cId="3420303442" sldId="2147470300"/>
            <ac:grpSpMk id="90" creationId="{93759A66-1ACE-0D84-498C-67D04946F29F}"/>
          </ac:grpSpMkLst>
        </pc:grpChg>
        <pc:grpChg chg="add del mod">
          <ac:chgData name="Kate Mun (KYOUNGRAN)" userId="d8a93241-9b9d-4c25-8457-87ffab4b96e2" providerId="ADAL" clId="{D0392E92-C1C8-4E77-96D0-D493DA4AC621}" dt="2022-09-20T01:56:27.461" v="640" actId="165"/>
          <ac:grpSpMkLst>
            <pc:docMk/>
            <pc:sldMk cId="3420303442" sldId="2147470300"/>
            <ac:grpSpMk id="100" creationId="{946FD3BA-F610-B192-80EB-FD47FDC13BF0}"/>
          </ac:grpSpMkLst>
        </pc:grpChg>
        <pc:grpChg chg="add mod">
          <ac:chgData name="Kate Mun (KYOUNGRAN)" userId="d8a93241-9b9d-4c25-8457-87ffab4b96e2" providerId="ADAL" clId="{D0392E92-C1C8-4E77-96D0-D493DA4AC621}" dt="2022-09-20T02:00:46.751" v="823" actId="571"/>
          <ac:grpSpMkLst>
            <pc:docMk/>
            <pc:sldMk cId="3420303442" sldId="2147470300"/>
            <ac:grpSpMk id="107" creationId="{9DE32E1E-A9FA-0845-6C9C-A50FC98E35DA}"/>
          </ac:grpSpMkLst>
        </pc:grpChg>
        <pc:grpChg chg="add mod">
          <ac:chgData name="Kate Mun (KYOUNGRAN)" userId="d8a93241-9b9d-4c25-8457-87ffab4b96e2" providerId="ADAL" clId="{D0392E92-C1C8-4E77-96D0-D493DA4AC621}" dt="2022-09-20T02:00:46.751" v="823" actId="571"/>
          <ac:grpSpMkLst>
            <pc:docMk/>
            <pc:sldMk cId="3420303442" sldId="2147470300"/>
            <ac:grpSpMk id="121" creationId="{7A6B8D74-5498-48D5-5B58-2E4FC733140A}"/>
          </ac:grpSpMkLst>
        </pc:grpChg>
        <pc:grpChg chg="add">
          <ac:chgData name="Kate Mun (KYOUNGRAN)" userId="d8a93241-9b9d-4c25-8457-87ffab4b96e2" providerId="ADAL" clId="{D0392E92-C1C8-4E77-96D0-D493DA4AC621}" dt="2022-09-20T02:02:57.555" v="938" actId="164"/>
          <ac:grpSpMkLst>
            <pc:docMk/>
            <pc:sldMk cId="3420303442" sldId="2147470300"/>
            <ac:grpSpMk id="157" creationId="{30E74E43-61BD-21A6-52AA-4D27497F45A5}"/>
          </ac:grpSpMkLst>
        </pc:grpChg>
        <pc:graphicFrameChg chg="mod ord modGraphic">
          <ac:chgData name="Kate Mun (KYOUNGRAN)" userId="d8a93241-9b9d-4c25-8457-87ffab4b96e2" providerId="ADAL" clId="{D0392E92-C1C8-4E77-96D0-D493DA4AC621}" dt="2022-10-20T02:46:47.921" v="34321" actId="167"/>
          <ac:graphicFrameMkLst>
            <pc:docMk/>
            <pc:sldMk cId="3420303442" sldId="2147470300"/>
            <ac:graphicFrameMk id="7" creationId="{0F05B7EE-C160-4826-865A-35438E9C952B}"/>
          </ac:graphicFrameMkLst>
        </pc:graphicFrameChg>
      </pc:sldChg>
      <pc:sldChg chg="modSp mod modClrScheme chgLayout">
        <pc:chgData name="Kate Mun (KYOUNGRAN)" userId="d8a93241-9b9d-4c25-8457-87ffab4b96e2" providerId="ADAL" clId="{D0392E92-C1C8-4E77-96D0-D493DA4AC621}" dt="2022-10-19T01:34:09.116" v="31208" actId="700"/>
        <pc:sldMkLst>
          <pc:docMk/>
          <pc:sldMk cId="153395772" sldId="2147470301"/>
        </pc:sldMkLst>
        <pc:spChg chg="mod ord">
          <ac:chgData name="Kate Mun (KYOUNGRAN)" userId="d8a93241-9b9d-4c25-8457-87ffab4b96e2" providerId="ADAL" clId="{D0392E92-C1C8-4E77-96D0-D493DA4AC621}" dt="2022-10-19T01:34:09.116" v="31208" actId="700"/>
          <ac:spMkLst>
            <pc:docMk/>
            <pc:sldMk cId="153395772" sldId="2147470301"/>
            <ac:spMk id="2" creationId="{C9355748-2E5A-FF43-B041-EDECD4D2DAAD}"/>
          </ac:spMkLst>
        </pc:spChg>
        <pc:spChg chg="mod ord">
          <ac:chgData name="Kate Mun (KYOUNGRAN)" userId="d8a93241-9b9d-4c25-8457-87ffab4b96e2" providerId="ADAL" clId="{D0392E92-C1C8-4E77-96D0-D493DA4AC621}" dt="2022-10-19T01:34:09.116" v="31208" actId="700"/>
          <ac:spMkLst>
            <pc:docMk/>
            <pc:sldMk cId="153395772" sldId="2147470301"/>
            <ac:spMk id="5" creationId="{0F85905A-5E01-8F50-E18C-9D227C507F1C}"/>
          </ac:spMkLst>
        </pc:spChg>
      </pc:sldChg>
      <pc:sldChg chg="add">
        <pc:chgData name="Kate Mun (KYOUNGRAN)" userId="d8a93241-9b9d-4c25-8457-87ffab4b96e2" providerId="ADAL" clId="{D0392E92-C1C8-4E77-96D0-D493DA4AC621}" dt="2022-09-20T02:29:00.127" v="1554"/>
        <pc:sldMkLst>
          <pc:docMk/>
          <pc:sldMk cId="1749172033" sldId="2147470302"/>
        </pc:sldMkLst>
      </pc:sldChg>
      <pc:sldChg chg="modSp mod modClrScheme chgLayout">
        <pc:chgData name="Kate Mun (KYOUNGRAN)" userId="d8a93241-9b9d-4c25-8457-87ffab4b96e2" providerId="ADAL" clId="{D0392E92-C1C8-4E77-96D0-D493DA4AC621}" dt="2022-10-19T01:34:09.116" v="31208" actId="700"/>
        <pc:sldMkLst>
          <pc:docMk/>
          <pc:sldMk cId="2919349683" sldId="2147470303"/>
        </pc:sldMkLst>
        <pc:spChg chg="mod ord">
          <ac:chgData name="Kate Mun (KYOUNGRAN)" userId="d8a93241-9b9d-4c25-8457-87ffab4b96e2" providerId="ADAL" clId="{D0392E92-C1C8-4E77-96D0-D493DA4AC621}" dt="2022-10-19T01:34:09.116" v="31208" actId="700"/>
          <ac:spMkLst>
            <pc:docMk/>
            <pc:sldMk cId="2919349683" sldId="2147470303"/>
            <ac:spMk id="2" creationId="{C9355748-2E5A-FF43-B041-EDECD4D2DAAD}"/>
          </ac:spMkLst>
        </pc:spChg>
        <pc:spChg chg="mod ord">
          <ac:chgData name="Kate Mun (KYOUNGRAN)" userId="d8a93241-9b9d-4c25-8457-87ffab4b96e2" providerId="ADAL" clId="{D0392E92-C1C8-4E77-96D0-D493DA4AC621}" dt="2022-10-19T01:34:09.116" v="31208" actId="700"/>
          <ac:spMkLst>
            <pc:docMk/>
            <pc:sldMk cId="2919349683" sldId="2147470303"/>
            <ac:spMk id="5" creationId="{0F85905A-5E01-8F50-E18C-9D227C507F1C}"/>
          </ac:spMkLst>
        </pc:spChg>
      </pc:sldChg>
      <pc:sldChg chg="modSp mod modClrScheme chgLayout">
        <pc:chgData name="Kate Mun (KYOUNGRAN)" userId="d8a93241-9b9d-4c25-8457-87ffab4b96e2" providerId="ADAL" clId="{D0392E92-C1C8-4E77-96D0-D493DA4AC621}" dt="2022-10-19T01:34:09.116" v="31208" actId="700"/>
        <pc:sldMkLst>
          <pc:docMk/>
          <pc:sldMk cId="2301649601" sldId="2147470304"/>
        </pc:sldMkLst>
        <pc:spChg chg="mod ord">
          <ac:chgData name="Kate Mun (KYOUNGRAN)" userId="d8a93241-9b9d-4c25-8457-87ffab4b96e2" providerId="ADAL" clId="{D0392E92-C1C8-4E77-96D0-D493DA4AC621}" dt="2022-10-19T01:34:09.116" v="31208" actId="700"/>
          <ac:spMkLst>
            <pc:docMk/>
            <pc:sldMk cId="2301649601" sldId="2147470304"/>
            <ac:spMk id="2" creationId="{C9355748-2E5A-FF43-B041-EDECD4D2DAAD}"/>
          </ac:spMkLst>
        </pc:spChg>
        <pc:spChg chg="mod ord">
          <ac:chgData name="Kate Mun (KYOUNGRAN)" userId="d8a93241-9b9d-4c25-8457-87ffab4b96e2" providerId="ADAL" clId="{D0392E92-C1C8-4E77-96D0-D493DA4AC621}" dt="2022-10-19T01:34:09.116" v="31208" actId="700"/>
          <ac:spMkLst>
            <pc:docMk/>
            <pc:sldMk cId="2301649601" sldId="2147470304"/>
            <ac:spMk id="5" creationId="{0F85905A-5E01-8F50-E18C-9D227C507F1C}"/>
          </ac:spMkLst>
        </pc:spChg>
      </pc:sldChg>
      <pc:sldChg chg="modSp mod modClrScheme chgLayout">
        <pc:chgData name="Kate Mun (KYOUNGRAN)" userId="d8a93241-9b9d-4c25-8457-87ffab4b96e2" providerId="ADAL" clId="{D0392E92-C1C8-4E77-96D0-D493DA4AC621}" dt="2022-10-19T01:34:09.116" v="31208" actId="700"/>
        <pc:sldMkLst>
          <pc:docMk/>
          <pc:sldMk cId="3161920934" sldId="2147470305"/>
        </pc:sldMkLst>
        <pc:spChg chg="mod ord">
          <ac:chgData name="Kate Mun (KYOUNGRAN)" userId="d8a93241-9b9d-4c25-8457-87ffab4b96e2" providerId="ADAL" clId="{D0392E92-C1C8-4E77-96D0-D493DA4AC621}" dt="2022-10-19T01:34:09.116" v="31208" actId="700"/>
          <ac:spMkLst>
            <pc:docMk/>
            <pc:sldMk cId="3161920934" sldId="2147470305"/>
            <ac:spMk id="2" creationId="{C9355748-2E5A-FF43-B041-EDECD4D2DAAD}"/>
          </ac:spMkLst>
        </pc:spChg>
        <pc:spChg chg="mod ord">
          <ac:chgData name="Kate Mun (KYOUNGRAN)" userId="d8a93241-9b9d-4c25-8457-87ffab4b96e2" providerId="ADAL" clId="{D0392E92-C1C8-4E77-96D0-D493DA4AC621}" dt="2022-10-19T01:34:09.116" v="31208" actId="700"/>
          <ac:spMkLst>
            <pc:docMk/>
            <pc:sldMk cId="3161920934" sldId="2147470305"/>
            <ac:spMk id="5" creationId="{0F85905A-5E01-8F50-E18C-9D227C507F1C}"/>
          </ac:spMkLst>
        </pc:spChg>
      </pc:sldChg>
      <pc:sldChg chg="modSp mod modClrScheme chgLayout">
        <pc:chgData name="Kate Mun (KYOUNGRAN)" userId="d8a93241-9b9d-4c25-8457-87ffab4b96e2" providerId="ADAL" clId="{D0392E92-C1C8-4E77-96D0-D493DA4AC621}" dt="2022-10-19T01:34:09.116" v="31208" actId="700"/>
        <pc:sldMkLst>
          <pc:docMk/>
          <pc:sldMk cId="3772837338" sldId="2147470306"/>
        </pc:sldMkLst>
        <pc:spChg chg="mod ord">
          <ac:chgData name="Kate Mun (KYOUNGRAN)" userId="d8a93241-9b9d-4c25-8457-87ffab4b96e2" providerId="ADAL" clId="{D0392E92-C1C8-4E77-96D0-D493DA4AC621}" dt="2022-10-19T01:34:09.116" v="31208" actId="700"/>
          <ac:spMkLst>
            <pc:docMk/>
            <pc:sldMk cId="3772837338" sldId="2147470306"/>
            <ac:spMk id="2" creationId="{C9355748-2E5A-FF43-B041-EDECD4D2DAAD}"/>
          </ac:spMkLst>
        </pc:spChg>
        <pc:spChg chg="mod ord">
          <ac:chgData name="Kate Mun (KYOUNGRAN)" userId="d8a93241-9b9d-4c25-8457-87ffab4b96e2" providerId="ADAL" clId="{D0392E92-C1C8-4E77-96D0-D493DA4AC621}" dt="2022-10-19T01:34:09.116" v="31208" actId="700"/>
          <ac:spMkLst>
            <pc:docMk/>
            <pc:sldMk cId="3772837338" sldId="2147470306"/>
            <ac:spMk id="5" creationId="{0F85905A-5E01-8F50-E18C-9D227C507F1C}"/>
          </ac:spMkLst>
        </pc:spChg>
      </pc:sldChg>
      <pc:sldChg chg="modSp mod modClrScheme chgLayout">
        <pc:chgData name="Kate Mun (KYOUNGRAN)" userId="d8a93241-9b9d-4c25-8457-87ffab4b96e2" providerId="ADAL" clId="{D0392E92-C1C8-4E77-96D0-D493DA4AC621}" dt="2022-10-19T01:34:23.709" v="31209" actId="700"/>
        <pc:sldMkLst>
          <pc:docMk/>
          <pc:sldMk cId="4112861408" sldId="2147470307"/>
        </pc:sldMkLst>
        <pc:spChg chg="mod ord">
          <ac:chgData name="Kate Mun (KYOUNGRAN)" userId="d8a93241-9b9d-4c25-8457-87ffab4b96e2" providerId="ADAL" clId="{D0392E92-C1C8-4E77-96D0-D493DA4AC621}" dt="2022-10-19T01:34:23.709" v="31209" actId="700"/>
          <ac:spMkLst>
            <pc:docMk/>
            <pc:sldMk cId="4112861408" sldId="2147470307"/>
            <ac:spMk id="2" creationId="{C9355748-2E5A-FF43-B041-EDECD4D2DAAD}"/>
          </ac:spMkLst>
        </pc:spChg>
        <pc:spChg chg="mod ord">
          <ac:chgData name="Kate Mun (KYOUNGRAN)" userId="d8a93241-9b9d-4c25-8457-87ffab4b96e2" providerId="ADAL" clId="{D0392E92-C1C8-4E77-96D0-D493DA4AC621}" dt="2022-10-19T01:34:23.709" v="31209" actId="700"/>
          <ac:spMkLst>
            <pc:docMk/>
            <pc:sldMk cId="4112861408" sldId="2147470307"/>
            <ac:spMk id="5" creationId="{0F85905A-5E01-8F50-E18C-9D227C507F1C}"/>
          </ac:spMkLst>
        </pc:spChg>
      </pc:sldChg>
      <pc:sldChg chg="modSp mod modClrScheme chgLayout">
        <pc:chgData name="Kate Mun (KYOUNGRAN)" userId="d8a93241-9b9d-4c25-8457-87ffab4b96e2" providerId="ADAL" clId="{D0392E92-C1C8-4E77-96D0-D493DA4AC621}" dt="2022-10-19T01:34:23.709" v="31209" actId="700"/>
        <pc:sldMkLst>
          <pc:docMk/>
          <pc:sldMk cId="791780155" sldId="2147470308"/>
        </pc:sldMkLst>
        <pc:spChg chg="mod ord">
          <ac:chgData name="Kate Mun (KYOUNGRAN)" userId="d8a93241-9b9d-4c25-8457-87ffab4b96e2" providerId="ADAL" clId="{D0392E92-C1C8-4E77-96D0-D493DA4AC621}" dt="2022-10-19T01:34:23.709" v="31209" actId="700"/>
          <ac:spMkLst>
            <pc:docMk/>
            <pc:sldMk cId="791780155" sldId="2147470308"/>
            <ac:spMk id="2" creationId="{C9355748-2E5A-FF43-B041-EDECD4D2DAAD}"/>
          </ac:spMkLst>
        </pc:spChg>
        <pc:spChg chg="mod ord">
          <ac:chgData name="Kate Mun (KYOUNGRAN)" userId="d8a93241-9b9d-4c25-8457-87ffab4b96e2" providerId="ADAL" clId="{D0392E92-C1C8-4E77-96D0-D493DA4AC621}" dt="2022-10-19T01:34:23.709" v="31209" actId="700"/>
          <ac:spMkLst>
            <pc:docMk/>
            <pc:sldMk cId="791780155" sldId="2147470308"/>
            <ac:spMk id="5" creationId="{0F85905A-5E01-8F50-E18C-9D227C507F1C}"/>
          </ac:spMkLst>
        </pc:spChg>
      </pc:sldChg>
      <pc:sldChg chg="modSp mod modClrScheme chgLayout">
        <pc:chgData name="Kate Mun (KYOUNGRAN)" userId="d8a93241-9b9d-4c25-8457-87ffab4b96e2" providerId="ADAL" clId="{D0392E92-C1C8-4E77-96D0-D493DA4AC621}" dt="2022-10-19T01:34:23.709" v="31209" actId="700"/>
        <pc:sldMkLst>
          <pc:docMk/>
          <pc:sldMk cId="1504937118" sldId="2147470309"/>
        </pc:sldMkLst>
        <pc:spChg chg="mod ord">
          <ac:chgData name="Kate Mun (KYOUNGRAN)" userId="d8a93241-9b9d-4c25-8457-87ffab4b96e2" providerId="ADAL" clId="{D0392E92-C1C8-4E77-96D0-D493DA4AC621}" dt="2022-10-19T01:34:23.709" v="31209" actId="700"/>
          <ac:spMkLst>
            <pc:docMk/>
            <pc:sldMk cId="1504937118" sldId="2147470309"/>
            <ac:spMk id="2" creationId="{C9355748-2E5A-FF43-B041-EDECD4D2DAAD}"/>
          </ac:spMkLst>
        </pc:spChg>
        <pc:spChg chg="mod ord">
          <ac:chgData name="Kate Mun (KYOUNGRAN)" userId="d8a93241-9b9d-4c25-8457-87ffab4b96e2" providerId="ADAL" clId="{D0392E92-C1C8-4E77-96D0-D493DA4AC621}" dt="2022-10-19T01:34:23.709" v="31209" actId="700"/>
          <ac:spMkLst>
            <pc:docMk/>
            <pc:sldMk cId="1504937118" sldId="2147470309"/>
            <ac:spMk id="5" creationId="{0F85905A-5E01-8F50-E18C-9D227C507F1C}"/>
          </ac:spMkLst>
        </pc:spChg>
      </pc:sldChg>
      <pc:sldChg chg="modSp mod modClrScheme chgLayout">
        <pc:chgData name="Kate Mun (KYOUNGRAN)" userId="d8a93241-9b9d-4c25-8457-87ffab4b96e2" providerId="ADAL" clId="{D0392E92-C1C8-4E77-96D0-D493DA4AC621}" dt="2022-10-19T01:34:23.709" v="31209" actId="700"/>
        <pc:sldMkLst>
          <pc:docMk/>
          <pc:sldMk cId="502563613" sldId="2147470310"/>
        </pc:sldMkLst>
        <pc:spChg chg="mod ord">
          <ac:chgData name="Kate Mun (KYOUNGRAN)" userId="d8a93241-9b9d-4c25-8457-87ffab4b96e2" providerId="ADAL" clId="{D0392E92-C1C8-4E77-96D0-D493DA4AC621}" dt="2022-10-19T01:34:23.709" v="31209" actId="700"/>
          <ac:spMkLst>
            <pc:docMk/>
            <pc:sldMk cId="502563613" sldId="2147470310"/>
            <ac:spMk id="2" creationId="{C9355748-2E5A-FF43-B041-EDECD4D2DAAD}"/>
          </ac:spMkLst>
        </pc:spChg>
        <pc:spChg chg="mod ord">
          <ac:chgData name="Kate Mun (KYOUNGRAN)" userId="d8a93241-9b9d-4c25-8457-87ffab4b96e2" providerId="ADAL" clId="{D0392E92-C1C8-4E77-96D0-D493DA4AC621}" dt="2022-10-19T01:34:23.709" v="31209" actId="700"/>
          <ac:spMkLst>
            <pc:docMk/>
            <pc:sldMk cId="502563613" sldId="2147470310"/>
            <ac:spMk id="5" creationId="{0F85905A-5E01-8F50-E18C-9D227C507F1C}"/>
          </ac:spMkLst>
        </pc:spChg>
      </pc:sldChg>
      <pc:sldChg chg="modSp mod modClrScheme chgLayout">
        <pc:chgData name="Kate Mun (KYOUNGRAN)" userId="d8a93241-9b9d-4c25-8457-87ffab4b96e2" providerId="ADAL" clId="{D0392E92-C1C8-4E77-96D0-D493DA4AC621}" dt="2022-10-19T01:34:23.709" v="31209" actId="700"/>
        <pc:sldMkLst>
          <pc:docMk/>
          <pc:sldMk cId="4276914669" sldId="2147470311"/>
        </pc:sldMkLst>
        <pc:spChg chg="mod ord">
          <ac:chgData name="Kate Mun (KYOUNGRAN)" userId="d8a93241-9b9d-4c25-8457-87ffab4b96e2" providerId="ADAL" clId="{D0392E92-C1C8-4E77-96D0-D493DA4AC621}" dt="2022-10-19T01:34:23.709" v="31209" actId="700"/>
          <ac:spMkLst>
            <pc:docMk/>
            <pc:sldMk cId="4276914669" sldId="2147470311"/>
            <ac:spMk id="2" creationId="{C9355748-2E5A-FF43-B041-EDECD4D2DAAD}"/>
          </ac:spMkLst>
        </pc:spChg>
        <pc:spChg chg="mod ord">
          <ac:chgData name="Kate Mun (KYOUNGRAN)" userId="d8a93241-9b9d-4c25-8457-87ffab4b96e2" providerId="ADAL" clId="{D0392E92-C1C8-4E77-96D0-D493DA4AC621}" dt="2022-10-19T01:34:23.709" v="31209" actId="700"/>
          <ac:spMkLst>
            <pc:docMk/>
            <pc:sldMk cId="4276914669" sldId="2147470311"/>
            <ac:spMk id="5" creationId="{0F85905A-5E01-8F50-E18C-9D227C507F1C}"/>
          </ac:spMkLst>
        </pc:spChg>
      </pc:sldChg>
      <pc:sldChg chg="modSp mod modClrScheme chgLayout">
        <pc:chgData name="Kate Mun (KYOUNGRAN)" userId="d8a93241-9b9d-4c25-8457-87ffab4b96e2" providerId="ADAL" clId="{D0392E92-C1C8-4E77-96D0-D493DA4AC621}" dt="2022-10-19T01:34:23.709" v="31209" actId="700"/>
        <pc:sldMkLst>
          <pc:docMk/>
          <pc:sldMk cId="1013740762" sldId="2147470312"/>
        </pc:sldMkLst>
        <pc:spChg chg="mod ord">
          <ac:chgData name="Kate Mun (KYOUNGRAN)" userId="d8a93241-9b9d-4c25-8457-87ffab4b96e2" providerId="ADAL" clId="{D0392E92-C1C8-4E77-96D0-D493DA4AC621}" dt="2022-10-19T01:34:23.709" v="31209" actId="700"/>
          <ac:spMkLst>
            <pc:docMk/>
            <pc:sldMk cId="1013740762" sldId="2147470312"/>
            <ac:spMk id="2" creationId="{C9355748-2E5A-FF43-B041-EDECD4D2DAAD}"/>
          </ac:spMkLst>
        </pc:spChg>
        <pc:spChg chg="mod ord">
          <ac:chgData name="Kate Mun (KYOUNGRAN)" userId="d8a93241-9b9d-4c25-8457-87ffab4b96e2" providerId="ADAL" clId="{D0392E92-C1C8-4E77-96D0-D493DA4AC621}" dt="2022-10-19T01:34:23.709" v="31209" actId="700"/>
          <ac:spMkLst>
            <pc:docMk/>
            <pc:sldMk cId="1013740762" sldId="2147470312"/>
            <ac:spMk id="5" creationId="{0F85905A-5E01-8F50-E18C-9D227C507F1C}"/>
          </ac:spMkLst>
        </pc:spChg>
      </pc:sldChg>
      <pc:sldChg chg="addSp delSp modSp add mod ord chgLayout">
        <pc:chgData name="Kate Mun (KYOUNGRAN)" userId="d8a93241-9b9d-4c25-8457-87ffab4b96e2" providerId="ADAL" clId="{D0392E92-C1C8-4E77-96D0-D493DA4AC621}" dt="2022-10-19T02:07:20.293" v="31482" actId="6549"/>
        <pc:sldMkLst>
          <pc:docMk/>
          <pc:sldMk cId="1168735373" sldId="2147470313"/>
        </pc:sldMkLst>
        <pc:spChg chg="mod ord">
          <ac:chgData name="Kate Mun (KYOUNGRAN)" userId="d8a93241-9b9d-4c25-8457-87ffab4b96e2" providerId="ADAL" clId="{D0392E92-C1C8-4E77-96D0-D493DA4AC621}" dt="2022-10-19T01:35:03.471" v="31215" actId="700"/>
          <ac:spMkLst>
            <pc:docMk/>
            <pc:sldMk cId="1168735373" sldId="2147470313"/>
            <ac:spMk id="2" creationId="{C9355748-2E5A-FF43-B041-EDECD4D2DAAD}"/>
          </ac:spMkLst>
        </pc:spChg>
        <pc:spChg chg="add del mod">
          <ac:chgData name="Kate Mun (KYOUNGRAN)" userId="d8a93241-9b9d-4c25-8457-87ffab4b96e2" providerId="ADAL" clId="{D0392E92-C1C8-4E77-96D0-D493DA4AC621}" dt="2022-10-19T02:00:05.047" v="31382" actId="478"/>
          <ac:spMkLst>
            <pc:docMk/>
            <pc:sldMk cId="1168735373" sldId="2147470313"/>
            <ac:spMk id="3" creationId="{BAF6EE6E-EF93-5A08-6C4F-02B340671BCB}"/>
          </ac:spMkLst>
        </pc:spChg>
        <pc:spChg chg="add mod ord">
          <ac:chgData name="Kate Mun (KYOUNGRAN)" userId="d8a93241-9b9d-4c25-8457-87ffab4b96e2" providerId="ADAL" clId="{D0392E92-C1C8-4E77-96D0-D493DA4AC621}" dt="2022-10-19T02:07:20.293" v="31482" actId="6549"/>
          <ac:spMkLst>
            <pc:docMk/>
            <pc:sldMk cId="1168735373" sldId="2147470313"/>
            <ac:spMk id="4" creationId="{ACA715C2-699A-B0A8-A3F6-14FD856822F2}"/>
          </ac:spMkLst>
        </pc:spChg>
        <pc:spChg chg="add del mod">
          <ac:chgData name="Kate Mun (KYOUNGRAN)" userId="d8a93241-9b9d-4c25-8457-87ffab4b96e2" providerId="ADAL" clId="{D0392E92-C1C8-4E77-96D0-D493DA4AC621}" dt="2022-09-21T04:51:25.422" v="2112" actId="478"/>
          <ac:spMkLst>
            <pc:docMk/>
            <pc:sldMk cId="1168735373" sldId="2147470313"/>
            <ac:spMk id="6" creationId="{29B4E130-1664-6974-B999-37A96A36D143}"/>
          </ac:spMkLst>
        </pc:spChg>
        <pc:spChg chg="add del mod">
          <ac:chgData name="Kate Mun (KYOUNGRAN)" userId="d8a93241-9b9d-4c25-8457-87ffab4b96e2" providerId="ADAL" clId="{D0392E92-C1C8-4E77-96D0-D493DA4AC621}" dt="2022-09-21T04:51:25.422" v="2112" actId="478"/>
          <ac:spMkLst>
            <pc:docMk/>
            <pc:sldMk cId="1168735373" sldId="2147470313"/>
            <ac:spMk id="7" creationId="{95882B30-A711-BC5A-05AC-F3DEDE53ED83}"/>
          </ac:spMkLst>
        </pc:spChg>
        <pc:spChg chg="add del">
          <ac:chgData name="Kate Mun (KYOUNGRAN)" userId="d8a93241-9b9d-4c25-8457-87ffab4b96e2" providerId="ADAL" clId="{D0392E92-C1C8-4E77-96D0-D493DA4AC621}" dt="2022-09-21T05:33:36.192" v="5172"/>
          <ac:spMkLst>
            <pc:docMk/>
            <pc:sldMk cId="1168735373" sldId="2147470313"/>
            <ac:spMk id="17" creationId="{98E24DAB-B3D9-83B2-8897-CF54D6394CC0}"/>
          </ac:spMkLst>
        </pc:spChg>
        <pc:grpChg chg="add del mod">
          <ac:chgData name="Kate Mun (KYOUNGRAN)" userId="d8a93241-9b9d-4c25-8457-87ffab4b96e2" providerId="ADAL" clId="{D0392E92-C1C8-4E77-96D0-D493DA4AC621}" dt="2022-09-21T05:07:04.838" v="3319" actId="165"/>
          <ac:grpSpMkLst>
            <pc:docMk/>
            <pc:sldMk cId="1168735373" sldId="2147470313"/>
            <ac:grpSpMk id="14" creationId="{0E862F24-65AD-B324-B675-E99653BB33E8}"/>
          </ac:grpSpMkLst>
        </pc:grpChg>
        <pc:picChg chg="add del mod">
          <ac:chgData name="Kate Mun (KYOUNGRAN)" userId="d8a93241-9b9d-4c25-8457-87ffab4b96e2" providerId="ADAL" clId="{D0392E92-C1C8-4E77-96D0-D493DA4AC621}" dt="2022-09-21T04:51:22.658" v="2111" actId="478"/>
          <ac:picMkLst>
            <pc:docMk/>
            <pc:sldMk cId="1168735373" sldId="2147470313"/>
            <ac:picMk id="5" creationId="{78DBA979-695B-CAFE-004F-B71DE20F7F11}"/>
          </ac:picMkLst>
        </pc:picChg>
        <pc:picChg chg="add del mod topLvl">
          <ac:chgData name="Kate Mun (KYOUNGRAN)" userId="d8a93241-9b9d-4c25-8457-87ffab4b96e2" providerId="ADAL" clId="{D0392E92-C1C8-4E77-96D0-D493DA4AC621}" dt="2022-09-21T05:07:08.616" v="3320" actId="478"/>
          <ac:picMkLst>
            <pc:docMk/>
            <pc:sldMk cId="1168735373" sldId="2147470313"/>
            <ac:picMk id="11" creationId="{8C966FD8-75D8-AB25-82AD-6AC18518C3A4}"/>
          </ac:picMkLst>
        </pc:picChg>
        <pc:picChg chg="add del mod topLvl">
          <ac:chgData name="Kate Mun (KYOUNGRAN)" userId="d8a93241-9b9d-4c25-8457-87ffab4b96e2" providerId="ADAL" clId="{D0392E92-C1C8-4E77-96D0-D493DA4AC621}" dt="2022-09-21T05:12:59.012" v="4112" actId="21"/>
          <ac:picMkLst>
            <pc:docMk/>
            <pc:sldMk cId="1168735373" sldId="2147470313"/>
            <ac:picMk id="13" creationId="{9CA2A72A-2CDB-E939-C36E-10A852C530F8}"/>
          </ac:picMkLst>
        </pc:picChg>
        <pc:picChg chg="add del mod">
          <ac:chgData name="Kate Mun (KYOUNGRAN)" userId="d8a93241-9b9d-4c25-8457-87ffab4b96e2" providerId="ADAL" clId="{D0392E92-C1C8-4E77-96D0-D493DA4AC621}" dt="2022-09-21T05:05:32.634" v="3286" actId="478"/>
          <ac:picMkLst>
            <pc:docMk/>
            <pc:sldMk cId="1168735373" sldId="2147470313"/>
            <ac:picMk id="16" creationId="{1435C073-603F-95A7-4203-1D17FF22FE61}"/>
          </ac:picMkLst>
        </pc:picChg>
        <pc:picChg chg="add del">
          <ac:chgData name="Kate Mun (KYOUNGRAN)" userId="d8a93241-9b9d-4c25-8457-87ffab4b96e2" providerId="ADAL" clId="{D0392E92-C1C8-4E77-96D0-D493DA4AC621}" dt="2022-09-21T05:33:36.192" v="5172"/>
          <ac:picMkLst>
            <pc:docMk/>
            <pc:sldMk cId="1168735373" sldId="2147470313"/>
            <ac:picMk id="1025" creationId="{27120F1D-0E39-DDCD-C80E-06903B7BFF20}"/>
          </ac:picMkLst>
        </pc:picChg>
        <pc:picChg chg="add mod">
          <ac:chgData name="Kate Mun (KYOUNGRAN)" userId="d8a93241-9b9d-4c25-8457-87ffab4b96e2" providerId="ADAL" clId="{D0392E92-C1C8-4E77-96D0-D493DA4AC621}" dt="2022-10-19T02:06:30.714" v="31459" actId="1076"/>
          <ac:picMkLst>
            <pc:docMk/>
            <pc:sldMk cId="1168735373" sldId="2147470313"/>
            <ac:picMk id="1027" creationId="{FD47FAEB-F5F2-D099-F53F-8AEB09D8AFFF}"/>
          </ac:picMkLst>
        </pc:picChg>
        <pc:cxnChg chg="add del mod">
          <ac:chgData name="Kate Mun (KYOUNGRAN)" userId="d8a93241-9b9d-4c25-8457-87ffab4b96e2" providerId="ADAL" clId="{D0392E92-C1C8-4E77-96D0-D493DA4AC621}" dt="2022-09-21T04:50:03.448" v="2051" actId="11529"/>
          <ac:cxnSpMkLst>
            <pc:docMk/>
            <pc:sldMk cId="1168735373" sldId="2147470313"/>
            <ac:cxnSpMk id="9" creationId="{52CA8284-BE6F-62AB-EC24-F933A2555A24}"/>
          </ac:cxnSpMkLst>
        </pc:cxnChg>
      </pc:sldChg>
      <pc:sldChg chg="addSp delSp modSp add mod ord chgLayout">
        <pc:chgData name="Kate Mun (KYOUNGRAN)" userId="d8a93241-9b9d-4c25-8457-87ffab4b96e2" providerId="ADAL" clId="{D0392E92-C1C8-4E77-96D0-D493DA4AC621}" dt="2022-10-19T12:36:42.844" v="34073" actId="1076"/>
        <pc:sldMkLst>
          <pc:docMk/>
          <pc:sldMk cId="2054501108" sldId="2147470314"/>
        </pc:sldMkLst>
        <pc:spChg chg="mod ord">
          <ac:chgData name="Kate Mun (KYOUNGRAN)" userId="d8a93241-9b9d-4c25-8457-87ffab4b96e2" providerId="ADAL" clId="{D0392E92-C1C8-4E77-96D0-D493DA4AC621}" dt="2022-10-19T01:35:03.471" v="31215" actId="700"/>
          <ac:spMkLst>
            <pc:docMk/>
            <pc:sldMk cId="2054501108" sldId="2147470314"/>
            <ac:spMk id="2" creationId="{C9355748-2E5A-FF43-B041-EDECD4D2DAAD}"/>
          </ac:spMkLst>
        </pc:spChg>
        <pc:spChg chg="add mod ord">
          <ac:chgData name="Kate Mun (KYOUNGRAN)" userId="d8a93241-9b9d-4c25-8457-87ffab4b96e2" providerId="ADAL" clId="{D0392E92-C1C8-4E77-96D0-D493DA4AC621}" dt="2022-10-19T02:09:23.476" v="31533" actId="255"/>
          <ac:spMkLst>
            <pc:docMk/>
            <pc:sldMk cId="2054501108" sldId="2147470314"/>
            <ac:spMk id="3" creationId="{B72CE60E-11B1-F327-16C3-136BEC2B6315}"/>
          </ac:spMkLst>
        </pc:spChg>
        <pc:spChg chg="add del mod">
          <ac:chgData name="Kate Mun (KYOUNGRAN)" userId="d8a93241-9b9d-4c25-8457-87ffab4b96e2" providerId="ADAL" clId="{D0392E92-C1C8-4E77-96D0-D493DA4AC621}" dt="2022-09-21T05:16:52.610" v="4207" actId="478"/>
          <ac:spMkLst>
            <pc:docMk/>
            <pc:sldMk cId="2054501108" sldId="2147470314"/>
            <ac:spMk id="6" creationId="{0B5018FA-414B-0B67-014B-D15F40080FFD}"/>
          </ac:spMkLst>
        </pc:spChg>
        <pc:spChg chg="add del mod ord">
          <ac:chgData name="Kate Mun (KYOUNGRAN)" userId="d8a93241-9b9d-4c25-8457-87ffab4b96e2" providerId="ADAL" clId="{D0392E92-C1C8-4E77-96D0-D493DA4AC621}" dt="2022-10-19T02:07:57.246" v="31484" actId="478"/>
          <ac:spMkLst>
            <pc:docMk/>
            <pc:sldMk cId="2054501108" sldId="2147470314"/>
            <ac:spMk id="8" creationId="{15A4952B-A69A-48F6-F1F1-A076449CF539}"/>
          </ac:spMkLst>
        </pc:spChg>
        <pc:spChg chg="add mod">
          <ac:chgData name="Kate Mun (KYOUNGRAN)" userId="d8a93241-9b9d-4c25-8457-87ffab4b96e2" providerId="ADAL" clId="{D0392E92-C1C8-4E77-96D0-D493DA4AC621}" dt="2022-10-19T12:36:23.749" v="34066" actId="1076"/>
          <ac:spMkLst>
            <pc:docMk/>
            <pc:sldMk cId="2054501108" sldId="2147470314"/>
            <ac:spMk id="9" creationId="{4BD0E11C-4F90-527C-7350-3C84B460D687}"/>
          </ac:spMkLst>
        </pc:spChg>
        <pc:spChg chg="add mod">
          <ac:chgData name="Kate Mun (KYOUNGRAN)" userId="d8a93241-9b9d-4c25-8457-87ffab4b96e2" providerId="ADAL" clId="{D0392E92-C1C8-4E77-96D0-D493DA4AC621}" dt="2022-10-19T12:36:36.626" v="34071" actId="1076"/>
          <ac:spMkLst>
            <pc:docMk/>
            <pc:sldMk cId="2054501108" sldId="2147470314"/>
            <ac:spMk id="10" creationId="{E15A955B-5E8C-99C9-1AF5-7B7124BA2B2A}"/>
          </ac:spMkLst>
        </pc:spChg>
        <pc:spChg chg="add mod">
          <ac:chgData name="Kate Mun (KYOUNGRAN)" userId="d8a93241-9b9d-4c25-8457-87ffab4b96e2" providerId="ADAL" clId="{D0392E92-C1C8-4E77-96D0-D493DA4AC621}" dt="2022-10-19T12:36:42.844" v="34073" actId="1076"/>
          <ac:spMkLst>
            <pc:docMk/>
            <pc:sldMk cId="2054501108" sldId="2147470314"/>
            <ac:spMk id="11" creationId="{B0C12473-E557-67DE-B2A9-B33448B3DF25}"/>
          </ac:spMkLst>
        </pc:spChg>
        <pc:picChg chg="add mod">
          <ac:chgData name="Kate Mun (KYOUNGRAN)" userId="d8a93241-9b9d-4c25-8457-87ffab4b96e2" providerId="ADAL" clId="{D0392E92-C1C8-4E77-96D0-D493DA4AC621}" dt="2022-10-19T12:36:31.957" v="34070" actId="1076"/>
          <ac:picMkLst>
            <pc:docMk/>
            <pc:sldMk cId="2054501108" sldId="2147470314"/>
            <ac:picMk id="4" creationId="{01D1D9F6-1C85-09E7-8D2B-4A34960CAAF0}"/>
          </ac:picMkLst>
        </pc:picChg>
        <pc:picChg chg="add mod">
          <ac:chgData name="Kate Mun (KYOUNGRAN)" userId="d8a93241-9b9d-4c25-8457-87ffab4b96e2" providerId="ADAL" clId="{D0392E92-C1C8-4E77-96D0-D493DA4AC621}" dt="2022-10-19T02:09:30.191" v="31534" actId="1076"/>
          <ac:picMkLst>
            <pc:docMk/>
            <pc:sldMk cId="2054501108" sldId="2147470314"/>
            <ac:picMk id="7" creationId="{65E4F5A1-D33B-3F14-C7A9-6EFC6B3B7E1D}"/>
          </ac:picMkLst>
        </pc:picChg>
        <pc:cxnChg chg="add mod">
          <ac:chgData name="Kate Mun (KYOUNGRAN)" userId="d8a93241-9b9d-4c25-8457-87ffab4b96e2" providerId="ADAL" clId="{D0392E92-C1C8-4E77-96D0-D493DA4AC621}" dt="2022-10-19T12:36:38.622" v="34072" actId="14100"/>
          <ac:cxnSpMkLst>
            <pc:docMk/>
            <pc:sldMk cId="2054501108" sldId="2147470314"/>
            <ac:cxnSpMk id="13" creationId="{D7E0FCD8-A06C-A8BB-F971-8BE21FC72546}"/>
          </ac:cxnSpMkLst>
        </pc:cxnChg>
        <pc:cxnChg chg="add mod">
          <ac:chgData name="Kate Mun (KYOUNGRAN)" userId="d8a93241-9b9d-4c25-8457-87ffab4b96e2" providerId="ADAL" clId="{D0392E92-C1C8-4E77-96D0-D493DA4AC621}" dt="2022-10-19T12:36:42.844" v="34073" actId="1076"/>
          <ac:cxnSpMkLst>
            <pc:docMk/>
            <pc:sldMk cId="2054501108" sldId="2147470314"/>
            <ac:cxnSpMk id="14" creationId="{ADE102A1-30EE-4C57-CA7D-E4F93B8CD4C2}"/>
          </ac:cxnSpMkLst>
        </pc:cxnChg>
      </pc:sldChg>
      <pc:sldChg chg="addSp delSp modSp add mod ord chgLayout">
        <pc:chgData name="Kate Mun (KYOUNGRAN)" userId="d8a93241-9b9d-4c25-8457-87ffab4b96e2" providerId="ADAL" clId="{D0392E92-C1C8-4E77-96D0-D493DA4AC621}" dt="2022-10-19T02:35:08.058" v="31894" actId="1076"/>
        <pc:sldMkLst>
          <pc:docMk/>
          <pc:sldMk cId="3842008900" sldId="2147470315"/>
        </pc:sldMkLst>
        <pc:spChg chg="mod ord">
          <ac:chgData name="Kate Mun (KYOUNGRAN)" userId="d8a93241-9b9d-4c25-8457-87ffab4b96e2" providerId="ADAL" clId="{D0392E92-C1C8-4E77-96D0-D493DA4AC621}" dt="2022-10-19T01:35:03.471" v="31215" actId="700"/>
          <ac:spMkLst>
            <pc:docMk/>
            <pc:sldMk cId="3842008900" sldId="2147470315"/>
            <ac:spMk id="2" creationId="{C9355748-2E5A-FF43-B041-EDECD4D2DAAD}"/>
          </ac:spMkLst>
        </pc:spChg>
        <pc:spChg chg="del mod">
          <ac:chgData name="Kate Mun (KYOUNGRAN)" userId="d8a93241-9b9d-4c25-8457-87ffab4b96e2" providerId="ADAL" clId="{D0392E92-C1C8-4E77-96D0-D493DA4AC621}" dt="2022-10-19T02:34:05.558" v="31862" actId="478"/>
          <ac:spMkLst>
            <pc:docMk/>
            <pc:sldMk cId="3842008900" sldId="2147470315"/>
            <ac:spMk id="3" creationId="{91F7F35A-C6C0-4BCE-B9AD-298C96939022}"/>
          </ac:spMkLst>
        </pc:spChg>
        <pc:spChg chg="add mod ord">
          <ac:chgData name="Kate Mun (KYOUNGRAN)" userId="d8a93241-9b9d-4c25-8457-87ffab4b96e2" providerId="ADAL" clId="{D0392E92-C1C8-4E77-96D0-D493DA4AC621}" dt="2022-10-19T02:35:05.399" v="31893" actId="15"/>
          <ac:spMkLst>
            <pc:docMk/>
            <pc:sldMk cId="3842008900" sldId="2147470315"/>
            <ac:spMk id="4" creationId="{91FFB25C-4D6C-7337-6D4D-C695BA7E343C}"/>
          </ac:spMkLst>
        </pc:spChg>
        <pc:spChg chg="add del mod">
          <ac:chgData name="Kate Mun (KYOUNGRAN)" userId="d8a93241-9b9d-4c25-8457-87ffab4b96e2" providerId="ADAL" clId="{D0392E92-C1C8-4E77-96D0-D493DA4AC621}" dt="2022-09-21T05:49:03.201" v="5844" actId="478"/>
          <ac:spMkLst>
            <pc:docMk/>
            <pc:sldMk cId="3842008900" sldId="2147470315"/>
            <ac:spMk id="10" creationId="{3B93E65E-7446-92D2-5106-7FD7C5C0AB53}"/>
          </ac:spMkLst>
        </pc:spChg>
        <pc:picChg chg="del">
          <ac:chgData name="Kate Mun (KYOUNGRAN)" userId="d8a93241-9b9d-4c25-8457-87ffab4b96e2" providerId="ADAL" clId="{D0392E92-C1C8-4E77-96D0-D493DA4AC621}" dt="2022-09-21T04:31:11.270" v="1872" actId="478"/>
          <ac:picMkLst>
            <pc:docMk/>
            <pc:sldMk cId="3842008900" sldId="2147470315"/>
            <ac:picMk id="5" creationId="{30CE7C6B-3CED-4C8B-BE79-586277D44503}"/>
          </ac:picMkLst>
        </pc:picChg>
        <pc:picChg chg="add del mod">
          <ac:chgData name="Kate Mun (KYOUNGRAN)" userId="d8a93241-9b9d-4c25-8457-87ffab4b96e2" providerId="ADAL" clId="{D0392E92-C1C8-4E77-96D0-D493DA4AC621}" dt="2022-09-21T05:47:31.701" v="5607" actId="478"/>
          <ac:picMkLst>
            <pc:docMk/>
            <pc:sldMk cId="3842008900" sldId="2147470315"/>
            <ac:picMk id="6" creationId="{8EF96400-E896-B317-2327-74994DFBDFE4}"/>
          </ac:picMkLst>
        </pc:picChg>
        <pc:picChg chg="add mod">
          <ac:chgData name="Kate Mun (KYOUNGRAN)" userId="d8a93241-9b9d-4c25-8457-87ffab4b96e2" providerId="ADAL" clId="{D0392E92-C1C8-4E77-96D0-D493DA4AC621}" dt="2022-10-19T02:34:34.204" v="31887" actId="1076"/>
          <ac:picMkLst>
            <pc:docMk/>
            <pc:sldMk cId="3842008900" sldId="2147470315"/>
            <ac:picMk id="8" creationId="{6A4381C2-EA6C-E8F5-BB95-06EDBDB1F654}"/>
          </ac:picMkLst>
        </pc:picChg>
        <pc:picChg chg="add del mod">
          <ac:chgData name="Kate Mun (KYOUNGRAN)" userId="d8a93241-9b9d-4c25-8457-87ffab4b96e2" providerId="ADAL" clId="{D0392E92-C1C8-4E77-96D0-D493DA4AC621}" dt="2022-09-21T05:51:18.237" v="6003" actId="21"/>
          <ac:picMkLst>
            <pc:docMk/>
            <pc:sldMk cId="3842008900" sldId="2147470315"/>
            <ac:picMk id="12" creationId="{E6A49704-C4FB-970D-5AEB-E6B8D21BA7FB}"/>
          </ac:picMkLst>
        </pc:picChg>
        <pc:picChg chg="add del">
          <ac:chgData name="Kate Mun (KYOUNGRAN)" userId="d8a93241-9b9d-4c25-8457-87ffab4b96e2" providerId="ADAL" clId="{D0392E92-C1C8-4E77-96D0-D493DA4AC621}" dt="2022-09-21T05:51:16.559" v="6002" actId="478"/>
          <ac:picMkLst>
            <pc:docMk/>
            <pc:sldMk cId="3842008900" sldId="2147470315"/>
            <ac:picMk id="14" creationId="{90332C0A-718B-0E44-B0E0-4411307590E1}"/>
          </ac:picMkLst>
        </pc:picChg>
        <pc:picChg chg="add del mod">
          <ac:chgData name="Kate Mun (KYOUNGRAN)" userId="d8a93241-9b9d-4c25-8457-87ffab4b96e2" providerId="ADAL" clId="{D0392E92-C1C8-4E77-96D0-D493DA4AC621}" dt="2022-09-21T05:53:15.694" v="6010" actId="478"/>
          <ac:picMkLst>
            <pc:docMk/>
            <pc:sldMk cId="3842008900" sldId="2147470315"/>
            <ac:picMk id="16" creationId="{D99E58C0-E369-7FF0-09F6-0A9CA3EC438A}"/>
          </ac:picMkLst>
        </pc:picChg>
        <pc:picChg chg="add mod">
          <ac:chgData name="Kate Mun (KYOUNGRAN)" userId="d8a93241-9b9d-4c25-8457-87ffab4b96e2" providerId="ADAL" clId="{D0392E92-C1C8-4E77-96D0-D493DA4AC621}" dt="2022-10-19T02:35:08.058" v="31894" actId="1076"/>
          <ac:picMkLst>
            <pc:docMk/>
            <pc:sldMk cId="3842008900" sldId="2147470315"/>
            <ac:picMk id="18" creationId="{4C0DFF5C-EFEB-6C49-61AF-C7EBDD307090}"/>
          </ac:picMkLst>
        </pc:picChg>
      </pc:sldChg>
      <pc:sldChg chg="modSp mod modClrScheme chgLayout">
        <pc:chgData name="Kate Mun (KYOUNGRAN)" userId="d8a93241-9b9d-4c25-8457-87ffab4b96e2" providerId="ADAL" clId="{D0392E92-C1C8-4E77-96D0-D493DA4AC621}" dt="2022-10-19T01:34:23.709" v="31209" actId="700"/>
        <pc:sldMkLst>
          <pc:docMk/>
          <pc:sldMk cId="3919985214" sldId="2147470316"/>
        </pc:sldMkLst>
        <pc:spChg chg="mod ord">
          <ac:chgData name="Kate Mun (KYOUNGRAN)" userId="d8a93241-9b9d-4c25-8457-87ffab4b96e2" providerId="ADAL" clId="{D0392E92-C1C8-4E77-96D0-D493DA4AC621}" dt="2022-10-19T01:34:23.709" v="31209" actId="700"/>
          <ac:spMkLst>
            <pc:docMk/>
            <pc:sldMk cId="3919985214" sldId="2147470316"/>
            <ac:spMk id="2" creationId="{C9355748-2E5A-FF43-B041-EDECD4D2DAAD}"/>
          </ac:spMkLst>
        </pc:spChg>
        <pc:spChg chg="mod ord">
          <ac:chgData name="Kate Mun (KYOUNGRAN)" userId="d8a93241-9b9d-4c25-8457-87ffab4b96e2" providerId="ADAL" clId="{D0392E92-C1C8-4E77-96D0-D493DA4AC621}" dt="2022-10-19T01:34:23.709" v="31209" actId="700"/>
          <ac:spMkLst>
            <pc:docMk/>
            <pc:sldMk cId="3919985214" sldId="2147470316"/>
            <ac:spMk id="5" creationId="{0F85905A-5E01-8F50-E18C-9D227C507F1C}"/>
          </ac:spMkLst>
        </pc:spChg>
      </pc:sldChg>
      <pc:sldChg chg="addSp delSp modSp add mod ord chgLayout">
        <pc:chgData name="Kate Mun (KYOUNGRAN)" userId="d8a93241-9b9d-4c25-8457-87ffab4b96e2" providerId="ADAL" clId="{D0392E92-C1C8-4E77-96D0-D493DA4AC621}" dt="2022-10-19T02:13:57.967" v="31699" actId="1076"/>
        <pc:sldMkLst>
          <pc:docMk/>
          <pc:sldMk cId="3104005915" sldId="2147470317"/>
        </pc:sldMkLst>
        <pc:spChg chg="mod ord">
          <ac:chgData name="Kate Mun (KYOUNGRAN)" userId="d8a93241-9b9d-4c25-8457-87ffab4b96e2" providerId="ADAL" clId="{D0392E92-C1C8-4E77-96D0-D493DA4AC621}" dt="2022-10-19T01:35:03.471" v="31215" actId="700"/>
          <ac:spMkLst>
            <pc:docMk/>
            <pc:sldMk cId="3104005915" sldId="2147470317"/>
            <ac:spMk id="2" creationId="{C9355748-2E5A-FF43-B041-EDECD4D2DAAD}"/>
          </ac:spMkLst>
        </pc:spChg>
        <pc:spChg chg="add del mod ord">
          <ac:chgData name="Kate Mun (KYOUNGRAN)" userId="d8a93241-9b9d-4c25-8457-87ffab4b96e2" providerId="ADAL" clId="{D0392E92-C1C8-4E77-96D0-D493DA4AC621}" dt="2022-10-19T02:13:54.033" v="31698" actId="20577"/>
          <ac:spMkLst>
            <pc:docMk/>
            <pc:sldMk cId="3104005915" sldId="2147470317"/>
            <ac:spMk id="3" creationId="{1F76C8D4-D55B-58F4-AF67-0B258061841F}"/>
          </ac:spMkLst>
        </pc:spChg>
        <pc:spChg chg="add del mod">
          <ac:chgData name="Kate Mun (KYOUNGRAN)" userId="d8a93241-9b9d-4c25-8457-87ffab4b96e2" providerId="ADAL" clId="{D0392E92-C1C8-4E77-96D0-D493DA4AC621}" dt="2022-10-19T02:10:06.121" v="31542" actId="478"/>
          <ac:spMkLst>
            <pc:docMk/>
            <pc:sldMk cId="3104005915" sldId="2147470317"/>
            <ac:spMk id="6" creationId="{B8F1C01A-7BA6-7279-57D6-256259BFD961}"/>
          </ac:spMkLst>
        </pc:spChg>
        <pc:spChg chg="del mod">
          <ac:chgData name="Kate Mun (KYOUNGRAN)" userId="d8a93241-9b9d-4c25-8457-87ffab4b96e2" providerId="ADAL" clId="{D0392E92-C1C8-4E77-96D0-D493DA4AC621}" dt="2022-10-19T02:10:11.185" v="31544" actId="478"/>
          <ac:spMkLst>
            <pc:docMk/>
            <pc:sldMk cId="3104005915" sldId="2147470317"/>
            <ac:spMk id="8" creationId="{15A4952B-A69A-48F6-F1F1-A076449CF539}"/>
          </ac:spMkLst>
        </pc:spChg>
        <pc:spChg chg="del">
          <ac:chgData name="Kate Mun (KYOUNGRAN)" userId="d8a93241-9b9d-4c25-8457-87ffab4b96e2" providerId="ADAL" clId="{D0392E92-C1C8-4E77-96D0-D493DA4AC621}" dt="2022-09-21T05:23:52.856" v="4538" actId="478"/>
          <ac:spMkLst>
            <pc:docMk/>
            <pc:sldMk cId="3104005915" sldId="2147470317"/>
            <ac:spMk id="9" creationId="{4BD0E11C-4F90-527C-7350-3C84B460D687}"/>
          </ac:spMkLst>
        </pc:spChg>
        <pc:spChg chg="del">
          <ac:chgData name="Kate Mun (KYOUNGRAN)" userId="d8a93241-9b9d-4c25-8457-87ffab4b96e2" providerId="ADAL" clId="{D0392E92-C1C8-4E77-96D0-D493DA4AC621}" dt="2022-09-21T05:23:52.856" v="4538" actId="478"/>
          <ac:spMkLst>
            <pc:docMk/>
            <pc:sldMk cId="3104005915" sldId="2147470317"/>
            <ac:spMk id="10" creationId="{E15A955B-5E8C-99C9-1AF5-7B7124BA2B2A}"/>
          </ac:spMkLst>
        </pc:spChg>
        <pc:spChg chg="del">
          <ac:chgData name="Kate Mun (KYOUNGRAN)" userId="d8a93241-9b9d-4c25-8457-87ffab4b96e2" providerId="ADAL" clId="{D0392E92-C1C8-4E77-96D0-D493DA4AC621}" dt="2022-09-21T05:23:52.856" v="4538" actId="478"/>
          <ac:spMkLst>
            <pc:docMk/>
            <pc:sldMk cId="3104005915" sldId="2147470317"/>
            <ac:spMk id="11" creationId="{B0C12473-E557-67DE-B2A9-B33448B3DF25}"/>
          </ac:spMkLst>
        </pc:spChg>
        <pc:picChg chg="del">
          <ac:chgData name="Kate Mun (KYOUNGRAN)" userId="d8a93241-9b9d-4c25-8457-87ffab4b96e2" providerId="ADAL" clId="{D0392E92-C1C8-4E77-96D0-D493DA4AC621}" dt="2022-09-21T05:23:36.197" v="4534" actId="478"/>
          <ac:picMkLst>
            <pc:docMk/>
            <pc:sldMk cId="3104005915" sldId="2147470317"/>
            <ac:picMk id="4" creationId="{01D1D9F6-1C85-09E7-8D2B-4A34960CAAF0}"/>
          </ac:picMkLst>
        </pc:picChg>
        <pc:picChg chg="add mod">
          <ac:chgData name="Kate Mun (KYOUNGRAN)" userId="d8a93241-9b9d-4c25-8457-87ffab4b96e2" providerId="ADAL" clId="{D0392E92-C1C8-4E77-96D0-D493DA4AC621}" dt="2022-10-19T02:13:57.967" v="31699" actId="1076"/>
          <ac:picMkLst>
            <pc:docMk/>
            <pc:sldMk cId="3104005915" sldId="2147470317"/>
            <ac:picMk id="5" creationId="{5B4F40F1-77A2-EC39-1A18-A76B5A02ECE9}"/>
          </ac:picMkLst>
        </pc:picChg>
        <pc:picChg chg="del">
          <ac:chgData name="Kate Mun (KYOUNGRAN)" userId="d8a93241-9b9d-4c25-8457-87ffab4b96e2" providerId="ADAL" clId="{D0392E92-C1C8-4E77-96D0-D493DA4AC621}" dt="2022-09-21T05:23:52.856" v="4538" actId="478"/>
          <ac:picMkLst>
            <pc:docMk/>
            <pc:sldMk cId="3104005915" sldId="2147470317"/>
            <ac:picMk id="7" creationId="{65E4F5A1-D33B-3F14-C7A9-6EFC6B3B7E1D}"/>
          </ac:picMkLst>
        </pc:picChg>
        <pc:cxnChg chg="del mod">
          <ac:chgData name="Kate Mun (KYOUNGRAN)" userId="d8a93241-9b9d-4c25-8457-87ffab4b96e2" providerId="ADAL" clId="{D0392E92-C1C8-4E77-96D0-D493DA4AC621}" dt="2022-09-21T05:23:52.856" v="4538" actId="478"/>
          <ac:cxnSpMkLst>
            <pc:docMk/>
            <pc:sldMk cId="3104005915" sldId="2147470317"/>
            <ac:cxnSpMk id="13" creationId="{D7E0FCD8-A06C-A8BB-F971-8BE21FC72546}"/>
          </ac:cxnSpMkLst>
        </pc:cxnChg>
        <pc:cxnChg chg="del mod">
          <ac:chgData name="Kate Mun (KYOUNGRAN)" userId="d8a93241-9b9d-4c25-8457-87ffab4b96e2" providerId="ADAL" clId="{D0392E92-C1C8-4E77-96D0-D493DA4AC621}" dt="2022-09-21T05:23:52.856" v="4538" actId="478"/>
          <ac:cxnSpMkLst>
            <pc:docMk/>
            <pc:sldMk cId="3104005915" sldId="2147470317"/>
            <ac:cxnSpMk id="14" creationId="{ADE102A1-30EE-4C57-CA7D-E4F93B8CD4C2}"/>
          </ac:cxnSpMkLst>
        </pc:cxnChg>
      </pc:sldChg>
      <pc:sldChg chg="addSp delSp modSp add del mod ord">
        <pc:chgData name="Kate Mun (KYOUNGRAN)" userId="d8a93241-9b9d-4c25-8457-87ffab4b96e2" providerId="ADAL" clId="{D0392E92-C1C8-4E77-96D0-D493DA4AC621}" dt="2022-09-21T07:49:08.126" v="9273" actId="47"/>
        <pc:sldMkLst>
          <pc:docMk/>
          <pc:sldMk cId="1702054916" sldId="2147470318"/>
        </pc:sldMkLst>
        <pc:spChg chg="mod">
          <ac:chgData name="Kate Mun (KYOUNGRAN)" userId="d8a93241-9b9d-4c25-8457-87ffab4b96e2" providerId="ADAL" clId="{D0392E92-C1C8-4E77-96D0-D493DA4AC621}" dt="2022-09-21T07:46:58.693" v="9176" actId="21"/>
          <ac:spMkLst>
            <pc:docMk/>
            <pc:sldMk cId="1702054916" sldId="2147470318"/>
            <ac:spMk id="8" creationId="{15A4952B-A69A-48F6-F1F1-A076449CF539}"/>
          </ac:spMkLst>
        </pc:spChg>
        <pc:spChg chg="del">
          <ac:chgData name="Kate Mun (KYOUNGRAN)" userId="d8a93241-9b9d-4c25-8457-87ffab4b96e2" providerId="ADAL" clId="{D0392E92-C1C8-4E77-96D0-D493DA4AC621}" dt="2022-09-21T05:29:52.089" v="5128" actId="478"/>
          <ac:spMkLst>
            <pc:docMk/>
            <pc:sldMk cId="1702054916" sldId="2147470318"/>
            <ac:spMk id="9" creationId="{4BD0E11C-4F90-527C-7350-3C84B460D687}"/>
          </ac:spMkLst>
        </pc:spChg>
        <pc:spChg chg="del">
          <ac:chgData name="Kate Mun (KYOUNGRAN)" userId="d8a93241-9b9d-4c25-8457-87ffab4b96e2" providerId="ADAL" clId="{D0392E92-C1C8-4E77-96D0-D493DA4AC621}" dt="2022-09-21T05:29:52.089" v="5128" actId="478"/>
          <ac:spMkLst>
            <pc:docMk/>
            <pc:sldMk cId="1702054916" sldId="2147470318"/>
            <ac:spMk id="10" creationId="{E15A955B-5E8C-99C9-1AF5-7B7124BA2B2A}"/>
          </ac:spMkLst>
        </pc:spChg>
        <pc:spChg chg="del">
          <ac:chgData name="Kate Mun (KYOUNGRAN)" userId="d8a93241-9b9d-4c25-8457-87ffab4b96e2" providerId="ADAL" clId="{D0392E92-C1C8-4E77-96D0-D493DA4AC621}" dt="2022-09-21T05:29:52.089" v="5128" actId="478"/>
          <ac:spMkLst>
            <pc:docMk/>
            <pc:sldMk cId="1702054916" sldId="2147470318"/>
            <ac:spMk id="11" creationId="{B0C12473-E557-67DE-B2A9-B33448B3DF25}"/>
          </ac:spMkLst>
        </pc:spChg>
        <pc:picChg chg="del">
          <ac:chgData name="Kate Mun (KYOUNGRAN)" userId="d8a93241-9b9d-4c25-8457-87ffab4b96e2" providerId="ADAL" clId="{D0392E92-C1C8-4E77-96D0-D493DA4AC621}" dt="2022-09-21T05:29:49.239" v="5127" actId="478"/>
          <ac:picMkLst>
            <pc:docMk/>
            <pc:sldMk cId="1702054916" sldId="2147470318"/>
            <ac:picMk id="4" creationId="{01D1D9F6-1C85-09E7-8D2B-4A34960CAAF0}"/>
          </ac:picMkLst>
        </pc:picChg>
        <pc:picChg chg="add del mod">
          <ac:chgData name="Kate Mun (KYOUNGRAN)" userId="d8a93241-9b9d-4c25-8457-87ffab4b96e2" providerId="ADAL" clId="{D0392E92-C1C8-4E77-96D0-D493DA4AC621}" dt="2022-09-21T06:51:03.694" v="7294" actId="478"/>
          <ac:picMkLst>
            <pc:docMk/>
            <pc:sldMk cId="1702054916" sldId="2147470318"/>
            <ac:picMk id="5" creationId="{07615CA1-42FC-16E0-346D-630F8C891FF5}"/>
          </ac:picMkLst>
        </pc:picChg>
        <pc:picChg chg="del">
          <ac:chgData name="Kate Mun (KYOUNGRAN)" userId="d8a93241-9b9d-4c25-8457-87ffab4b96e2" providerId="ADAL" clId="{D0392E92-C1C8-4E77-96D0-D493DA4AC621}" dt="2022-09-21T05:29:52.089" v="5128" actId="478"/>
          <ac:picMkLst>
            <pc:docMk/>
            <pc:sldMk cId="1702054916" sldId="2147470318"/>
            <ac:picMk id="7" creationId="{65E4F5A1-D33B-3F14-C7A9-6EFC6B3B7E1D}"/>
          </ac:picMkLst>
        </pc:picChg>
        <pc:cxnChg chg="del mod">
          <ac:chgData name="Kate Mun (KYOUNGRAN)" userId="d8a93241-9b9d-4c25-8457-87ffab4b96e2" providerId="ADAL" clId="{D0392E92-C1C8-4E77-96D0-D493DA4AC621}" dt="2022-09-21T05:29:52.089" v="5128" actId="478"/>
          <ac:cxnSpMkLst>
            <pc:docMk/>
            <pc:sldMk cId="1702054916" sldId="2147470318"/>
            <ac:cxnSpMk id="13" creationId="{D7E0FCD8-A06C-A8BB-F971-8BE21FC72546}"/>
          </ac:cxnSpMkLst>
        </pc:cxnChg>
        <pc:cxnChg chg="del mod">
          <ac:chgData name="Kate Mun (KYOUNGRAN)" userId="d8a93241-9b9d-4c25-8457-87ffab4b96e2" providerId="ADAL" clId="{D0392E92-C1C8-4E77-96D0-D493DA4AC621}" dt="2022-09-21T05:29:52.089" v="5128" actId="478"/>
          <ac:cxnSpMkLst>
            <pc:docMk/>
            <pc:sldMk cId="1702054916" sldId="2147470318"/>
            <ac:cxnSpMk id="14" creationId="{ADE102A1-30EE-4C57-CA7D-E4F93B8CD4C2}"/>
          </ac:cxnSpMkLst>
        </pc:cxnChg>
      </pc:sldChg>
      <pc:sldChg chg="modSp mod modClrScheme chgLayout">
        <pc:chgData name="Kate Mun (KYOUNGRAN)" userId="d8a93241-9b9d-4c25-8457-87ffab4b96e2" providerId="ADAL" clId="{D0392E92-C1C8-4E77-96D0-D493DA4AC621}" dt="2022-10-19T01:40:05.311" v="31242" actId="20577"/>
        <pc:sldMkLst>
          <pc:docMk/>
          <pc:sldMk cId="2290809947" sldId="2147470319"/>
        </pc:sldMkLst>
        <pc:spChg chg="mod ord">
          <ac:chgData name="Kate Mun (KYOUNGRAN)" userId="d8a93241-9b9d-4c25-8457-87ffab4b96e2" providerId="ADAL" clId="{D0392E92-C1C8-4E77-96D0-D493DA4AC621}" dt="2022-10-19T01:34:23.709" v="31209" actId="700"/>
          <ac:spMkLst>
            <pc:docMk/>
            <pc:sldMk cId="2290809947" sldId="2147470319"/>
            <ac:spMk id="2" creationId="{C9355748-2E5A-FF43-B041-EDECD4D2DAAD}"/>
          </ac:spMkLst>
        </pc:spChg>
        <pc:spChg chg="mod ord">
          <ac:chgData name="Kate Mun (KYOUNGRAN)" userId="d8a93241-9b9d-4c25-8457-87ffab4b96e2" providerId="ADAL" clId="{D0392E92-C1C8-4E77-96D0-D493DA4AC621}" dt="2022-10-19T01:40:05.311" v="31242" actId="20577"/>
          <ac:spMkLst>
            <pc:docMk/>
            <pc:sldMk cId="2290809947" sldId="2147470319"/>
            <ac:spMk id="5" creationId="{0F85905A-5E01-8F50-E18C-9D227C507F1C}"/>
          </ac:spMkLst>
        </pc:spChg>
      </pc:sldChg>
      <pc:sldChg chg="modSp mod modClrScheme chgLayout">
        <pc:chgData name="Kate Mun (KYOUNGRAN)" userId="d8a93241-9b9d-4c25-8457-87ffab4b96e2" providerId="ADAL" clId="{D0392E92-C1C8-4E77-96D0-D493DA4AC621}" dt="2022-10-19T01:34:23.709" v="31209" actId="700"/>
        <pc:sldMkLst>
          <pc:docMk/>
          <pc:sldMk cId="3314122365" sldId="2147470320"/>
        </pc:sldMkLst>
        <pc:spChg chg="mod ord">
          <ac:chgData name="Kate Mun (KYOUNGRAN)" userId="d8a93241-9b9d-4c25-8457-87ffab4b96e2" providerId="ADAL" clId="{D0392E92-C1C8-4E77-96D0-D493DA4AC621}" dt="2022-10-19T01:34:23.709" v="31209" actId="700"/>
          <ac:spMkLst>
            <pc:docMk/>
            <pc:sldMk cId="3314122365" sldId="2147470320"/>
            <ac:spMk id="2" creationId="{C9355748-2E5A-FF43-B041-EDECD4D2DAAD}"/>
          </ac:spMkLst>
        </pc:spChg>
        <pc:spChg chg="mod ord">
          <ac:chgData name="Kate Mun (KYOUNGRAN)" userId="d8a93241-9b9d-4c25-8457-87ffab4b96e2" providerId="ADAL" clId="{D0392E92-C1C8-4E77-96D0-D493DA4AC621}" dt="2022-10-19T01:34:23.709" v="31209" actId="700"/>
          <ac:spMkLst>
            <pc:docMk/>
            <pc:sldMk cId="3314122365" sldId="2147470320"/>
            <ac:spMk id="5" creationId="{0F85905A-5E01-8F50-E18C-9D227C507F1C}"/>
          </ac:spMkLst>
        </pc:spChg>
      </pc:sldChg>
      <pc:sldChg chg="addSp delSp modSp add mod chgLayout">
        <pc:chgData name="Kate Mun (KYOUNGRAN)" userId="d8a93241-9b9d-4c25-8457-87ffab4b96e2" providerId="ADAL" clId="{D0392E92-C1C8-4E77-96D0-D493DA4AC621}" dt="2022-10-19T02:16:13.878" v="31770" actId="20577"/>
        <pc:sldMkLst>
          <pc:docMk/>
          <pc:sldMk cId="2060718898" sldId="2147470321"/>
        </pc:sldMkLst>
        <pc:spChg chg="mod ord">
          <ac:chgData name="Kate Mun (KYOUNGRAN)" userId="d8a93241-9b9d-4c25-8457-87ffab4b96e2" providerId="ADAL" clId="{D0392E92-C1C8-4E77-96D0-D493DA4AC621}" dt="2022-10-19T01:35:03.471" v="31215" actId="700"/>
          <ac:spMkLst>
            <pc:docMk/>
            <pc:sldMk cId="2060718898" sldId="2147470321"/>
            <ac:spMk id="2" creationId="{C9355748-2E5A-FF43-B041-EDECD4D2DAAD}"/>
          </ac:spMkLst>
        </pc:spChg>
        <pc:spChg chg="add mod ord">
          <ac:chgData name="Kate Mun (KYOUNGRAN)" userId="d8a93241-9b9d-4c25-8457-87ffab4b96e2" providerId="ADAL" clId="{D0392E92-C1C8-4E77-96D0-D493DA4AC621}" dt="2022-10-19T02:16:13.878" v="31770" actId="20577"/>
          <ac:spMkLst>
            <pc:docMk/>
            <pc:sldMk cId="2060718898" sldId="2147470321"/>
            <ac:spMk id="3" creationId="{8942E876-9A40-035D-0B1A-D2858D11D850}"/>
          </ac:spMkLst>
        </pc:spChg>
        <pc:spChg chg="del mod">
          <ac:chgData name="Kate Mun (KYOUNGRAN)" userId="d8a93241-9b9d-4c25-8457-87ffab4b96e2" providerId="ADAL" clId="{D0392E92-C1C8-4E77-96D0-D493DA4AC621}" dt="2022-10-19T02:14:32.082" v="31703" actId="478"/>
          <ac:spMkLst>
            <pc:docMk/>
            <pc:sldMk cId="2060718898" sldId="2147470321"/>
            <ac:spMk id="8" creationId="{15A4952B-A69A-48F6-F1F1-A076449CF539}"/>
          </ac:spMkLst>
        </pc:spChg>
        <pc:spChg chg="add mod">
          <ac:chgData name="Kate Mun (KYOUNGRAN)" userId="d8a93241-9b9d-4c25-8457-87ffab4b96e2" providerId="ADAL" clId="{D0392E92-C1C8-4E77-96D0-D493DA4AC621}" dt="2022-09-21T06:54:14.836" v="7381" actId="1036"/>
          <ac:spMkLst>
            <pc:docMk/>
            <pc:sldMk cId="2060718898" sldId="2147470321"/>
            <ac:spMk id="10" creationId="{2D4F3123-524C-D3E0-C012-E9323BD6381D}"/>
          </ac:spMkLst>
        </pc:spChg>
        <pc:spChg chg="add mod">
          <ac:chgData name="Kate Mun (KYOUNGRAN)" userId="d8a93241-9b9d-4c25-8457-87ffab4b96e2" providerId="ADAL" clId="{D0392E92-C1C8-4E77-96D0-D493DA4AC621}" dt="2022-09-21T06:54:14.836" v="7381" actId="1036"/>
          <ac:spMkLst>
            <pc:docMk/>
            <pc:sldMk cId="2060718898" sldId="2147470321"/>
            <ac:spMk id="11" creationId="{F03D1144-9DB2-3505-2223-22BDC1C05B62}"/>
          </ac:spMkLst>
        </pc:spChg>
        <pc:spChg chg="add mod">
          <ac:chgData name="Kate Mun (KYOUNGRAN)" userId="d8a93241-9b9d-4c25-8457-87ffab4b96e2" providerId="ADAL" clId="{D0392E92-C1C8-4E77-96D0-D493DA4AC621}" dt="2022-09-21T06:56:55.909" v="8041" actId="1035"/>
          <ac:spMkLst>
            <pc:docMk/>
            <pc:sldMk cId="2060718898" sldId="2147470321"/>
            <ac:spMk id="12" creationId="{1DA73694-62E9-818D-F309-7A1112E1657B}"/>
          </ac:spMkLst>
        </pc:spChg>
        <pc:grpChg chg="add mod">
          <ac:chgData name="Kate Mun (KYOUNGRAN)" userId="d8a93241-9b9d-4c25-8457-87ffab4b96e2" providerId="ADAL" clId="{D0392E92-C1C8-4E77-96D0-D493DA4AC621}" dt="2022-10-19T02:16:04.703" v="31763" actId="1076"/>
          <ac:grpSpMkLst>
            <pc:docMk/>
            <pc:sldMk cId="2060718898" sldId="2147470321"/>
            <ac:grpSpMk id="13" creationId="{B09356BB-040D-8EB5-FB7F-759E3583B697}"/>
          </ac:grpSpMkLst>
        </pc:grpChg>
        <pc:grpChg chg="add mod">
          <ac:chgData name="Kate Mun (KYOUNGRAN)" userId="d8a93241-9b9d-4c25-8457-87ffab4b96e2" providerId="ADAL" clId="{D0392E92-C1C8-4E77-96D0-D493DA4AC621}" dt="2022-10-19T02:15:29.415" v="31737" actId="1076"/>
          <ac:grpSpMkLst>
            <pc:docMk/>
            <pc:sldMk cId="2060718898" sldId="2147470321"/>
            <ac:grpSpMk id="14" creationId="{9CFEC502-D404-1254-7813-FB22158229A1}"/>
          </ac:grpSpMkLst>
        </pc:grpChg>
        <pc:grpChg chg="add mod">
          <ac:chgData name="Kate Mun (KYOUNGRAN)" userId="d8a93241-9b9d-4c25-8457-87ffab4b96e2" providerId="ADAL" clId="{D0392E92-C1C8-4E77-96D0-D493DA4AC621}" dt="2022-10-19T02:15:26.667" v="31736" actId="1076"/>
          <ac:grpSpMkLst>
            <pc:docMk/>
            <pc:sldMk cId="2060718898" sldId="2147470321"/>
            <ac:grpSpMk id="15" creationId="{962D78BE-904A-26AD-0BE1-5DF90446548A}"/>
          </ac:grpSpMkLst>
        </pc:grpChg>
        <pc:picChg chg="add mod">
          <ac:chgData name="Kate Mun (KYOUNGRAN)" userId="d8a93241-9b9d-4c25-8457-87ffab4b96e2" providerId="ADAL" clId="{D0392E92-C1C8-4E77-96D0-D493DA4AC621}" dt="2022-09-21T06:56:02.762" v="7794" actId="1036"/>
          <ac:picMkLst>
            <pc:docMk/>
            <pc:sldMk cId="2060718898" sldId="2147470321"/>
            <ac:picMk id="4" creationId="{2A96BA44-8553-3243-0770-C150B56CA7D9}"/>
          </ac:picMkLst>
        </pc:picChg>
        <pc:picChg chg="add mod">
          <ac:chgData name="Kate Mun (KYOUNGRAN)" userId="d8a93241-9b9d-4c25-8457-87ffab4b96e2" providerId="ADAL" clId="{D0392E92-C1C8-4E77-96D0-D493DA4AC621}" dt="2022-09-21T06:54:14.836" v="7381" actId="1036"/>
          <ac:picMkLst>
            <pc:docMk/>
            <pc:sldMk cId="2060718898" sldId="2147470321"/>
            <ac:picMk id="6" creationId="{962500DE-6BB3-E90E-45BE-9D366D051F40}"/>
          </ac:picMkLst>
        </pc:picChg>
        <pc:picChg chg="add mod">
          <ac:chgData name="Kate Mun (KYOUNGRAN)" userId="d8a93241-9b9d-4c25-8457-87ffab4b96e2" providerId="ADAL" clId="{D0392E92-C1C8-4E77-96D0-D493DA4AC621}" dt="2022-09-21T06:54:14.836" v="7381" actId="1036"/>
          <ac:picMkLst>
            <pc:docMk/>
            <pc:sldMk cId="2060718898" sldId="2147470321"/>
            <ac:picMk id="9" creationId="{1D7F78B9-C50D-6B30-DC01-F541F8229AA2}"/>
          </ac:picMkLst>
        </pc:picChg>
      </pc:sldChg>
      <pc:sldChg chg="modSp mod">
        <pc:chgData name="Kate Mun (KYOUNGRAN)" userId="d8a93241-9b9d-4c25-8457-87ffab4b96e2" providerId="ADAL" clId="{D0392E92-C1C8-4E77-96D0-D493DA4AC621}" dt="2022-10-19T01:36:48.641" v="31223" actId="255"/>
        <pc:sldMkLst>
          <pc:docMk/>
          <pc:sldMk cId="3202629489" sldId="2147470322"/>
        </pc:sldMkLst>
        <pc:spChg chg="mod">
          <ac:chgData name="Kate Mun (KYOUNGRAN)" userId="d8a93241-9b9d-4c25-8457-87ffab4b96e2" providerId="ADAL" clId="{D0392E92-C1C8-4E77-96D0-D493DA4AC621}" dt="2022-10-19T01:36:48.641" v="31223" actId="255"/>
          <ac:spMkLst>
            <pc:docMk/>
            <pc:sldMk cId="3202629489" sldId="2147470322"/>
            <ac:spMk id="5" creationId="{F01C4DE8-FED9-4360-822F-E4430EDF3049}"/>
          </ac:spMkLst>
        </pc:spChg>
      </pc:sldChg>
      <pc:sldChg chg="modSp mod chgLayout">
        <pc:chgData name="Kate Mun (KYOUNGRAN)" userId="d8a93241-9b9d-4c25-8457-87ffab4b96e2" providerId="ADAL" clId="{D0392E92-C1C8-4E77-96D0-D493DA4AC621}" dt="2022-10-19T01:34:32.831" v="31210" actId="700"/>
        <pc:sldMkLst>
          <pc:docMk/>
          <pc:sldMk cId="238823073" sldId="2147470323"/>
        </pc:sldMkLst>
        <pc:spChg chg="mod ord">
          <ac:chgData name="Kate Mun (KYOUNGRAN)" userId="d8a93241-9b9d-4c25-8457-87ffab4b96e2" providerId="ADAL" clId="{D0392E92-C1C8-4E77-96D0-D493DA4AC621}" dt="2022-10-19T01:34:32.831" v="31210" actId="700"/>
          <ac:spMkLst>
            <pc:docMk/>
            <pc:sldMk cId="238823073" sldId="2147470323"/>
            <ac:spMk id="2" creationId="{C9355748-2E5A-FF43-B041-EDECD4D2DAAD}"/>
          </ac:spMkLst>
        </pc:spChg>
        <pc:spChg chg="mod ord">
          <ac:chgData name="Kate Mun (KYOUNGRAN)" userId="d8a93241-9b9d-4c25-8457-87ffab4b96e2" providerId="ADAL" clId="{D0392E92-C1C8-4E77-96D0-D493DA4AC621}" dt="2022-10-19T01:34:32.831" v="31210" actId="700"/>
          <ac:spMkLst>
            <pc:docMk/>
            <pc:sldMk cId="238823073" sldId="2147470323"/>
            <ac:spMk id="5" creationId="{0F85905A-5E01-8F50-E18C-9D227C507F1C}"/>
          </ac:spMkLst>
        </pc:spChg>
      </pc:sldChg>
      <pc:sldChg chg="modSp mod chgLayout">
        <pc:chgData name="Kate Mun (KYOUNGRAN)" userId="d8a93241-9b9d-4c25-8457-87ffab4b96e2" providerId="ADAL" clId="{D0392E92-C1C8-4E77-96D0-D493DA4AC621}" dt="2022-10-19T01:34:32.831" v="31210" actId="700"/>
        <pc:sldMkLst>
          <pc:docMk/>
          <pc:sldMk cId="133040354" sldId="2147470324"/>
        </pc:sldMkLst>
        <pc:spChg chg="mod ord">
          <ac:chgData name="Kate Mun (KYOUNGRAN)" userId="d8a93241-9b9d-4c25-8457-87ffab4b96e2" providerId="ADAL" clId="{D0392E92-C1C8-4E77-96D0-D493DA4AC621}" dt="2022-10-19T01:34:32.831" v="31210" actId="700"/>
          <ac:spMkLst>
            <pc:docMk/>
            <pc:sldMk cId="133040354" sldId="2147470324"/>
            <ac:spMk id="2" creationId="{C9355748-2E5A-FF43-B041-EDECD4D2DAAD}"/>
          </ac:spMkLst>
        </pc:spChg>
        <pc:spChg chg="mod ord">
          <ac:chgData name="Kate Mun (KYOUNGRAN)" userId="d8a93241-9b9d-4c25-8457-87ffab4b96e2" providerId="ADAL" clId="{D0392E92-C1C8-4E77-96D0-D493DA4AC621}" dt="2022-10-19T01:34:32.831" v="31210" actId="700"/>
          <ac:spMkLst>
            <pc:docMk/>
            <pc:sldMk cId="133040354" sldId="2147470324"/>
            <ac:spMk id="5" creationId="{0F85905A-5E01-8F50-E18C-9D227C507F1C}"/>
          </ac:spMkLst>
        </pc:spChg>
      </pc:sldChg>
      <pc:sldChg chg="modSp mod chgLayout">
        <pc:chgData name="Kate Mun (KYOUNGRAN)" userId="d8a93241-9b9d-4c25-8457-87ffab4b96e2" providerId="ADAL" clId="{D0392E92-C1C8-4E77-96D0-D493DA4AC621}" dt="2022-10-19T01:34:32.831" v="31210" actId="700"/>
        <pc:sldMkLst>
          <pc:docMk/>
          <pc:sldMk cId="2058421801" sldId="2147470325"/>
        </pc:sldMkLst>
        <pc:spChg chg="mod ord">
          <ac:chgData name="Kate Mun (KYOUNGRAN)" userId="d8a93241-9b9d-4c25-8457-87ffab4b96e2" providerId="ADAL" clId="{D0392E92-C1C8-4E77-96D0-D493DA4AC621}" dt="2022-10-19T01:34:32.831" v="31210" actId="700"/>
          <ac:spMkLst>
            <pc:docMk/>
            <pc:sldMk cId="2058421801" sldId="2147470325"/>
            <ac:spMk id="2" creationId="{C9355748-2E5A-FF43-B041-EDECD4D2DAAD}"/>
          </ac:spMkLst>
        </pc:spChg>
        <pc:spChg chg="mod ord">
          <ac:chgData name="Kate Mun (KYOUNGRAN)" userId="d8a93241-9b9d-4c25-8457-87ffab4b96e2" providerId="ADAL" clId="{D0392E92-C1C8-4E77-96D0-D493DA4AC621}" dt="2022-10-19T01:34:32.831" v="31210" actId="700"/>
          <ac:spMkLst>
            <pc:docMk/>
            <pc:sldMk cId="2058421801" sldId="2147470325"/>
            <ac:spMk id="5" creationId="{0F85905A-5E01-8F50-E18C-9D227C507F1C}"/>
          </ac:spMkLst>
        </pc:spChg>
      </pc:sldChg>
      <pc:sldChg chg="modSp mod chgLayout">
        <pc:chgData name="Kate Mun (KYOUNGRAN)" userId="d8a93241-9b9d-4c25-8457-87ffab4b96e2" providerId="ADAL" clId="{D0392E92-C1C8-4E77-96D0-D493DA4AC621}" dt="2022-10-19T01:34:32.831" v="31210" actId="700"/>
        <pc:sldMkLst>
          <pc:docMk/>
          <pc:sldMk cId="1605652267" sldId="2147470326"/>
        </pc:sldMkLst>
        <pc:spChg chg="mod ord">
          <ac:chgData name="Kate Mun (KYOUNGRAN)" userId="d8a93241-9b9d-4c25-8457-87ffab4b96e2" providerId="ADAL" clId="{D0392E92-C1C8-4E77-96D0-D493DA4AC621}" dt="2022-10-19T01:34:32.831" v="31210" actId="700"/>
          <ac:spMkLst>
            <pc:docMk/>
            <pc:sldMk cId="1605652267" sldId="2147470326"/>
            <ac:spMk id="2" creationId="{C9355748-2E5A-FF43-B041-EDECD4D2DAAD}"/>
          </ac:spMkLst>
        </pc:spChg>
        <pc:spChg chg="mod ord">
          <ac:chgData name="Kate Mun (KYOUNGRAN)" userId="d8a93241-9b9d-4c25-8457-87ffab4b96e2" providerId="ADAL" clId="{D0392E92-C1C8-4E77-96D0-D493DA4AC621}" dt="2022-10-19T01:34:32.831" v="31210" actId="700"/>
          <ac:spMkLst>
            <pc:docMk/>
            <pc:sldMk cId="1605652267" sldId="2147470326"/>
            <ac:spMk id="5" creationId="{0F85905A-5E01-8F50-E18C-9D227C507F1C}"/>
          </ac:spMkLst>
        </pc:spChg>
      </pc:sldChg>
      <pc:sldChg chg="add del ord">
        <pc:chgData name="Kate Mun (KYOUNGRAN)" userId="d8a93241-9b9d-4c25-8457-87ffab4b96e2" providerId="ADAL" clId="{D0392E92-C1C8-4E77-96D0-D493DA4AC621}" dt="2022-10-19T05:38:37.547" v="32732" actId="47"/>
        <pc:sldMkLst>
          <pc:docMk/>
          <pc:sldMk cId="3478624569" sldId="2147470328"/>
        </pc:sldMkLst>
      </pc:sldChg>
      <pc:sldChg chg="modSp add del mod addCm chgLayout">
        <pc:chgData name="Kate Mun (KYOUNGRAN)" userId="d8a93241-9b9d-4c25-8457-87ffab4b96e2" providerId="ADAL" clId="{D0392E92-C1C8-4E77-96D0-D493DA4AC621}" dt="2022-10-19T05:57:05.041" v="33187" actId="47"/>
        <pc:sldMkLst>
          <pc:docMk/>
          <pc:sldMk cId="85035665" sldId="2147470330"/>
        </pc:sldMkLst>
        <pc:spChg chg="mod ord">
          <ac:chgData name="Kate Mun (KYOUNGRAN)" userId="d8a93241-9b9d-4c25-8457-87ffab4b96e2" providerId="ADAL" clId="{D0392E92-C1C8-4E77-96D0-D493DA4AC621}" dt="2022-10-19T01:34:54.887" v="31214" actId="700"/>
          <ac:spMkLst>
            <pc:docMk/>
            <pc:sldMk cId="85035665" sldId="2147470330"/>
            <ac:spMk id="2" creationId="{C9355748-2E5A-FF43-B041-EDECD4D2DAAD}"/>
          </ac:spMkLst>
        </pc:spChg>
        <pc:spChg chg="mod ord">
          <ac:chgData name="Kate Mun (KYOUNGRAN)" userId="d8a93241-9b9d-4c25-8457-87ffab4b96e2" providerId="ADAL" clId="{D0392E92-C1C8-4E77-96D0-D493DA4AC621}" dt="2022-10-19T05:56:46.657" v="33181" actId="6549"/>
          <ac:spMkLst>
            <pc:docMk/>
            <pc:sldMk cId="85035665" sldId="2147470330"/>
            <ac:spMk id="5" creationId="{0F85905A-5E01-8F50-E18C-9D227C507F1C}"/>
          </ac:spMkLst>
        </pc:spChg>
      </pc:sldChg>
      <pc:sldChg chg="modSp add mod chgLayout">
        <pc:chgData name="Kate Mun (KYOUNGRAN)" userId="d8a93241-9b9d-4c25-8457-87ffab4b96e2" providerId="ADAL" clId="{D0392E92-C1C8-4E77-96D0-D493DA4AC621}" dt="2022-10-19T01:55:36.804" v="31328" actId="1076"/>
        <pc:sldMkLst>
          <pc:docMk/>
          <pc:sldMk cId="4037715394" sldId="2147470332"/>
        </pc:sldMkLst>
        <pc:spChg chg="mod ord">
          <ac:chgData name="Kate Mun (KYOUNGRAN)" userId="d8a93241-9b9d-4c25-8457-87ffab4b96e2" providerId="ADAL" clId="{D0392E92-C1C8-4E77-96D0-D493DA4AC621}" dt="2022-10-19T01:34:54.887" v="31214" actId="700"/>
          <ac:spMkLst>
            <pc:docMk/>
            <pc:sldMk cId="4037715394" sldId="2147470332"/>
            <ac:spMk id="2" creationId="{C9355748-2E5A-FF43-B041-EDECD4D2DAAD}"/>
          </ac:spMkLst>
        </pc:spChg>
        <pc:spChg chg="mod ord">
          <ac:chgData name="Kate Mun (KYOUNGRAN)" userId="d8a93241-9b9d-4c25-8457-87ffab4b96e2" providerId="ADAL" clId="{D0392E92-C1C8-4E77-96D0-D493DA4AC621}" dt="2022-10-19T01:55:27.907" v="31325" actId="2711"/>
          <ac:spMkLst>
            <pc:docMk/>
            <pc:sldMk cId="4037715394" sldId="2147470332"/>
            <ac:spMk id="5" creationId="{0F85905A-5E01-8F50-E18C-9D227C507F1C}"/>
          </ac:spMkLst>
        </pc:spChg>
        <pc:grpChg chg="mod">
          <ac:chgData name="Kate Mun (KYOUNGRAN)" userId="d8a93241-9b9d-4c25-8457-87ffab4b96e2" providerId="ADAL" clId="{D0392E92-C1C8-4E77-96D0-D493DA4AC621}" dt="2022-10-19T01:55:36.804" v="31328" actId="1076"/>
          <ac:grpSpMkLst>
            <pc:docMk/>
            <pc:sldMk cId="4037715394" sldId="2147470332"/>
            <ac:grpSpMk id="7" creationId="{C42215B7-16DF-F56A-F570-FFAD83E3143F}"/>
          </ac:grpSpMkLst>
        </pc:grpChg>
      </pc:sldChg>
      <pc:sldChg chg="modSp add del mod modShow">
        <pc:chgData name="Kate Mun (KYOUNGRAN)" userId="d8a93241-9b9d-4c25-8457-87ffab4b96e2" providerId="ADAL" clId="{D0392E92-C1C8-4E77-96D0-D493DA4AC621}" dt="2022-09-28T06:04:30.733" v="12346" actId="47"/>
        <pc:sldMkLst>
          <pc:docMk/>
          <pc:sldMk cId="2804151626" sldId="2147470333"/>
        </pc:sldMkLst>
        <pc:spChg chg="mod">
          <ac:chgData name="Kate Mun (KYOUNGRAN)" userId="d8a93241-9b9d-4c25-8457-87ffab4b96e2" providerId="ADAL" clId="{D0392E92-C1C8-4E77-96D0-D493DA4AC621}" dt="2022-09-28T05:15:20.172" v="12033"/>
          <ac:spMkLst>
            <pc:docMk/>
            <pc:sldMk cId="2804151626" sldId="2147470333"/>
            <ac:spMk id="4" creationId="{949B7981-C7E7-0DC7-63BD-29C450500D2F}"/>
          </ac:spMkLst>
        </pc:spChg>
        <pc:picChg chg="mod ord">
          <ac:chgData name="Kate Mun (KYOUNGRAN)" userId="d8a93241-9b9d-4c25-8457-87ffab4b96e2" providerId="ADAL" clId="{D0392E92-C1C8-4E77-96D0-D493DA4AC621}" dt="2022-09-28T05:14:44.305" v="12006" actId="1076"/>
          <ac:picMkLst>
            <pc:docMk/>
            <pc:sldMk cId="2804151626" sldId="2147470333"/>
            <ac:picMk id="9" creationId="{2AE6EB15-EB4E-8E61-A777-4279E5DF30C3}"/>
          </ac:picMkLst>
        </pc:picChg>
      </pc:sldChg>
      <pc:sldChg chg="addSp delSp modSp add mod ord chgLayout">
        <pc:chgData name="Kate Mun (KYOUNGRAN)" userId="d8a93241-9b9d-4c25-8457-87ffab4b96e2" providerId="ADAL" clId="{D0392E92-C1C8-4E77-96D0-D493DA4AC621}" dt="2022-10-19T04:11:31.262" v="32655" actId="1076"/>
        <pc:sldMkLst>
          <pc:docMk/>
          <pc:sldMk cId="4217937353" sldId="2147470334"/>
        </pc:sldMkLst>
        <pc:spChg chg="mod ord">
          <ac:chgData name="Kate Mun (KYOUNGRAN)" userId="d8a93241-9b9d-4c25-8457-87ffab4b96e2" providerId="ADAL" clId="{D0392E92-C1C8-4E77-96D0-D493DA4AC621}" dt="2022-10-19T02:47:58.291" v="32387" actId="113"/>
          <ac:spMkLst>
            <pc:docMk/>
            <pc:sldMk cId="4217937353" sldId="2147470334"/>
            <ac:spMk id="2" creationId="{4068EBDE-A141-09B1-5620-CBCEF6DDFE57}"/>
          </ac:spMkLst>
        </pc:spChg>
        <pc:spChg chg="mod ord">
          <ac:chgData name="Kate Mun (KYOUNGRAN)" userId="d8a93241-9b9d-4c25-8457-87ffab4b96e2" providerId="ADAL" clId="{D0392E92-C1C8-4E77-96D0-D493DA4AC621}" dt="2022-10-19T04:11:25.018" v="32654" actId="255"/>
          <ac:spMkLst>
            <pc:docMk/>
            <pc:sldMk cId="4217937353" sldId="2147470334"/>
            <ac:spMk id="3" creationId="{D74B672D-2696-6CA1-DC7F-F18D1C562407}"/>
          </ac:spMkLst>
        </pc:spChg>
        <pc:spChg chg="del mod">
          <ac:chgData name="Kate Mun (KYOUNGRAN)" userId="d8a93241-9b9d-4c25-8457-87ffab4b96e2" providerId="ADAL" clId="{D0392E92-C1C8-4E77-96D0-D493DA4AC621}" dt="2022-10-04T01:36:33.179" v="14053" actId="478"/>
          <ac:spMkLst>
            <pc:docMk/>
            <pc:sldMk cId="4217937353" sldId="2147470334"/>
            <ac:spMk id="4" creationId="{949B7981-C7E7-0DC7-63BD-29C450500D2F}"/>
          </ac:spMkLst>
        </pc:spChg>
        <pc:spChg chg="add mod">
          <ac:chgData name="Kate Mun (KYOUNGRAN)" userId="d8a93241-9b9d-4c25-8457-87ffab4b96e2" providerId="ADAL" clId="{D0392E92-C1C8-4E77-96D0-D493DA4AC621}" dt="2022-10-04T04:01:05.910" v="14827" actId="1582"/>
          <ac:spMkLst>
            <pc:docMk/>
            <pc:sldMk cId="4217937353" sldId="2147470334"/>
            <ac:spMk id="13" creationId="{AC389773-81AF-05A3-DB05-ACC9F30548FD}"/>
          </ac:spMkLst>
        </pc:spChg>
        <pc:spChg chg="add mod">
          <ac:chgData name="Kate Mun (KYOUNGRAN)" userId="d8a93241-9b9d-4c25-8457-87ffab4b96e2" providerId="ADAL" clId="{D0392E92-C1C8-4E77-96D0-D493DA4AC621}" dt="2022-10-04T04:01:23.018" v="14833" actId="14100"/>
          <ac:spMkLst>
            <pc:docMk/>
            <pc:sldMk cId="4217937353" sldId="2147470334"/>
            <ac:spMk id="14" creationId="{55714913-A428-897B-5410-268700C15C53}"/>
          </ac:spMkLst>
        </pc:spChg>
        <pc:spChg chg="add mod">
          <ac:chgData name="Kate Mun (KYOUNGRAN)" userId="d8a93241-9b9d-4c25-8457-87ffab4b96e2" providerId="ADAL" clId="{D0392E92-C1C8-4E77-96D0-D493DA4AC621}" dt="2022-10-04T04:01:36.831" v="14836" actId="14100"/>
          <ac:spMkLst>
            <pc:docMk/>
            <pc:sldMk cId="4217937353" sldId="2147470334"/>
            <ac:spMk id="15" creationId="{BEBDE5D3-8D1B-D63C-E01E-3430F2D4A859}"/>
          </ac:spMkLst>
        </pc:spChg>
        <pc:spChg chg="add mod">
          <ac:chgData name="Kate Mun (KYOUNGRAN)" userId="d8a93241-9b9d-4c25-8457-87ffab4b96e2" providerId="ADAL" clId="{D0392E92-C1C8-4E77-96D0-D493DA4AC621}" dt="2022-10-04T04:02:12.830" v="14845" actId="14100"/>
          <ac:spMkLst>
            <pc:docMk/>
            <pc:sldMk cId="4217937353" sldId="2147470334"/>
            <ac:spMk id="16" creationId="{2CC79E05-3678-23C3-4412-B5365A5E50BB}"/>
          </ac:spMkLst>
        </pc:spChg>
        <pc:picChg chg="add del mod">
          <ac:chgData name="Kate Mun (KYOUNGRAN)" userId="d8a93241-9b9d-4c25-8457-87ffab4b96e2" providerId="ADAL" clId="{D0392E92-C1C8-4E77-96D0-D493DA4AC621}" dt="2022-10-04T02:17:34.430" v="14419" actId="478"/>
          <ac:picMkLst>
            <pc:docMk/>
            <pc:sldMk cId="4217937353" sldId="2147470334"/>
            <ac:picMk id="6" creationId="{17C406BF-3F81-85A3-D9F8-5AEB43CB9EA1}"/>
          </ac:picMkLst>
        </pc:picChg>
        <pc:picChg chg="add mod">
          <ac:chgData name="Kate Mun (KYOUNGRAN)" userId="d8a93241-9b9d-4c25-8457-87ffab4b96e2" providerId="ADAL" clId="{D0392E92-C1C8-4E77-96D0-D493DA4AC621}" dt="2022-10-19T04:11:31.262" v="32655" actId="1076"/>
          <ac:picMkLst>
            <pc:docMk/>
            <pc:sldMk cId="4217937353" sldId="2147470334"/>
            <ac:picMk id="8" creationId="{D81E3290-B57B-358B-80EA-1C21070F23B2}"/>
          </ac:picMkLst>
        </pc:picChg>
        <pc:picChg chg="add mod">
          <ac:chgData name="Kate Mun (KYOUNGRAN)" userId="d8a93241-9b9d-4c25-8457-87ffab4b96e2" providerId="ADAL" clId="{D0392E92-C1C8-4E77-96D0-D493DA4AC621}" dt="2022-10-19T04:11:31.262" v="32655" actId="1076"/>
          <ac:picMkLst>
            <pc:docMk/>
            <pc:sldMk cId="4217937353" sldId="2147470334"/>
            <ac:picMk id="10" creationId="{8E51862B-2A8A-009F-0593-C2FB45B96738}"/>
          </ac:picMkLst>
        </pc:picChg>
        <pc:picChg chg="add mod">
          <ac:chgData name="Kate Mun (KYOUNGRAN)" userId="d8a93241-9b9d-4c25-8457-87ffab4b96e2" providerId="ADAL" clId="{D0392E92-C1C8-4E77-96D0-D493DA4AC621}" dt="2022-10-19T04:11:31.262" v="32655" actId="1076"/>
          <ac:picMkLst>
            <pc:docMk/>
            <pc:sldMk cId="4217937353" sldId="2147470334"/>
            <ac:picMk id="12" creationId="{5F8B1EFF-E7DE-6008-1E03-1DF2034CC17A}"/>
          </ac:picMkLst>
        </pc:picChg>
      </pc:sldChg>
      <pc:sldChg chg="modSp add mod chgLayout">
        <pc:chgData name="Kate Mun (KYOUNGRAN)" userId="d8a93241-9b9d-4c25-8457-87ffab4b96e2" providerId="ADAL" clId="{D0392E92-C1C8-4E77-96D0-D493DA4AC621}" dt="2022-10-19T04:12:54.204" v="32687" actId="1076"/>
        <pc:sldMkLst>
          <pc:docMk/>
          <pc:sldMk cId="2107364832" sldId="2147470335"/>
        </pc:sldMkLst>
        <pc:spChg chg="mod ord">
          <ac:chgData name="Kate Mun (KYOUNGRAN)" userId="d8a93241-9b9d-4c25-8457-87ffab4b96e2" providerId="ADAL" clId="{D0392E92-C1C8-4E77-96D0-D493DA4AC621}" dt="2022-10-19T02:48:31.477" v="32393" actId="255"/>
          <ac:spMkLst>
            <pc:docMk/>
            <pc:sldMk cId="2107364832" sldId="2147470335"/>
            <ac:spMk id="2" creationId="{4068EBDE-A141-09B1-5620-CBCEF6DDFE57}"/>
          </ac:spMkLst>
        </pc:spChg>
        <pc:spChg chg="mod ord">
          <ac:chgData name="Kate Mun (KYOUNGRAN)" userId="d8a93241-9b9d-4c25-8457-87ffab4b96e2" providerId="ADAL" clId="{D0392E92-C1C8-4E77-96D0-D493DA4AC621}" dt="2022-10-19T04:12:47.939" v="32684" actId="15"/>
          <ac:spMkLst>
            <pc:docMk/>
            <pc:sldMk cId="2107364832" sldId="2147470335"/>
            <ac:spMk id="3" creationId="{D74B672D-2696-6CA1-DC7F-F18D1C562407}"/>
          </ac:spMkLst>
        </pc:spChg>
        <pc:picChg chg="mod">
          <ac:chgData name="Kate Mun (KYOUNGRAN)" userId="d8a93241-9b9d-4c25-8457-87ffab4b96e2" providerId="ADAL" clId="{D0392E92-C1C8-4E77-96D0-D493DA4AC621}" dt="2022-10-19T04:12:54.204" v="32687" actId="1076"/>
          <ac:picMkLst>
            <pc:docMk/>
            <pc:sldMk cId="2107364832" sldId="2147470335"/>
            <ac:picMk id="5" creationId="{4BD330BB-D596-716D-526E-881F4ABB8D0C}"/>
          </ac:picMkLst>
        </pc:picChg>
      </pc:sldChg>
      <pc:sldChg chg="add del mod ord modShow">
        <pc:chgData name="Kate Mun (KYOUNGRAN)" userId="d8a93241-9b9d-4c25-8457-87ffab4b96e2" providerId="ADAL" clId="{D0392E92-C1C8-4E77-96D0-D493DA4AC621}" dt="2022-10-11T01:30:52.330" v="23939" actId="47"/>
        <pc:sldMkLst>
          <pc:docMk/>
          <pc:sldMk cId="3906289635" sldId="2147470336"/>
        </pc:sldMkLst>
      </pc:sldChg>
      <pc:sldChg chg="addSp delSp modSp add del mod ord">
        <pc:chgData name="Kate Mun (KYOUNGRAN)" userId="d8a93241-9b9d-4c25-8457-87ffab4b96e2" providerId="ADAL" clId="{D0392E92-C1C8-4E77-96D0-D493DA4AC621}" dt="2022-10-11T02:26:35.148" v="25180" actId="47"/>
        <pc:sldMkLst>
          <pc:docMk/>
          <pc:sldMk cId="1112028780" sldId="2147470337"/>
        </pc:sldMkLst>
        <pc:spChg chg="mod">
          <ac:chgData name="Kate Mun (KYOUNGRAN)" userId="d8a93241-9b9d-4c25-8457-87ffab4b96e2" providerId="ADAL" clId="{D0392E92-C1C8-4E77-96D0-D493DA4AC621}" dt="2022-10-04T04:47:43.650" v="15357" actId="20577"/>
          <ac:spMkLst>
            <pc:docMk/>
            <pc:sldMk cId="1112028780" sldId="2147470337"/>
            <ac:spMk id="2" creationId="{4068EBDE-A141-09B1-5620-CBCEF6DDFE57}"/>
          </ac:spMkLst>
        </pc:spChg>
        <pc:spChg chg="mod">
          <ac:chgData name="Kate Mun (KYOUNGRAN)" userId="d8a93241-9b9d-4c25-8457-87ffab4b96e2" providerId="ADAL" clId="{D0392E92-C1C8-4E77-96D0-D493DA4AC621}" dt="2022-10-11T01:17:10.300" v="23805" actId="1076"/>
          <ac:spMkLst>
            <pc:docMk/>
            <pc:sldMk cId="1112028780" sldId="2147470337"/>
            <ac:spMk id="3" creationId="{D74B672D-2696-6CA1-DC7F-F18D1C562407}"/>
          </ac:spMkLst>
        </pc:spChg>
        <pc:spChg chg="del">
          <ac:chgData name="Kate Mun (KYOUNGRAN)" userId="d8a93241-9b9d-4c25-8457-87ffab4b96e2" providerId="ADAL" clId="{D0392E92-C1C8-4E77-96D0-D493DA4AC621}" dt="2022-09-28T04:03:27.327" v="9765" actId="478"/>
          <ac:spMkLst>
            <pc:docMk/>
            <pc:sldMk cId="1112028780" sldId="2147470337"/>
            <ac:spMk id="4" creationId="{949B7981-C7E7-0DC7-63BD-29C450500D2F}"/>
          </ac:spMkLst>
        </pc:spChg>
        <pc:picChg chg="add del mod">
          <ac:chgData name="Kate Mun (KYOUNGRAN)" userId="d8a93241-9b9d-4c25-8457-87ffab4b96e2" providerId="ADAL" clId="{D0392E92-C1C8-4E77-96D0-D493DA4AC621}" dt="2022-10-11T02:24:38.653" v="25105" actId="21"/>
          <ac:picMkLst>
            <pc:docMk/>
            <pc:sldMk cId="1112028780" sldId="2147470337"/>
            <ac:picMk id="5" creationId="{721EDA51-2578-E471-94ED-085C4D0EE003}"/>
          </ac:picMkLst>
        </pc:picChg>
        <pc:picChg chg="add del mod">
          <ac:chgData name="Kate Mun (KYOUNGRAN)" userId="d8a93241-9b9d-4c25-8457-87ffab4b96e2" providerId="ADAL" clId="{D0392E92-C1C8-4E77-96D0-D493DA4AC621}" dt="2022-09-28T04:12:11.064" v="10408" actId="21"/>
          <ac:picMkLst>
            <pc:docMk/>
            <pc:sldMk cId="1112028780" sldId="2147470337"/>
            <ac:picMk id="115714" creationId="{7D2B31D7-1FE5-2F23-E848-102F55F07C1E}"/>
          </ac:picMkLst>
        </pc:picChg>
      </pc:sldChg>
      <pc:sldChg chg="addSp delSp modSp add mod ord chgLayout">
        <pc:chgData name="Kate Mun (KYOUNGRAN)" userId="d8a93241-9b9d-4c25-8457-87ffab4b96e2" providerId="ADAL" clId="{D0392E92-C1C8-4E77-96D0-D493DA4AC621}" dt="2022-10-19T04:15:09.069" v="32731" actId="1076"/>
        <pc:sldMkLst>
          <pc:docMk/>
          <pc:sldMk cId="2285555189" sldId="2147470338"/>
        </pc:sldMkLst>
        <pc:spChg chg="mod ord">
          <ac:chgData name="Kate Mun (KYOUNGRAN)" userId="d8a93241-9b9d-4c25-8457-87ffab4b96e2" providerId="ADAL" clId="{D0392E92-C1C8-4E77-96D0-D493DA4AC621}" dt="2022-10-19T02:49:56.085" v="32411" actId="255"/>
          <ac:spMkLst>
            <pc:docMk/>
            <pc:sldMk cId="2285555189" sldId="2147470338"/>
            <ac:spMk id="2" creationId="{4068EBDE-A141-09B1-5620-CBCEF6DDFE57}"/>
          </ac:spMkLst>
        </pc:spChg>
        <pc:spChg chg="add mod ord">
          <ac:chgData name="Kate Mun (KYOUNGRAN)" userId="d8a93241-9b9d-4c25-8457-87ffab4b96e2" providerId="ADAL" clId="{D0392E92-C1C8-4E77-96D0-D493DA4AC621}" dt="2022-10-19T04:14:56.721" v="32729" actId="6549"/>
          <ac:spMkLst>
            <pc:docMk/>
            <pc:sldMk cId="2285555189" sldId="2147470338"/>
            <ac:spMk id="3" creationId="{C9682105-B981-4DFA-B23E-224715C4734E}"/>
          </ac:spMkLst>
        </pc:spChg>
        <pc:spChg chg="add del mod">
          <ac:chgData name="Kate Mun (KYOUNGRAN)" userId="d8a93241-9b9d-4c25-8457-87ffab4b96e2" providerId="ADAL" clId="{D0392E92-C1C8-4E77-96D0-D493DA4AC621}" dt="2022-10-19T04:14:45.698" v="32718" actId="478"/>
          <ac:spMkLst>
            <pc:docMk/>
            <pc:sldMk cId="2285555189" sldId="2147470338"/>
            <ac:spMk id="5" creationId="{7E497E18-0A81-BEB9-F720-8A25F5607B4D}"/>
          </ac:spMkLst>
        </pc:spChg>
        <pc:spChg chg="add mod">
          <ac:chgData name="Kate Mun (KYOUNGRAN)" userId="d8a93241-9b9d-4c25-8457-87ffab4b96e2" providerId="ADAL" clId="{D0392E92-C1C8-4E77-96D0-D493DA4AC621}" dt="2022-10-19T04:15:01.702" v="32730" actId="1076"/>
          <ac:spMkLst>
            <pc:docMk/>
            <pc:sldMk cId="2285555189" sldId="2147470338"/>
            <ac:spMk id="11" creationId="{B939CBB9-0817-6C85-4BD7-AFD20AFF1545}"/>
          </ac:spMkLst>
        </pc:spChg>
        <pc:spChg chg="add mod">
          <ac:chgData name="Kate Mun (KYOUNGRAN)" userId="d8a93241-9b9d-4c25-8457-87ffab4b96e2" providerId="ADAL" clId="{D0392E92-C1C8-4E77-96D0-D493DA4AC621}" dt="2022-10-19T04:15:09.069" v="32731" actId="1076"/>
          <ac:spMkLst>
            <pc:docMk/>
            <pc:sldMk cId="2285555189" sldId="2147470338"/>
            <ac:spMk id="12" creationId="{490131DF-7F7B-FD01-38FC-FA26C5094996}"/>
          </ac:spMkLst>
        </pc:spChg>
        <pc:spChg chg="add del mod">
          <ac:chgData name="Kate Mun (KYOUNGRAN)" userId="d8a93241-9b9d-4c25-8457-87ffab4b96e2" providerId="ADAL" clId="{D0392E92-C1C8-4E77-96D0-D493DA4AC621}" dt="2022-10-11T02:31:02.803" v="25619" actId="478"/>
          <ac:spMkLst>
            <pc:docMk/>
            <pc:sldMk cId="2285555189" sldId="2147470338"/>
            <ac:spMk id="13" creationId="{D47D7DCB-9972-DFBB-4FF2-1138AB09DD7F}"/>
          </ac:spMkLst>
        </pc:spChg>
        <pc:picChg chg="add mod">
          <ac:chgData name="Kate Mun (KYOUNGRAN)" userId="d8a93241-9b9d-4c25-8457-87ffab4b96e2" providerId="ADAL" clId="{D0392E92-C1C8-4E77-96D0-D493DA4AC621}" dt="2022-10-11T02:28:41.823" v="25203" actId="14100"/>
          <ac:picMkLst>
            <pc:docMk/>
            <pc:sldMk cId="2285555189" sldId="2147470338"/>
            <ac:picMk id="4" creationId="{BF0F58B0-349C-EE73-4254-43B59460223D}"/>
          </ac:picMkLst>
        </pc:picChg>
        <pc:picChg chg="add del mod">
          <ac:chgData name="Kate Mun (KYOUNGRAN)" userId="d8a93241-9b9d-4c25-8457-87ffab4b96e2" providerId="ADAL" clId="{D0392E92-C1C8-4E77-96D0-D493DA4AC621}" dt="2022-10-11T02:27:35.962" v="25186" actId="478"/>
          <ac:picMkLst>
            <pc:docMk/>
            <pc:sldMk cId="2285555189" sldId="2147470338"/>
            <ac:picMk id="6" creationId="{73F0784A-1C42-2601-F6A4-70C129184677}"/>
          </ac:picMkLst>
        </pc:picChg>
        <pc:picChg chg="add mod">
          <ac:chgData name="Kate Mun (KYOUNGRAN)" userId="d8a93241-9b9d-4c25-8457-87ffab4b96e2" providerId="ADAL" clId="{D0392E92-C1C8-4E77-96D0-D493DA4AC621}" dt="2022-10-19T04:15:01.702" v="32730" actId="1076"/>
          <ac:picMkLst>
            <pc:docMk/>
            <pc:sldMk cId="2285555189" sldId="2147470338"/>
            <ac:picMk id="8" creationId="{18FE30FC-969E-6CF4-9982-ED30626F246B}"/>
          </ac:picMkLst>
        </pc:picChg>
        <pc:picChg chg="add mod">
          <ac:chgData name="Kate Mun (KYOUNGRAN)" userId="d8a93241-9b9d-4c25-8457-87ffab4b96e2" providerId="ADAL" clId="{D0392E92-C1C8-4E77-96D0-D493DA4AC621}" dt="2022-10-19T04:15:09.069" v="32731" actId="1076"/>
          <ac:picMkLst>
            <pc:docMk/>
            <pc:sldMk cId="2285555189" sldId="2147470338"/>
            <ac:picMk id="10" creationId="{DB6A7F36-E7F2-82E3-72AF-515405F3DDE5}"/>
          </ac:picMkLst>
        </pc:picChg>
      </pc:sldChg>
      <pc:sldChg chg="modSp add del mod">
        <pc:chgData name="Kate Mun (KYOUNGRAN)" userId="d8a93241-9b9d-4c25-8457-87ffab4b96e2" providerId="ADAL" clId="{D0392E92-C1C8-4E77-96D0-D493DA4AC621}" dt="2022-10-19T06:01:52.373" v="33269" actId="47"/>
        <pc:sldMkLst>
          <pc:docMk/>
          <pc:sldMk cId="3792336341" sldId="2147470339"/>
        </pc:sldMkLst>
        <pc:spChg chg="mod">
          <ac:chgData name="Kate Mun (KYOUNGRAN)" userId="d8a93241-9b9d-4c25-8457-87ffab4b96e2" providerId="ADAL" clId="{D0392E92-C1C8-4E77-96D0-D493DA4AC621}" dt="2022-10-19T01:37:12.407" v="31226" actId="255"/>
          <ac:spMkLst>
            <pc:docMk/>
            <pc:sldMk cId="3792336341" sldId="2147470339"/>
            <ac:spMk id="4" creationId="{478E6F04-597A-5048-C40E-E4626BBD9733}"/>
          </ac:spMkLst>
        </pc:spChg>
      </pc:sldChg>
      <pc:sldChg chg="modSp mod chgLayout">
        <pc:chgData name="Kate Mun (KYOUNGRAN)" userId="d8a93241-9b9d-4c25-8457-87ffab4b96e2" providerId="ADAL" clId="{D0392E92-C1C8-4E77-96D0-D493DA4AC621}" dt="2022-10-19T01:34:32.831" v="31210" actId="700"/>
        <pc:sldMkLst>
          <pc:docMk/>
          <pc:sldMk cId="2325142287" sldId="2147470340"/>
        </pc:sldMkLst>
        <pc:spChg chg="mod ord">
          <ac:chgData name="Kate Mun (KYOUNGRAN)" userId="d8a93241-9b9d-4c25-8457-87ffab4b96e2" providerId="ADAL" clId="{D0392E92-C1C8-4E77-96D0-D493DA4AC621}" dt="2022-10-19T01:34:32.831" v="31210" actId="700"/>
          <ac:spMkLst>
            <pc:docMk/>
            <pc:sldMk cId="2325142287" sldId="2147470340"/>
            <ac:spMk id="2" creationId="{C9355748-2E5A-FF43-B041-EDECD4D2DAAD}"/>
          </ac:spMkLst>
        </pc:spChg>
        <pc:spChg chg="mod ord">
          <ac:chgData name="Kate Mun (KYOUNGRAN)" userId="d8a93241-9b9d-4c25-8457-87ffab4b96e2" providerId="ADAL" clId="{D0392E92-C1C8-4E77-96D0-D493DA4AC621}" dt="2022-10-19T01:34:32.831" v="31210" actId="700"/>
          <ac:spMkLst>
            <pc:docMk/>
            <pc:sldMk cId="2325142287" sldId="2147470340"/>
            <ac:spMk id="5" creationId="{0F85905A-5E01-8F50-E18C-9D227C507F1C}"/>
          </ac:spMkLst>
        </pc:spChg>
      </pc:sldChg>
      <pc:sldChg chg="modSp mod chgLayout">
        <pc:chgData name="Kate Mun (KYOUNGRAN)" userId="d8a93241-9b9d-4c25-8457-87ffab4b96e2" providerId="ADAL" clId="{D0392E92-C1C8-4E77-96D0-D493DA4AC621}" dt="2022-10-19T01:34:32.831" v="31210" actId="700"/>
        <pc:sldMkLst>
          <pc:docMk/>
          <pc:sldMk cId="1580311081" sldId="2147470341"/>
        </pc:sldMkLst>
        <pc:spChg chg="mod ord">
          <ac:chgData name="Kate Mun (KYOUNGRAN)" userId="d8a93241-9b9d-4c25-8457-87ffab4b96e2" providerId="ADAL" clId="{D0392E92-C1C8-4E77-96D0-D493DA4AC621}" dt="2022-10-19T01:34:32.831" v="31210" actId="700"/>
          <ac:spMkLst>
            <pc:docMk/>
            <pc:sldMk cId="1580311081" sldId="2147470341"/>
            <ac:spMk id="2" creationId="{C9355748-2E5A-FF43-B041-EDECD4D2DAAD}"/>
          </ac:spMkLst>
        </pc:spChg>
        <pc:spChg chg="mod ord">
          <ac:chgData name="Kate Mun (KYOUNGRAN)" userId="d8a93241-9b9d-4c25-8457-87ffab4b96e2" providerId="ADAL" clId="{D0392E92-C1C8-4E77-96D0-D493DA4AC621}" dt="2022-10-19T01:34:32.831" v="31210" actId="700"/>
          <ac:spMkLst>
            <pc:docMk/>
            <pc:sldMk cId="1580311081" sldId="2147470341"/>
            <ac:spMk id="5" creationId="{0F85905A-5E01-8F50-E18C-9D227C507F1C}"/>
          </ac:spMkLst>
        </pc:spChg>
      </pc:sldChg>
      <pc:sldChg chg="modSp mod chgLayout">
        <pc:chgData name="Kate Mun (KYOUNGRAN)" userId="d8a93241-9b9d-4c25-8457-87ffab4b96e2" providerId="ADAL" clId="{D0392E92-C1C8-4E77-96D0-D493DA4AC621}" dt="2022-10-19T01:34:32.831" v="31210" actId="700"/>
        <pc:sldMkLst>
          <pc:docMk/>
          <pc:sldMk cId="2063809896" sldId="2147470342"/>
        </pc:sldMkLst>
        <pc:spChg chg="mod ord">
          <ac:chgData name="Kate Mun (KYOUNGRAN)" userId="d8a93241-9b9d-4c25-8457-87ffab4b96e2" providerId="ADAL" clId="{D0392E92-C1C8-4E77-96D0-D493DA4AC621}" dt="2022-10-19T01:34:32.831" v="31210" actId="700"/>
          <ac:spMkLst>
            <pc:docMk/>
            <pc:sldMk cId="2063809896" sldId="2147470342"/>
            <ac:spMk id="2" creationId="{C9355748-2E5A-FF43-B041-EDECD4D2DAAD}"/>
          </ac:spMkLst>
        </pc:spChg>
        <pc:spChg chg="mod ord">
          <ac:chgData name="Kate Mun (KYOUNGRAN)" userId="d8a93241-9b9d-4c25-8457-87ffab4b96e2" providerId="ADAL" clId="{D0392E92-C1C8-4E77-96D0-D493DA4AC621}" dt="2022-10-19T01:34:32.831" v="31210" actId="700"/>
          <ac:spMkLst>
            <pc:docMk/>
            <pc:sldMk cId="2063809896" sldId="2147470342"/>
            <ac:spMk id="5" creationId="{0F85905A-5E01-8F50-E18C-9D227C507F1C}"/>
          </ac:spMkLst>
        </pc:spChg>
      </pc:sldChg>
      <pc:sldChg chg="addSp delSp modSp add mod chgLayout">
        <pc:chgData name="Kate Mun (KYOUNGRAN)" userId="d8a93241-9b9d-4c25-8457-87ffab4b96e2" providerId="ADAL" clId="{D0392E92-C1C8-4E77-96D0-D493DA4AC621}" dt="2022-10-19T02:43:17.605" v="32264" actId="700"/>
        <pc:sldMkLst>
          <pc:docMk/>
          <pc:sldMk cId="3631022599" sldId="2147470343"/>
        </pc:sldMkLst>
        <pc:spChg chg="mod ord">
          <ac:chgData name="Kate Mun (KYOUNGRAN)" userId="d8a93241-9b9d-4c25-8457-87ffab4b96e2" providerId="ADAL" clId="{D0392E92-C1C8-4E77-96D0-D493DA4AC621}" dt="2022-10-19T02:43:17.605" v="32264" actId="700"/>
          <ac:spMkLst>
            <pc:docMk/>
            <pc:sldMk cId="3631022599" sldId="2147470343"/>
            <ac:spMk id="2" creationId="{4068EBDE-A141-09B1-5620-CBCEF6DDFE57}"/>
          </ac:spMkLst>
        </pc:spChg>
        <pc:spChg chg="mod ord">
          <ac:chgData name="Kate Mun (KYOUNGRAN)" userId="d8a93241-9b9d-4c25-8457-87ffab4b96e2" providerId="ADAL" clId="{D0392E92-C1C8-4E77-96D0-D493DA4AC621}" dt="2022-10-19T02:43:17.605" v="32264" actId="700"/>
          <ac:spMkLst>
            <pc:docMk/>
            <pc:sldMk cId="3631022599" sldId="2147470343"/>
            <ac:spMk id="4" creationId="{949B7981-C7E7-0DC7-63BD-29C450500D2F}"/>
          </ac:spMkLst>
        </pc:spChg>
        <pc:picChg chg="add mod">
          <ac:chgData name="Kate Mun (KYOUNGRAN)" userId="d8a93241-9b9d-4c25-8457-87ffab4b96e2" providerId="ADAL" clId="{D0392E92-C1C8-4E77-96D0-D493DA4AC621}" dt="2022-10-04T04:52:26.149" v="15517" actId="208"/>
          <ac:picMkLst>
            <pc:docMk/>
            <pc:sldMk cId="3631022599" sldId="2147470343"/>
            <ac:picMk id="3" creationId="{D36C5E8D-E4EB-7A60-A137-0E5295A5EF1E}"/>
          </ac:picMkLst>
        </pc:picChg>
        <pc:picChg chg="del">
          <ac:chgData name="Kate Mun (KYOUNGRAN)" userId="d8a93241-9b9d-4c25-8457-87ffab4b96e2" providerId="ADAL" clId="{D0392E92-C1C8-4E77-96D0-D493DA4AC621}" dt="2022-09-28T04:12:13.164" v="10409" actId="478"/>
          <ac:picMkLst>
            <pc:docMk/>
            <pc:sldMk cId="3631022599" sldId="2147470343"/>
            <ac:picMk id="9" creationId="{2AE6EB15-EB4E-8E61-A777-4279E5DF30C3}"/>
          </ac:picMkLst>
        </pc:picChg>
      </pc:sldChg>
      <pc:sldChg chg="modSp mod chgLayout">
        <pc:chgData name="Kate Mun (KYOUNGRAN)" userId="d8a93241-9b9d-4c25-8457-87ffab4b96e2" providerId="ADAL" clId="{D0392E92-C1C8-4E77-96D0-D493DA4AC621}" dt="2022-10-19T01:34:32.831" v="31210" actId="700"/>
        <pc:sldMkLst>
          <pc:docMk/>
          <pc:sldMk cId="3428403811" sldId="2147470344"/>
        </pc:sldMkLst>
        <pc:spChg chg="mod ord">
          <ac:chgData name="Kate Mun (KYOUNGRAN)" userId="d8a93241-9b9d-4c25-8457-87ffab4b96e2" providerId="ADAL" clId="{D0392E92-C1C8-4E77-96D0-D493DA4AC621}" dt="2022-10-19T01:34:32.831" v="31210" actId="700"/>
          <ac:spMkLst>
            <pc:docMk/>
            <pc:sldMk cId="3428403811" sldId="2147470344"/>
            <ac:spMk id="2" creationId="{C9355748-2E5A-FF43-B041-EDECD4D2DAAD}"/>
          </ac:spMkLst>
        </pc:spChg>
        <pc:spChg chg="mod ord">
          <ac:chgData name="Kate Mun (KYOUNGRAN)" userId="d8a93241-9b9d-4c25-8457-87ffab4b96e2" providerId="ADAL" clId="{D0392E92-C1C8-4E77-96D0-D493DA4AC621}" dt="2022-10-19T01:34:32.831" v="31210" actId="700"/>
          <ac:spMkLst>
            <pc:docMk/>
            <pc:sldMk cId="3428403811" sldId="2147470344"/>
            <ac:spMk id="5" creationId="{0F85905A-5E01-8F50-E18C-9D227C507F1C}"/>
          </ac:spMkLst>
        </pc:spChg>
      </pc:sldChg>
      <pc:sldChg chg="addSp delSp modSp add mod addCm delCm chgLayout">
        <pc:chgData name="Kate Mun (KYOUNGRAN)" userId="d8a93241-9b9d-4c25-8457-87ffab4b96e2" providerId="ADAL" clId="{D0392E92-C1C8-4E77-96D0-D493DA4AC621}" dt="2022-10-19T04:09:13.034" v="32599" actId="1076"/>
        <pc:sldMkLst>
          <pc:docMk/>
          <pc:sldMk cId="2281562339" sldId="2147470345"/>
        </pc:sldMkLst>
        <pc:spChg chg="add del mod ord">
          <ac:chgData name="Kate Mun (KYOUNGRAN)" userId="d8a93241-9b9d-4c25-8457-87ffab4b96e2" providerId="ADAL" clId="{D0392E92-C1C8-4E77-96D0-D493DA4AC621}" dt="2022-10-19T02:47:05.968" v="32366" actId="478"/>
          <ac:spMkLst>
            <pc:docMk/>
            <pc:sldMk cId="2281562339" sldId="2147470345"/>
            <ac:spMk id="2" creationId="{4068EBDE-A141-09B1-5620-CBCEF6DDFE57}"/>
          </ac:spMkLst>
        </pc:spChg>
        <pc:spChg chg="mod ord">
          <ac:chgData name="Kate Mun (KYOUNGRAN)" userId="d8a93241-9b9d-4c25-8457-87ffab4b96e2" providerId="ADAL" clId="{D0392E92-C1C8-4E77-96D0-D493DA4AC621}" dt="2022-10-19T04:08:55.752" v="32597" actId="15"/>
          <ac:spMkLst>
            <pc:docMk/>
            <pc:sldMk cId="2281562339" sldId="2147470345"/>
            <ac:spMk id="4" creationId="{949B7981-C7E7-0DC7-63BD-29C450500D2F}"/>
          </ac:spMkLst>
        </pc:spChg>
        <pc:spChg chg="add del mod">
          <ac:chgData name="Kate Mun (KYOUNGRAN)" userId="d8a93241-9b9d-4c25-8457-87ffab4b96e2" providerId="ADAL" clId="{D0392E92-C1C8-4E77-96D0-D493DA4AC621}" dt="2022-10-19T02:46:57.676" v="32365" actId="478"/>
          <ac:spMkLst>
            <pc:docMk/>
            <pc:sldMk cId="2281562339" sldId="2147470345"/>
            <ac:spMk id="5" creationId="{B9D072D5-17B1-7D1E-634A-4B84EA8F3528}"/>
          </ac:spMkLst>
        </pc:spChg>
        <pc:spChg chg="add del">
          <ac:chgData name="Kate Mun (KYOUNGRAN)" userId="d8a93241-9b9d-4c25-8457-87ffab4b96e2" providerId="ADAL" clId="{D0392E92-C1C8-4E77-96D0-D493DA4AC621}" dt="2022-10-05T04:32:57.264" v="20218" actId="22"/>
          <ac:spMkLst>
            <pc:docMk/>
            <pc:sldMk cId="2281562339" sldId="2147470345"/>
            <ac:spMk id="6" creationId="{84BD0165-F184-EA3E-7F9C-73A919AEF622}"/>
          </ac:spMkLst>
        </pc:spChg>
        <pc:spChg chg="add del">
          <ac:chgData name="Kate Mun (KYOUNGRAN)" userId="d8a93241-9b9d-4c25-8457-87ffab4b96e2" providerId="ADAL" clId="{D0392E92-C1C8-4E77-96D0-D493DA4AC621}" dt="2022-10-19T02:46:51.946" v="32362" actId="22"/>
          <ac:spMkLst>
            <pc:docMk/>
            <pc:sldMk cId="2281562339" sldId="2147470345"/>
            <ac:spMk id="7" creationId="{F23B0D73-6850-5C2D-C11A-4875A1B9024E}"/>
          </ac:spMkLst>
        </pc:spChg>
        <pc:spChg chg="add del">
          <ac:chgData name="Kate Mun (KYOUNGRAN)" userId="d8a93241-9b9d-4c25-8457-87ffab4b96e2" providerId="ADAL" clId="{D0392E92-C1C8-4E77-96D0-D493DA4AC621}" dt="2022-10-05T04:33:07.865" v="20220" actId="22"/>
          <ac:spMkLst>
            <pc:docMk/>
            <pc:sldMk cId="2281562339" sldId="2147470345"/>
            <ac:spMk id="8" creationId="{6AF5141A-024C-A4DC-4746-B1BE603A42E7}"/>
          </ac:spMkLst>
        </pc:spChg>
        <pc:spChg chg="add mod">
          <ac:chgData name="Kate Mun (KYOUNGRAN)" userId="d8a93241-9b9d-4c25-8457-87ffab4b96e2" providerId="ADAL" clId="{D0392E92-C1C8-4E77-96D0-D493DA4AC621}" dt="2022-10-05T06:13:09.629" v="21965" actId="1036"/>
          <ac:spMkLst>
            <pc:docMk/>
            <pc:sldMk cId="2281562339" sldId="2147470345"/>
            <ac:spMk id="9" creationId="{7CEB7AB4-CF92-9064-1503-064ED5438DB9}"/>
          </ac:spMkLst>
        </pc:spChg>
        <pc:spChg chg="add mod">
          <ac:chgData name="Kate Mun (KYOUNGRAN)" userId="d8a93241-9b9d-4c25-8457-87ffab4b96e2" providerId="ADAL" clId="{D0392E92-C1C8-4E77-96D0-D493DA4AC621}" dt="2022-10-05T06:13:09.629" v="21965" actId="1036"/>
          <ac:spMkLst>
            <pc:docMk/>
            <pc:sldMk cId="2281562339" sldId="2147470345"/>
            <ac:spMk id="10" creationId="{14418E4C-82EE-2EA9-2372-4E4D41050780}"/>
          </ac:spMkLst>
        </pc:spChg>
        <pc:spChg chg="add del mod">
          <ac:chgData name="Kate Mun (KYOUNGRAN)" userId="d8a93241-9b9d-4c25-8457-87ffab4b96e2" providerId="ADAL" clId="{D0392E92-C1C8-4E77-96D0-D493DA4AC621}" dt="2022-10-19T02:47:09.573" v="32369" actId="478"/>
          <ac:spMkLst>
            <pc:docMk/>
            <pc:sldMk cId="2281562339" sldId="2147470345"/>
            <ac:spMk id="11" creationId="{410C5D18-6015-3D4E-0329-DF24DD036B74}"/>
          </ac:spMkLst>
        </pc:spChg>
        <pc:spChg chg="add del mod">
          <ac:chgData name="Kate Mun (KYOUNGRAN)" userId="d8a93241-9b9d-4c25-8457-87ffab4b96e2" providerId="ADAL" clId="{D0392E92-C1C8-4E77-96D0-D493DA4AC621}" dt="2022-10-19T02:47:07.357" v="32368"/>
          <ac:spMkLst>
            <pc:docMk/>
            <pc:sldMk cId="2281562339" sldId="2147470345"/>
            <ac:spMk id="13" creationId="{2D878912-B3CF-0DCE-4E5E-9007BD3DFF80}"/>
          </ac:spMkLst>
        </pc:spChg>
        <pc:spChg chg="add mod">
          <ac:chgData name="Kate Mun (KYOUNGRAN)" userId="d8a93241-9b9d-4c25-8457-87ffab4b96e2" providerId="ADAL" clId="{D0392E92-C1C8-4E77-96D0-D493DA4AC621}" dt="2022-10-19T02:47:10.239" v="32370"/>
          <ac:spMkLst>
            <pc:docMk/>
            <pc:sldMk cId="2281562339" sldId="2147470345"/>
            <ac:spMk id="14" creationId="{D814A3BF-1AAA-79D2-5751-EC3E10A74B2F}"/>
          </ac:spMkLst>
        </pc:spChg>
        <pc:spChg chg="add del">
          <ac:chgData name="Kate Mun (KYOUNGRAN)" userId="d8a93241-9b9d-4c25-8457-87ffab4b96e2" providerId="ADAL" clId="{D0392E92-C1C8-4E77-96D0-D493DA4AC621}" dt="2022-10-05T06:15:45.019" v="22181"/>
          <ac:spMkLst>
            <pc:docMk/>
            <pc:sldMk cId="2281562339" sldId="2147470345"/>
            <ac:spMk id="20" creationId="{EDDECC59-9EC8-7C0D-FF87-6FE867E49BB6}"/>
          </ac:spMkLst>
        </pc:spChg>
        <pc:spChg chg="add del">
          <ac:chgData name="Kate Mun (KYOUNGRAN)" userId="d8a93241-9b9d-4c25-8457-87ffab4b96e2" providerId="ADAL" clId="{D0392E92-C1C8-4E77-96D0-D493DA4AC621}" dt="2022-10-05T06:15:51.965" v="22183" actId="478"/>
          <ac:spMkLst>
            <pc:docMk/>
            <pc:sldMk cId="2281562339" sldId="2147470345"/>
            <ac:spMk id="21" creationId="{0D1705AB-4601-8FD4-F262-7FCA22954F9F}"/>
          </ac:spMkLst>
        </pc:spChg>
        <pc:grpChg chg="add">
          <ac:chgData name="Kate Mun (KYOUNGRAN)" userId="d8a93241-9b9d-4c25-8457-87ffab4b96e2" providerId="ADAL" clId="{D0392E92-C1C8-4E77-96D0-D493DA4AC621}" dt="2022-10-05T06:13:42.371" v="21972" actId="164"/>
          <ac:grpSpMkLst>
            <pc:docMk/>
            <pc:sldMk cId="2281562339" sldId="2147470345"/>
            <ac:grpSpMk id="17" creationId="{2464C88F-9CE6-7486-2489-1DED0E697987}"/>
          </ac:grpSpMkLst>
        </pc:grpChg>
        <pc:grpChg chg="add mod">
          <ac:chgData name="Kate Mun (KYOUNGRAN)" userId="d8a93241-9b9d-4c25-8457-87ffab4b96e2" providerId="ADAL" clId="{D0392E92-C1C8-4E77-96D0-D493DA4AC621}" dt="2022-10-05T06:14:06.551" v="21976" actId="1076"/>
          <ac:grpSpMkLst>
            <pc:docMk/>
            <pc:sldMk cId="2281562339" sldId="2147470345"/>
            <ac:grpSpMk id="18" creationId="{F5F868BB-615F-AFA5-5947-6486DA5BE2C4}"/>
          </ac:grpSpMkLst>
        </pc:grpChg>
        <pc:grpChg chg="add mod">
          <ac:chgData name="Kate Mun (KYOUNGRAN)" userId="d8a93241-9b9d-4c25-8457-87ffab4b96e2" providerId="ADAL" clId="{D0392E92-C1C8-4E77-96D0-D493DA4AC621}" dt="2022-10-19T04:09:13.034" v="32599" actId="1076"/>
          <ac:grpSpMkLst>
            <pc:docMk/>
            <pc:sldMk cId="2281562339" sldId="2147470345"/>
            <ac:grpSpMk id="19" creationId="{4ED63783-2E77-5B22-E8F5-5304331845EE}"/>
          </ac:grpSpMkLst>
        </pc:grpChg>
        <pc:picChg chg="del">
          <ac:chgData name="Kate Mun (KYOUNGRAN)" userId="d8a93241-9b9d-4c25-8457-87ffab4b96e2" providerId="ADAL" clId="{D0392E92-C1C8-4E77-96D0-D493DA4AC621}" dt="2022-09-28T05:08:43.969" v="11968" actId="478"/>
          <ac:picMkLst>
            <pc:docMk/>
            <pc:sldMk cId="2281562339" sldId="2147470345"/>
            <ac:picMk id="3" creationId="{D36C5E8D-E4EB-7A60-A137-0E5295A5EF1E}"/>
          </ac:picMkLst>
        </pc:picChg>
        <pc:picChg chg="add del mod">
          <ac:chgData name="Kate Mun (KYOUNGRAN)" userId="d8a93241-9b9d-4c25-8457-87ffab4b96e2" providerId="ADAL" clId="{D0392E92-C1C8-4E77-96D0-D493DA4AC621}" dt="2022-10-05T05:03:28.324" v="20383" actId="478"/>
          <ac:picMkLst>
            <pc:docMk/>
            <pc:sldMk cId="2281562339" sldId="2147470345"/>
            <ac:picMk id="3" creationId="{EB3944B3-F279-DFE3-E821-229B92E4DFD1}"/>
          </ac:picMkLst>
        </pc:picChg>
        <pc:picChg chg="add del mod">
          <ac:chgData name="Kate Mun (KYOUNGRAN)" userId="d8a93241-9b9d-4c25-8457-87ffab4b96e2" providerId="ADAL" clId="{D0392E92-C1C8-4E77-96D0-D493DA4AC621}" dt="2022-09-28T05:44:38.994" v="12290" actId="478"/>
          <ac:picMkLst>
            <pc:docMk/>
            <pc:sldMk cId="2281562339" sldId="2147470345"/>
            <ac:picMk id="6" creationId="{0D4D03A5-DEB0-80CE-36C4-BE19AED60725}"/>
          </ac:picMkLst>
        </pc:picChg>
        <pc:picChg chg="add mod">
          <ac:chgData name="Kate Mun (KYOUNGRAN)" userId="d8a93241-9b9d-4c25-8457-87ffab4b96e2" providerId="ADAL" clId="{D0392E92-C1C8-4E77-96D0-D493DA4AC621}" dt="2022-10-05T06:13:53.221" v="21974" actId="1076"/>
          <ac:picMkLst>
            <pc:docMk/>
            <pc:sldMk cId="2281562339" sldId="2147470345"/>
            <ac:picMk id="12" creationId="{C16D840F-01AB-425F-787B-0E813BF2A5C4}"/>
          </ac:picMkLst>
        </pc:picChg>
        <pc:picChg chg="add del mod">
          <ac:chgData name="Kate Mun (KYOUNGRAN)" userId="d8a93241-9b9d-4c25-8457-87ffab4b96e2" providerId="ADAL" clId="{D0392E92-C1C8-4E77-96D0-D493DA4AC621}" dt="2022-10-05T05:04:26.249" v="20387" actId="478"/>
          <ac:picMkLst>
            <pc:docMk/>
            <pc:sldMk cId="2281562339" sldId="2147470345"/>
            <ac:picMk id="14" creationId="{B3DE4822-5B40-A859-237C-6FEC6F31DC33}"/>
          </ac:picMkLst>
        </pc:picChg>
        <pc:picChg chg="add mod">
          <ac:chgData name="Kate Mun (KYOUNGRAN)" userId="d8a93241-9b9d-4c25-8457-87ffab4b96e2" providerId="ADAL" clId="{D0392E92-C1C8-4E77-96D0-D493DA4AC621}" dt="2022-10-05T06:13:26.328" v="21968" actId="1076"/>
          <ac:picMkLst>
            <pc:docMk/>
            <pc:sldMk cId="2281562339" sldId="2147470345"/>
            <ac:picMk id="16" creationId="{02CB67FA-121C-EBD0-A433-79B985D33D07}"/>
          </ac:picMkLst>
        </pc:picChg>
      </pc:sldChg>
      <pc:sldChg chg="modSp mod chgLayout">
        <pc:chgData name="Kate Mun (KYOUNGRAN)" userId="d8a93241-9b9d-4c25-8457-87ffab4b96e2" providerId="ADAL" clId="{D0392E92-C1C8-4E77-96D0-D493DA4AC621}" dt="2022-10-19T01:34:32.831" v="31210" actId="700"/>
        <pc:sldMkLst>
          <pc:docMk/>
          <pc:sldMk cId="1423702067" sldId="2147470346"/>
        </pc:sldMkLst>
        <pc:spChg chg="mod ord">
          <ac:chgData name="Kate Mun (KYOUNGRAN)" userId="d8a93241-9b9d-4c25-8457-87ffab4b96e2" providerId="ADAL" clId="{D0392E92-C1C8-4E77-96D0-D493DA4AC621}" dt="2022-10-19T01:34:32.831" v="31210" actId="700"/>
          <ac:spMkLst>
            <pc:docMk/>
            <pc:sldMk cId="1423702067" sldId="2147470346"/>
            <ac:spMk id="2" creationId="{C9355748-2E5A-FF43-B041-EDECD4D2DAAD}"/>
          </ac:spMkLst>
        </pc:spChg>
        <pc:spChg chg="mod ord">
          <ac:chgData name="Kate Mun (KYOUNGRAN)" userId="d8a93241-9b9d-4c25-8457-87ffab4b96e2" providerId="ADAL" clId="{D0392E92-C1C8-4E77-96D0-D493DA4AC621}" dt="2022-10-19T01:34:32.831" v="31210" actId="700"/>
          <ac:spMkLst>
            <pc:docMk/>
            <pc:sldMk cId="1423702067" sldId="2147470346"/>
            <ac:spMk id="5" creationId="{0F85905A-5E01-8F50-E18C-9D227C507F1C}"/>
          </ac:spMkLst>
        </pc:spChg>
      </pc:sldChg>
      <pc:sldChg chg="addSp modSp add del mod">
        <pc:chgData name="Kate Mun (KYOUNGRAN)" userId="d8a93241-9b9d-4c25-8457-87ffab4b96e2" providerId="ADAL" clId="{D0392E92-C1C8-4E77-96D0-D493DA4AC621}" dt="2022-10-04T02:14:53.867" v="14416" actId="47"/>
        <pc:sldMkLst>
          <pc:docMk/>
          <pc:sldMk cId="720264745" sldId="2147470347"/>
        </pc:sldMkLst>
        <pc:spChg chg="mod">
          <ac:chgData name="Kate Mun (KYOUNGRAN)" userId="d8a93241-9b9d-4c25-8457-87ffab4b96e2" providerId="ADAL" clId="{D0392E92-C1C8-4E77-96D0-D493DA4AC621}" dt="2022-10-04T01:34:14.438" v="13979"/>
          <ac:spMkLst>
            <pc:docMk/>
            <pc:sldMk cId="720264745" sldId="2147470347"/>
            <ac:spMk id="2" creationId="{4068EBDE-A141-09B1-5620-CBCEF6DDFE57}"/>
          </ac:spMkLst>
        </pc:spChg>
        <pc:spChg chg="mod">
          <ac:chgData name="Kate Mun (KYOUNGRAN)" userId="d8a93241-9b9d-4c25-8457-87ffab4b96e2" providerId="ADAL" clId="{D0392E92-C1C8-4E77-96D0-D493DA4AC621}" dt="2022-10-04T01:33:02.412" v="13901" actId="1076"/>
          <ac:spMkLst>
            <pc:docMk/>
            <pc:sldMk cId="720264745" sldId="2147470347"/>
            <ac:spMk id="4" creationId="{949B7981-C7E7-0DC7-63BD-29C450500D2F}"/>
          </ac:spMkLst>
        </pc:spChg>
        <pc:spChg chg="add mod">
          <ac:chgData name="Kate Mun (KYOUNGRAN)" userId="d8a93241-9b9d-4c25-8457-87ffab4b96e2" providerId="ADAL" clId="{D0392E92-C1C8-4E77-96D0-D493DA4AC621}" dt="2022-10-04T01:33:24.587" v="13972" actId="1036"/>
          <ac:spMkLst>
            <pc:docMk/>
            <pc:sldMk cId="720264745" sldId="2147470347"/>
            <ac:spMk id="8" creationId="{6D754A9E-0225-722D-EF47-27AE652D3EB2}"/>
          </ac:spMkLst>
        </pc:spChg>
        <pc:spChg chg="add mod">
          <ac:chgData name="Kate Mun (KYOUNGRAN)" userId="d8a93241-9b9d-4c25-8457-87ffab4b96e2" providerId="ADAL" clId="{D0392E92-C1C8-4E77-96D0-D493DA4AC621}" dt="2022-10-04T01:33:24.587" v="13972" actId="1036"/>
          <ac:spMkLst>
            <pc:docMk/>
            <pc:sldMk cId="720264745" sldId="2147470347"/>
            <ac:spMk id="9" creationId="{C8E02B4C-154F-D537-178D-5AD371E9517A}"/>
          </ac:spMkLst>
        </pc:spChg>
        <pc:grpChg chg="add">
          <ac:chgData name="Kate Mun (KYOUNGRAN)" userId="d8a93241-9b9d-4c25-8457-87ffab4b96e2" providerId="ADAL" clId="{D0392E92-C1C8-4E77-96D0-D493DA4AC621}" dt="2022-10-04T01:33:36.190" v="13973" actId="164"/>
          <ac:grpSpMkLst>
            <pc:docMk/>
            <pc:sldMk cId="720264745" sldId="2147470347"/>
            <ac:grpSpMk id="3" creationId="{55C49BF8-5903-5DFB-31DE-0CB081CA9E2F}"/>
          </ac:grpSpMkLst>
        </pc:grpChg>
        <pc:picChg chg="add mod ord">
          <ac:chgData name="Kate Mun (KYOUNGRAN)" userId="d8a93241-9b9d-4c25-8457-87ffab4b96e2" providerId="ADAL" clId="{D0392E92-C1C8-4E77-96D0-D493DA4AC621}" dt="2022-10-04T01:33:24.587" v="13972" actId="1036"/>
          <ac:picMkLst>
            <pc:docMk/>
            <pc:sldMk cId="720264745" sldId="2147470347"/>
            <ac:picMk id="5" creationId="{0AF45ABF-824B-7A17-1322-DCA0A5644064}"/>
          </ac:picMkLst>
        </pc:picChg>
        <pc:picChg chg="add mod">
          <ac:chgData name="Kate Mun (KYOUNGRAN)" userId="d8a93241-9b9d-4c25-8457-87ffab4b96e2" providerId="ADAL" clId="{D0392E92-C1C8-4E77-96D0-D493DA4AC621}" dt="2022-10-04T01:33:24.587" v="13972" actId="1036"/>
          <ac:picMkLst>
            <pc:docMk/>
            <pc:sldMk cId="720264745" sldId="2147470347"/>
            <ac:picMk id="7" creationId="{F451D59B-6093-355B-E7A5-376F289AFE2A}"/>
          </ac:picMkLst>
        </pc:picChg>
      </pc:sldChg>
      <pc:sldChg chg="modSp mod chgLayout">
        <pc:chgData name="Kate Mun (KYOUNGRAN)" userId="d8a93241-9b9d-4c25-8457-87ffab4b96e2" providerId="ADAL" clId="{D0392E92-C1C8-4E77-96D0-D493DA4AC621}" dt="2022-10-19T01:34:32.831" v="31210" actId="700"/>
        <pc:sldMkLst>
          <pc:docMk/>
          <pc:sldMk cId="1154410655" sldId="2147470348"/>
        </pc:sldMkLst>
        <pc:spChg chg="mod ord">
          <ac:chgData name="Kate Mun (KYOUNGRAN)" userId="d8a93241-9b9d-4c25-8457-87ffab4b96e2" providerId="ADAL" clId="{D0392E92-C1C8-4E77-96D0-D493DA4AC621}" dt="2022-10-19T01:34:32.831" v="31210" actId="700"/>
          <ac:spMkLst>
            <pc:docMk/>
            <pc:sldMk cId="1154410655" sldId="2147470348"/>
            <ac:spMk id="2" creationId="{C9355748-2E5A-FF43-B041-EDECD4D2DAAD}"/>
          </ac:spMkLst>
        </pc:spChg>
        <pc:spChg chg="mod ord">
          <ac:chgData name="Kate Mun (KYOUNGRAN)" userId="d8a93241-9b9d-4c25-8457-87ffab4b96e2" providerId="ADAL" clId="{D0392E92-C1C8-4E77-96D0-D493DA4AC621}" dt="2022-10-19T01:34:32.831" v="31210" actId="700"/>
          <ac:spMkLst>
            <pc:docMk/>
            <pc:sldMk cId="1154410655" sldId="2147470348"/>
            <ac:spMk id="5" creationId="{0F85905A-5E01-8F50-E18C-9D227C507F1C}"/>
          </ac:spMkLst>
        </pc:spChg>
      </pc:sldChg>
      <pc:sldChg chg="addSp delSp modSp add mod ord chgLayout">
        <pc:chgData name="Kate Mun (KYOUNGRAN)" userId="d8a93241-9b9d-4c25-8457-87ffab4b96e2" providerId="ADAL" clId="{D0392E92-C1C8-4E77-96D0-D493DA4AC621}" dt="2022-10-19T02:43:35.599" v="32268"/>
        <pc:sldMkLst>
          <pc:docMk/>
          <pc:sldMk cId="3737654729" sldId="2147470349"/>
        </pc:sldMkLst>
        <pc:spChg chg="del mod ord">
          <ac:chgData name="Kate Mun (KYOUNGRAN)" userId="d8a93241-9b9d-4c25-8457-87ffab4b96e2" providerId="ADAL" clId="{D0392E92-C1C8-4E77-96D0-D493DA4AC621}" dt="2022-10-19T02:42:16.546" v="32251" actId="478"/>
          <ac:spMkLst>
            <pc:docMk/>
            <pc:sldMk cId="3737654729" sldId="2147470349"/>
            <ac:spMk id="2" creationId="{4068EBDE-A141-09B1-5620-CBCEF6DDFE57}"/>
          </ac:spMkLst>
        </pc:spChg>
        <pc:spChg chg="add del mod">
          <ac:chgData name="Kate Mun (KYOUNGRAN)" userId="d8a93241-9b9d-4c25-8457-87ffab4b96e2" providerId="ADAL" clId="{D0392E92-C1C8-4E77-96D0-D493DA4AC621}" dt="2022-10-19T02:43:31.045" v="32267" actId="478"/>
          <ac:spMkLst>
            <pc:docMk/>
            <pc:sldMk cId="3737654729" sldId="2147470349"/>
            <ac:spMk id="3" creationId="{356BC776-78EE-0EF0-D7EE-ED73C2CBCF5F}"/>
          </ac:spMkLst>
        </pc:spChg>
        <pc:spChg chg="mod ord">
          <ac:chgData name="Kate Mun (KYOUNGRAN)" userId="d8a93241-9b9d-4c25-8457-87ffab4b96e2" providerId="ADAL" clId="{D0392E92-C1C8-4E77-96D0-D493DA4AC621}" dt="2022-10-19T02:43:28.232" v="32266" actId="700"/>
          <ac:spMkLst>
            <pc:docMk/>
            <pc:sldMk cId="3737654729" sldId="2147470349"/>
            <ac:spMk id="4" creationId="{949B7981-C7E7-0DC7-63BD-29C450500D2F}"/>
          </ac:spMkLst>
        </pc:spChg>
        <pc:spChg chg="add mod">
          <ac:chgData name="Kate Mun (KYOUNGRAN)" userId="d8a93241-9b9d-4c25-8457-87ffab4b96e2" providerId="ADAL" clId="{D0392E92-C1C8-4E77-96D0-D493DA4AC621}" dt="2022-10-04T04:45:14.217" v="15313" actId="14100"/>
          <ac:spMkLst>
            <pc:docMk/>
            <pc:sldMk cId="3737654729" sldId="2147470349"/>
            <ac:spMk id="7" creationId="{9C78656D-F600-6591-CBB8-D849B785677E}"/>
          </ac:spMkLst>
        </pc:spChg>
        <pc:spChg chg="add mod">
          <ac:chgData name="Kate Mun (KYOUNGRAN)" userId="d8a93241-9b9d-4c25-8457-87ffab4b96e2" providerId="ADAL" clId="{D0392E92-C1C8-4E77-96D0-D493DA4AC621}" dt="2022-10-04T04:45:41.360" v="15324" actId="1035"/>
          <ac:spMkLst>
            <pc:docMk/>
            <pc:sldMk cId="3737654729" sldId="2147470349"/>
            <ac:spMk id="8" creationId="{CB9BC5A3-51DD-C0EC-9278-089198406EAD}"/>
          </ac:spMkLst>
        </pc:spChg>
        <pc:spChg chg="add del mod">
          <ac:chgData name="Kate Mun (KYOUNGRAN)" userId="d8a93241-9b9d-4c25-8457-87ffab4b96e2" providerId="ADAL" clId="{D0392E92-C1C8-4E77-96D0-D493DA4AC621}" dt="2022-10-19T02:42:19.969" v="32252" actId="478"/>
          <ac:spMkLst>
            <pc:docMk/>
            <pc:sldMk cId="3737654729" sldId="2147470349"/>
            <ac:spMk id="10" creationId="{76110301-E206-9F4C-7C75-D99A10E4432B}"/>
          </ac:spMkLst>
        </pc:spChg>
        <pc:spChg chg="add del mod ord">
          <ac:chgData name="Kate Mun (KYOUNGRAN)" userId="d8a93241-9b9d-4c25-8457-87ffab4b96e2" providerId="ADAL" clId="{D0392E92-C1C8-4E77-96D0-D493DA4AC621}" dt="2022-10-19T02:43:28.232" v="32266" actId="700"/>
          <ac:spMkLst>
            <pc:docMk/>
            <pc:sldMk cId="3737654729" sldId="2147470349"/>
            <ac:spMk id="11" creationId="{DBA5BB98-4AE8-5712-B07D-33BB9F87B08D}"/>
          </ac:spMkLst>
        </pc:spChg>
        <pc:spChg chg="add mod">
          <ac:chgData name="Kate Mun (KYOUNGRAN)" userId="d8a93241-9b9d-4c25-8457-87ffab4b96e2" providerId="ADAL" clId="{D0392E92-C1C8-4E77-96D0-D493DA4AC621}" dt="2022-10-19T02:43:35.599" v="32268"/>
          <ac:spMkLst>
            <pc:docMk/>
            <pc:sldMk cId="3737654729" sldId="2147470349"/>
            <ac:spMk id="12" creationId="{ADD549D3-9FDA-5AE7-410B-7DC4D7075863}"/>
          </ac:spMkLst>
        </pc:spChg>
        <pc:spChg chg="add mod">
          <ac:chgData name="Kate Mun (KYOUNGRAN)" userId="d8a93241-9b9d-4c25-8457-87ffab4b96e2" providerId="ADAL" clId="{D0392E92-C1C8-4E77-96D0-D493DA4AC621}" dt="2022-10-04T04:57:30.066" v="15532" actId="1582"/>
          <ac:spMkLst>
            <pc:docMk/>
            <pc:sldMk cId="3737654729" sldId="2147470349"/>
            <ac:spMk id="14" creationId="{7D6BD0A8-AE8C-DE06-B73C-0BFFB679714D}"/>
          </ac:spMkLst>
        </pc:spChg>
        <pc:spChg chg="add mod">
          <ac:chgData name="Kate Mun (KYOUNGRAN)" userId="d8a93241-9b9d-4c25-8457-87ffab4b96e2" providerId="ADAL" clId="{D0392E92-C1C8-4E77-96D0-D493DA4AC621}" dt="2022-10-04T04:57:42.913" v="15535" actId="14100"/>
          <ac:spMkLst>
            <pc:docMk/>
            <pc:sldMk cId="3737654729" sldId="2147470349"/>
            <ac:spMk id="15" creationId="{507AEC98-3029-B4D0-8778-028BDF78E339}"/>
          </ac:spMkLst>
        </pc:spChg>
        <pc:grpChg chg="add mod">
          <ac:chgData name="Kate Mun (KYOUNGRAN)" userId="d8a93241-9b9d-4c25-8457-87ffab4b96e2" providerId="ADAL" clId="{D0392E92-C1C8-4E77-96D0-D493DA4AC621}" dt="2022-10-04T06:08:25.100" v="16522" actId="14100"/>
          <ac:grpSpMkLst>
            <pc:docMk/>
            <pc:sldMk cId="3737654729" sldId="2147470349"/>
            <ac:grpSpMk id="9" creationId="{5E0C9BB5-39B0-8568-14F6-8BFF2ED169C0}"/>
          </ac:grpSpMkLst>
        </pc:grpChg>
        <pc:grpChg chg="add mod">
          <ac:chgData name="Kate Mun (KYOUNGRAN)" userId="d8a93241-9b9d-4c25-8457-87ffab4b96e2" providerId="ADAL" clId="{D0392E92-C1C8-4E77-96D0-D493DA4AC621}" dt="2022-10-04T06:08:32.899" v="16544" actId="1037"/>
          <ac:grpSpMkLst>
            <pc:docMk/>
            <pc:sldMk cId="3737654729" sldId="2147470349"/>
            <ac:grpSpMk id="16" creationId="{A0D9EE56-9CFD-F0F7-2EBC-3E2D3ACD7CC1}"/>
          </ac:grpSpMkLst>
        </pc:grpChg>
        <pc:picChg chg="add mod">
          <ac:chgData name="Kate Mun (KYOUNGRAN)" userId="d8a93241-9b9d-4c25-8457-87ffab4b96e2" providerId="ADAL" clId="{D0392E92-C1C8-4E77-96D0-D493DA4AC621}" dt="2022-10-04T04:45:20.439" v="15316" actId="1076"/>
          <ac:picMkLst>
            <pc:docMk/>
            <pc:sldMk cId="3737654729" sldId="2147470349"/>
            <ac:picMk id="5" creationId="{D796E198-7014-3E5E-D75C-8B0E3C798575}"/>
          </ac:picMkLst>
        </pc:picChg>
        <pc:picChg chg="del mod">
          <ac:chgData name="Kate Mun (KYOUNGRAN)" userId="d8a93241-9b9d-4c25-8457-87ffab4b96e2" providerId="ADAL" clId="{D0392E92-C1C8-4E77-96D0-D493DA4AC621}" dt="2022-10-04T04:44:06.125" v="15239" actId="478"/>
          <ac:picMkLst>
            <pc:docMk/>
            <pc:sldMk cId="3737654729" sldId="2147470349"/>
            <ac:picMk id="6" creationId="{0D4D03A5-DEB0-80CE-36C4-BE19AED60725}"/>
          </ac:picMkLst>
        </pc:picChg>
        <pc:picChg chg="add del">
          <ac:chgData name="Kate Mun (KYOUNGRAN)" userId="d8a93241-9b9d-4c25-8457-87ffab4b96e2" providerId="ADAL" clId="{D0392E92-C1C8-4E77-96D0-D493DA4AC621}" dt="2022-10-04T04:56:22.410" v="15519" actId="478"/>
          <ac:picMkLst>
            <pc:docMk/>
            <pc:sldMk cId="3737654729" sldId="2147470349"/>
            <ac:picMk id="11" creationId="{FD17B6C9-D05B-E883-D0CA-24F72EDF1105}"/>
          </ac:picMkLst>
        </pc:picChg>
        <pc:picChg chg="add mod">
          <ac:chgData name="Kate Mun (KYOUNGRAN)" userId="d8a93241-9b9d-4c25-8457-87ffab4b96e2" providerId="ADAL" clId="{D0392E92-C1C8-4E77-96D0-D493DA4AC621}" dt="2022-10-04T04:57:01.378" v="15528" actId="208"/>
          <ac:picMkLst>
            <pc:docMk/>
            <pc:sldMk cId="3737654729" sldId="2147470349"/>
            <ac:picMk id="13" creationId="{E827FB58-E9D9-D43D-036D-F188BAF8D4E9}"/>
          </ac:picMkLst>
        </pc:picChg>
      </pc:sldChg>
      <pc:sldChg chg="modSp mod chgLayout">
        <pc:chgData name="Kate Mun (KYOUNGRAN)" userId="d8a93241-9b9d-4c25-8457-87ffab4b96e2" providerId="ADAL" clId="{D0392E92-C1C8-4E77-96D0-D493DA4AC621}" dt="2022-10-19T01:52:07.843" v="31295" actId="404"/>
        <pc:sldMkLst>
          <pc:docMk/>
          <pc:sldMk cId="939806284" sldId="2147470350"/>
        </pc:sldMkLst>
        <pc:spChg chg="mod ord">
          <ac:chgData name="Kate Mun (KYOUNGRAN)" userId="d8a93241-9b9d-4c25-8457-87ffab4b96e2" providerId="ADAL" clId="{D0392E92-C1C8-4E77-96D0-D493DA4AC621}" dt="2022-10-19T01:34:32.831" v="31210" actId="700"/>
          <ac:spMkLst>
            <pc:docMk/>
            <pc:sldMk cId="939806284" sldId="2147470350"/>
            <ac:spMk id="2" creationId="{C9355748-2E5A-FF43-B041-EDECD4D2DAAD}"/>
          </ac:spMkLst>
        </pc:spChg>
        <pc:spChg chg="mod ord">
          <ac:chgData name="Kate Mun (KYOUNGRAN)" userId="d8a93241-9b9d-4c25-8457-87ffab4b96e2" providerId="ADAL" clId="{D0392E92-C1C8-4E77-96D0-D493DA4AC621}" dt="2022-10-19T01:52:07.843" v="31295" actId="404"/>
          <ac:spMkLst>
            <pc:docMk/>
            <pc:sldMk cId="939806284" sldId="2147470350"/>
            <ac:spMk id="5" creationId="{0F85905A-5E01-8F50-E18C-9D227C507F1C}"/>
          </ac:spMkLst>
        </pc:spChg>
      </pc:sldChg>
      <pc:sldChg chg="modSp mod chgLayout">
        <pc:chgData name="Kate Mun (KYOUNGRAN)" userId="d8a93241-9b9d-4c25-8457-87ffab4b96e2" providerId="ADAL" clId="{D0392E92-C1C8-4E77-96D0-D493DA4AC621}" dt="2022-10-19T01:34:32.831" v="31210" actId="700"/>
        <pc:sldMkLst>
          <pc:docMk/>
          <pc:sldMk cId="3170705865" sldId="2147470351"/>
        </pc:sldMkLst>
        <pc:spChg chg="mod ord">
          <ac:chgData name="Kate Mun (KYOUNGRAN)" userId="d8a93241-9b9d-4c25-8457-87ffab4b96e2" providerId="ADAL" clId="{D0392E92-C1C8-4E77-96D0-D493DA4AC621}" dt="2022-10-19T01:34:32.831" v="31210" actId="700"/>
          <ac:spMkLst>
            <pc:docMk/>
            <pc:sldMk cId="3170705865" sldId="2147470351"/>
            <ac:spMk id="2" creationId="{C9355748-2E5A-FF43-B041-EDECD4D2DAAD}"/>
          </ac:spMkLst>
        </pc:spChg>
        <pc:spChg chg="mod ord">
          <ac:chgData name="Kate Mun (KYOUNGRAN)" userId="d8a93241-9b9d-4c25-8457-87ffab4b96e2" providerId="ADAL" clId="{D0392E92-C1C8-4E77-96D0-D493DA4AC621}" dt="2022-10-19T01:34:32.831" v="31210" actId="700"/>
          <ac:spMkLst>
            <pc:docMk/>
            <pc:sldMk cId="3170705865" sldId="2147470351"/>
            <ac:spMk id="5" creationId="{0F85905A-5E01-8F50-E18C-9D227C507F1C}"/>
          </ac:spMkLst>
        </pc:spChg>
      </pc:sldChg>
      <pc:sldChg chg="modSp mod">
        <pc:chgData name="Kate Mun (KYOUNGRAN)" userId="d8a93241-9b9d-4c25-8457-87ffab4b96e2" providerId="ADAL" clId="{D0392E92-C1C8-4E77-96D0-D493DA4AC621}" dt="2022-10-19T01:37:02.057" v="31225" actId="255"/>
        <pc:sldMkLst>
          <pc:docMk/>
          <pc:sldMk cId="1440193458" sldId="2147470352"/>
        </pc:sldMkLst>
        <pc:spChg chg="mod">
          <ac:chgData name="Kate Mun (KYOUNGRAN)" userId="d8a93241-9b9d-4c25-8457-87ffab4b96e2" providerId="ADAL" clId="{D0392E92-C1C8-4E77-96D0-D493DA4AC621}" dt="2022-10-19T01:37:02.057" v="31225" actId="255"/>
          <ac:spMkLst>
            <pc:docMk/>
            <pc:sldMk cId="1440193458" sldId="2147470352"/>
            <ac:spMk id="5" creationId="{F01C4DE8-FED9-4360-822F-E4430EDF3049}"/>
          </ac:spMkLst>
        </pc:spChg>
      </pc:sldChg>
      <pc:sldChg chg="modSp mod chgLayout">
        <pc:chgData name="Kate Mun (KYOUNGRAN)" userId="d8a93241-9b9d-4c25-8457-87ffab4b96e2" providerId="ADAL" clId="{D0392E92-C1C8-4E77-96D0-D493DA4AC621}" dt="2022-10-19T01:34:44.059" v="31212" actId="700"/>
        <pc:sldMkLst>
          <pc:docMk/>
          <pc:sldMk cId="1553434701" sldId="2147470353"/>
        </pc:sldMkLst>
        <pc:spChg chg="mod ord">
          <ac:chgData name="Kate Mun (KYOUNGRAN)" userId="d8a93241-9b9d-4c25-8457-87ffab4b96e2" providerId="ADAL" clId="{D0392E92-C1C8-4E77-96D0-D493DA4AC621}" dt="2022-10-19T01:34:44.059" v="31212" actId="700"/>
          <ac:spMkLst>
            <pc:docMk/>
            <pc:sldMk cId="1553434701" sldId="2147470353"/>
            <ac:spMk id="2" creationId="{C9355748-2E5A-FF43-B041-EDECD4D2DAAD}"/>
          </ac:spMkLst>
        </pc:spChg>
        <pc:spChg chg="mod ord">
          <ac:chgData name="Kate Mun (KYOUNGRAN)" userId="d8a93241-9b9d-4c25-8457-87ffab4b96e2" providerId="ADAL" clId="{D0392E92-C1C8-4E77-96D0-D493DA4AC621}" dt="2022-10-19T01:34:44.059" v="31212" actId="700"/>
          <ac:spMkLst>
            <pc:docMk/>
            <pc:sldMk cId="1553434701" sldId="2147470353"/>
            <ac:spMk id="5" creationId="{0F85905A-5E01-8F50-E18C-9D227C507F1C}"/>
          </ac:spMkLst>
        </pc:spChg>
      </pc:sldChg>
      <pc:sldChg chg="modSp add mod chgLayout">
        <pc:chgData name="Kate Mun (KYOUNGRAN)" userId="d8a93241-9b9d-4c25-8457-87ffab4b96e2" providerId="ADAL" clId="{D0392E92-C1C8-4E77-96D0-D493DA4AC621}" dt="2022-10-19T04:11:19.886" v="32653" actId="1076"/>
        <pc:sldMkLst>
          <pc:docMk/>
          <pc:sldMk cId="2181270980" sldId="2147470354"/>
        </pc:sldMkLst>
        <pc:spChg chg="mod ord">
          <ac:chgData name="Kate Mun (KYOUNGRAN)" userId="d8a93241-9b9d-4c25-8457-87ffab4b96e2" providerId="ADAL" clId="{D0392E92-C1C8-4E77-96D0-D493DA4AC621}" dt="2022-10-19T02:47:43.016" v="32384" actId="20577"/>
          <ac:spMkLst>
            <pc:docMk/>
            <pc:sldMk cId="2181270980" sldId="2147470354"/>
            <ac:spMk id="2" creationId="{4068EBDE-A141-09B1-5620-CBCEF6DDFE57}"/>
          </ac:spMkLst>
        </pc:spChg>
        <pc:spChg chg="mod ord">
          <ac:chgData name="Kate Mun (KYOUNGRAN)" userId="d8a93241-9b9d-4c25-8457-87ffab4b96e2" providerId="ADAL" clId="{D0392E92-C1C8-4E77-96D0-D493DA4AC621}" dt="2022-10-19T04:11:15.486" v="32652" actId="15"/>
          <ac:spMkLst>
            <pc:docMk/>
            <pc:sldMk cId="2181270980" sldId="2147470354"/>
            <ac:spMk id="4" creationId="{949B7981-C7E7-0DC7-63BD-29C450500D2F}"/>
          </ac:spMkLst>
        </pc:spChg>
        <pc:grpChg chg="mod">
          <ac:chgData name="Kate Mun (KYOUNGRAN)" userId="d8a93241-9b9d-4c25-8457-87ffab4b96e2" providerId="ADAL" clId="{D0392E92-C1C8-4E77-96D0-D493DA4AC621}" dt="2022-10-19T04:11:19.886" v="32653" actId="1076"/>
          <ac:grpSpMkLst>
            <pc:docMk/>
            <pc:sldMk cId="2181270980" sldId="2147470354"/>
            <ac:grpSpMk id="3" creationId="{55C49BF8-5903-5DFB-31DE-0CB081CA9E2F}"/>
          </ac:grpSpMkLst>
        </pc:grpChg>
      </pc:sldChg>
      <pc:sldChg chg="modSp mod chgLayout">
        <pc:chgData name="Kate Mun (KYOUNGRAN)" userId="d8a93241-9b9d-4c25-8457-87ffab4b96e2" providerId="ADAL" clId="{D0392E92-C1C8-4E77-96D0-D493DA4AC621}" dt="2022-10-19T01:34:44.059" v="31212" actId="700"/>
        <pc:sldMkLst>
          <pc:docMk/>
          <pc:sldMk cId="899189971" sldId="2147470355"/>
        </pc:sldMkLst>
        <pc:spChg chg="mod ord">
          <ac:chgData name="Kate Mun (KYOUNGRAN)" userId="d8a93241-9b9d-4c25-8457-87ffab4b96e2" providerId="ADAL" clId="{D0392E92-C1C8-4E77-96D0-D493DA4AC621}" dt="2022-10-19T01:34:44.059" v="31212" actId="700"/>
          <ac:spMkLst>
            <pc:docMk/>
            <pc:sldMk cId="899189971" sldId="2147470355"/>
            <ac:spMk id="2" creationId="{C9355748-2E5A-FF43-B041-EDECD4D2DAAD}"/>
          </ac:spMkLst>
        </pc:spChg>
        <pc:spChg chg="mod ord">
          <ac:chgData name="Kate Mun (KYOUNGRAN)" userId="d8a93241-9b9d-4c25-8457-87ffab4b96e2" providerId="ADAL" clId="{D0392E92-C1C8-4E77-96D0-D493DA4AC621}" dt="2022-10-19T01:34:44.059" v="31212" actId="700"/>
          <ac:spMkLst>
            <pc:docMk/>
            <pc:sldMk cId="899189971" sldId="2147470355"/>
            <ac:spMk id="5" creationId="{0F85905A-5E01-8F50-E18C-9D227C507F1C}"/>
          </ac:spMkLst>
        </pc:spChg>
      </pc:sldChg>
      <pc:sldChg chg="modSp mod chgLayout">
        <pc:chgData name="Kate Mun (KYOUNGRAN)" userId="d8a93241-9b9d-4c25-8457-87ffab4b96e2" providerId="ADAL" clId="{D0392E92-C1C8-4E77-96D0-D493DA4AC621}" dt="2022-10-19T01:34:44.059" v="31212" actId="700"/>
        <pc:sldMkLst>
          <pc:docMk/>
          <pc:sldMk cId="1902512517" sldId="2147470356"/>
        </pc:sldMkLst>
        <pc:spChg chg="mod ord">
          <ac:chgData name="Kate Mun (KYOUNGRAN)" userId="d8a93241-9b9d-4c25-8457-87ffab4b96e2" providerId="ADAL" clId="{D0392E92-C1C8-4E77-96D0-D493DA4AC621}" dt="2022-10-19T01:34:44.059" v="31212" actId="700"/>
          <ac:spMkLst>
            <pc:docMk/>
            <pc:sldMk cId="1902512517" sldId="2147470356"/>
            <ac:spMk id="2" creationId="{C9355748-2E5A-FF43-B041-EDECD4D2DAAD}"/>
          </ac:spMkLst>
        </pc:spChg>
        <pc:spChg chg="mod ord">
          <ac:chgData name="Kate Mun (KYOUNGRAN)" userId="d8a93241-9b9d-4c25-8457-87ffab4b96e2" providerId="ADAL" clId="{D0392E92-C1C8-4E77-96D0-D493DA4AC621}" dt="2022-10-19T01:34:44.059" v="31212" actId="700"/>
          <ac:spMkLst>
            <pc:docMk/>
            <pc:sldMk cId="1902512517" sldId="2147470356"/>
            <ac:spMk id="5" creationId="{0F85905A-5E01-8F50-E18C-9D227C507F1C}"/>
          </ac:spMkLst>
        </pc:spChg>
      </pc:sldChg>
      <pc:sldChg chg="modSp mod chgLayout">
        <pc:chgData name="Kate Mun (KYOUNGRAN)" userId="d8a93241-9b9d-4c25-8457-87ffab4b96e2" providerId="ADAL" clId="{D0392E92-C1C8-4E77-96D0-D493DA4AC621}" dt="2022-10-19T01:34:44.059" v="31212" actId="700"/>
        <pc:sldMkLst>
          <pc:docMk/>
          <pc:sldMk cId="812290709" sldId="2147470357"/>
        </pc:sldMkLst>
        <pc:spChg chg="mod ord">
          <ac:chgData name="Kate Mun (KYOUNGRAN)" userId="d8a93241-9b9d-4c25-8457-87ffab4b96e2" providerId="ADAL" clId="{D0392E92-C1C8-4E77-96D0-D493DA4AC621}" dt="2022-10-19T01:34:44.059" v="31212" actId="700"/>
          <ac:spMkLst>
            <pc:docMk/>
            <pc:sldMk cId="812290709" sldId="2147470357"/>
            <ac:spMk id="2" creationId="{C9355748-2E5A-FF43-B041-EDECD4D2DAAD}"/>
          </ac:spMkLst>
        </pc:spChg>
        <pc:spChg chg="mod ord">
          <ac:chgData name="Kate Mun (KYOUNGRAN)" userId="d8a93241-9b9d-4c25-8457-87ffab4b96e2" providerId="ADAL" clId="{D0392E92-C1C8-4E77-96D0-D493DA4AC621}" dt="2022-10-19T01:34:44.059" v="31212" actId="700"/>
          <ac:spMkLst>
            <pc:docMk/>
            <pc:sldMk cId="812290709" sldId="2147470357"/>
            <ac:spMk id="5" creationId="{0F85905A-5E01-8F50-E18C-9D227C507F1C}"/>
          </ac:spMkLst>
        </pc:spChg>
      </pc:sldChg>
      <pc:sldChg chg="modSp mod chgLayout">
        <pc:chgData name="Kate Mun (KYOUNGRAN)" userId="d8a93241-9b9d-4c25-8457-87ffab4b96e2" providerId="ADAL" clId="{D0392E92-C1C8-4E77-96D0-D493DA4AC621}" dt="2022-10-19T01:34:44.059" v="31212" actId="700"/>
        <pc:sldMkLst>
          <pc:docMk/>
          <pc:sldMk cId="3823023131" sldId="2147470358"/>
        </pc:sldMkLst>
        <pc:spChg chg="mod ord">
          <ac:chgData name="Kate Mun (KYOUNGRAN)" userId="d8a93241-9b9d-4c25-8457-87ffab4b96e2" providerId="ADAL" clId="{D0392E92-C1C8-4E77-96D0-D493DA4AC621}" dt="2022-10-19T01:34:44.059" v="31212" actId="700"/>
          <ac:spMkLst>
            <pc:docMk/>
            <pc:sldMk cId="3823023131" sldId="2147470358"/>
            <ac:spMk id="2" creationId="{C9355748-2E5A-FF43-B041-EDECD4D2DAAD}"/>
          </ac:spMkLst>
        </pc:spChg>
        <pc:spChg chg="mod ord">
          <ac:chgData name="Kate Mun (KYOUNGRAN)" userId="d8a93241-9b9d-4c25-8457-87ffab4b96e2" providerId="ADAL" clId="{D0392E92-C1C8-4E77-96D0-D493DA4AC621}" dt="2022-10-19T01:34:44.059" v="31212" actId="700"/>
          <ac:spMkLst>
            <pc:docMk/>
            <pc:sldMk cId="3823023131" sldId="2147470358"/>
            <ac:spMk id="5" creationId="{0F85905A-5E01-8F50-E18C-9D227C507F1C}"/>
          </ac:spMkLst>
        </pc:spChg>
      </pc:sldChg>
      <pc:sldChg chg="addSp delSp modSp mod chgLayout">
        <pc:chgData name="Kate Mun (KYOUNGRAN)" userId="d8a93241-9b9d-4c25-8457-87ffab4b96e2" providerId="ADAL" clId="{D0392E92-C1C8-4E77-96D0-D493DA4AC621}" dt="2022-10-19T01:34:44.059" v="31212" actId="700"/>
        <pc:sldMkLst>
          <pc:docMk/>
          <pc:sldMk cId="2764392082" sldId="2147470359"/>
        </pc:sldMkLst>
        <pc:spChg chg="mod ord">
          <ac:chgData name="Kate Mun (KYOUNGRAN)" userId="d8a93241-9b9d-4c25-8457-87ffab4b96e2" providerId="ADAL" clId="{D0392E92-C1C8-4E77-96D0-D493DA4AC621}" dt="2022-10-19T01:34:44.059" v="31212" actId="700"/>
          <ac:spMkLst>
            <pc:docMk/>
            <pc:sldMk cId="2764392082" sldId="2147470359"/>
            <ac:spMk id="2" creationId="{C9355748-2E5A-FF43-B041-EDECD4D2DAAD}"/>
          </ac:spMkLst>
        </pc:spChg>
        <pc:spChg chg="add del mod ord">
          <ac:chgData name="Kate Mun (KYOUNGRAN)" userId="d8a93241-9b9d-4c25-8457-87ffab4b96e2" providerId="ADAL" clId="{D0392E92-C1C8-4E77-96D0-D493DA4AC621}" dt="2022-10-19T01:30:52.917" v="31201" actId="700"/>
          <ac:spMkLst>
            <pc:docMk/>
            <pc:sldMk cId="2764392082" sldId="2147470359"/>
            <ac:spMk id="3" creationId="{D806BA0B-5DB5-C037-6F97-4EEE447A5879}"/>
          </ac:spMkLst>
        </pc:spChg>
        <pc:spChg chg="mod ord">
          <ac:chgData name="Kate Mun (KYOUNGRAN)" userId="d8a93241-9b9d-4c25-8457-87ffab4b96e2" providerId="ADAL" clId="{D0392E92-C1C8-4E77-96D0-D493DA4AC621}" dt="2022-10-19T01:34:44.059" v="31212" actId="700"/>
          <ac:spMkLst>
            <pc:docMk/>
            <pc:sldMk cId="2764392082" sldId="2147470359"/>
            <ac:spMk id="5" creationId="{0F85905A-5E01-8F50-E18C-9D227C507F1C}"/>
          </ac:spMkLst>
        </pc:spChg>
      </pc:sldChg>
      <pc:sldChg chg="delSp modSp add del mod ord">
        <pc:chgData name="Kate Mun (KYOUNGRAN)" userId="d8a93241-9b9d-4c25-8457-87ffab4b96e2" providerId="ADAL" clId="{D0392E92-C1C8-4E77-96D0-D493DA4AC621}" dt="2022-10-05T07:12:45.849" v="23799" actId="47"/>
        <pc:sldMkLst>
          <pc:docMk/>
          <pc:sldMk cId="294156996" sldId="2147470360"/>
        </pc:sldMkLst>
        <pc:spChg chg="mod">
          <ac:chgData name="Kate Mun (KYOUNGRAN)" userId="d8a93241-9b9d-4c25-8457-87ffab4b96e2" providerId="ADAL" clId="{D0392E92-C1C8-4E77-96D0-D493DA4AC621}" dt="2022-10-04T07:08:29.985" v="18031" actId="20577"/>
          <ac:spMkLst>
            <pc:docMk/>
            <pc:sldMk cId="294156996" sldId="2147470360"/>
            <ac:spMk id="2" creationId="{4068EBDE-A141-09B1-5620-CBCEF6DDFE57}"/>
          </ac:spMkLst>
        </pc:spChg>
        <pc:spChg chg="mod">
          <ac:chgData name="Kate Mun (KYOUNGRAN)" userId="d8a93241-9b9d-4c25-8457-87ffab4b96e2" providerId="ADAL" clId="{D0392E92-C1C8-4E77-96D0-D493DA4AC621}" dt="2022-10-04T04:50:22.755" v="15467" actId="20577"/>
          <ac:spMkLst>
            <pc:docMk/>
            <pc:sldMk cId="294156996" sldId="2147470360"/>
            <ac:spMk id="3" creationId="{D74B672D-2696-6CA1-DC7F-F18D1C562407}"/>
          </ac:spMkLst>
        </pc:spChg>
        <pc:spChg chg="del">
          <ac:chgData name="Kate Mun (KYOUNGRAN)" userId="d8a93241-9b9d-4c25-8457-87ffab4b96e2" providerId="ADAL" clId="{D0392E92-C1C8-4E77-96D0-D493DA4AC621}" dt="2022-10-04T04:50:29.939" v="15470" actId="478"/>
          <ac:spMkLst>
            <pc:docMk/>
            <pc:sldMk cId="294156996" sldId="2147470360"/>
            <ac:spMk id="13" creationId="{AC389773-81AF-05A3-DB05-ACC9F30548FD}"/>
          </ac:spMkLst>
        </pc:spChg>
        <pc:spChg chg="del">
          <ac:chgData name="Kate Mun (KYOUNGRAN)" userId="d8a93241-9b9d-4c25-8457-87ffab4b96e2" providerId="ADAL" clId="{D0392E92-C1C8-4E77-96D0-D493DA4AC621}" dt="2022-10-04T04:50:29.939" v="15470" actId="478"/>
          <ac:spMkLst>
            <pc:docMk/>
            <pc:sldMk cId="294156996" sldId="2147470360"/>
            <ac:spMk id="14" creationId="{55714913-A428-897B-5410-268700C15C53}"/>
          </ac:spMkLst>
        </pc:spChg>
        <pc:spChg chg="del">
          <ac:chgData name="Kate Mun (KYOUNGRAN)" userId="d8a93241-9b9d-4c25-8457-87ffab4b96e2" providerId="ADAL" clId="{D0392E92-C1C8-4E77-96D0-D493DA4AC621}" dt="2022-10-04T04:50:29.939" v="15470" actId="478"/>
          <ac:spMkLst>
            <pc:docMk/>
            <pc:sldMk cId="294156996" sldId="2147470360"/>
            <ac:spMk id="15" creationId="{BEBDE5D3-8D1B-D63C-E01E-3430F2D4A859}"/>
          </ac:spMkLst>
        </pc:spChg>
        <pc:spChg chg="del">
          <ac:chgData name="Kate Mun (KYOUNGRAN)" userId="d8a93241-9b9d-4c25-8457-87ffab4b96e2" providerId="ADAL" clId="{D0392E92-C1C8-4E77-96D0-D493DA4AC621}" dt="2022-10-04T04:50:29.939" v="15470" actId="478"/>
          <ac:spMkLst>
            <pc:docMk/>
            <pc:sldMk cId="294156996" sldId="2147470360"/>
            <ac:spMk id="16" creationId="{2CC79E05-3678-23C3-4412-B5365A5E50BB}"/>
          </ac:spMkLst>
        </pc:spChg>
        <pc:picChg chg="del">
          <ac:chgData name="Kate Mun (KYOUNGRAN)" userId="d8a93241-9b9d-4c25-8457-87ffab4b96e2" providerId="ADAL" clId="{D0392E92-C1C8-4E77-96D0-D493DA4AC621}" dt="2022-10-04T04:50:24.535" v="15468" actId="478"/>
          <ac:picMkLst>
            <pc:docMk/>
            <pc:sldMk cId="294156996" sldId="2147470360"/>
            <ac:picMk id="8" creationId="{D81E3290-B57B-358B-80EA-1C21070F23B2}"/>
          </ac:picMkLst>
        </pc:picChg>
        <pc:picChg chg="del">
          <ac:chgData name="Kate Mun (KYOUNGRAN)" userId="d8a93241-9b9d-4c25-8457-87ffab4b96e2" providerId="ADAL" clId="{D0392E92-C1C8-4E77-96D0-D493DA4AC621}" dt="2022-10-04T04:50:26.303" v="15469" actId="478"/>
          <ac:picMkLst>
            <pc:docMk/>
            <pc:sldMk cId="294156996" sldId="2147470360"/>
            <ac:picMk id="10" creationId="{8E51862B-2A8A-009F-0593-C2FB45B96738}"/>
          </ac:picMkLst>
        </pc:picChg>
        <pc:picChg chg="del">
          <ac:chgData name="Kate Mun (KYOUNGRAN)" userId="d8a93241-9b9d-4c25-8457-87ffab4b96e2" providerId="ADAL" clId="{D0392E92-C1C8-4E77-96D0-D493DA4AC621}" dt="2022-10-04T04:50:29.939" v="15470" actId="478"/>
          <ac:picMkLst>
            <pc:docMk/>
            <pc:sldMk cId="294156996" sldId="2147470360"/>
            <ac:picMk id="12" creationId="{5F8B1EFF-E7DE-6008-1E03-1DF2034CC17A}"/>
          </ac:picMkLst>
        </pc:picChg>
      </pc:sldChg>
      <pc:sldChg chg="modSp mod chgLayout">
        <pc:chgData name="Kate Mun (KYOUNGRAN)" userId="d8a93241-9b9d-4c25-8457-87ffab4b96e2" providerId="ADAL" clId="{D0392E92-C1C8-4E77-96D0-D493DA4AC621}" dt="2022-10-19T01:34:44.059" v="31212" actId="700"/>
        <pc:sldMkLst>
          <pc:docMk/>
          <pc:sldMk cId="3644051226" sldId="2147470361"/>
        </pc:sldMkLst>
        <pc:spChg chg="mod ord">
          <ac:chgData name="Kate Mun (KYOUNGRAN)" userId="d8a93241-9b9d-4c25-8457-87ffab4b96e2" providerId="ADAL" clId="{D0392E92-C1C8-4E77-96D0-D493DA4AC621}" dt="2022-10-19T01:34:44.059" v="31212" actId="700"/>
          <ac:spMkLst>
            <pc:docMk/>
            <pc:sldMk cId="3644051226" sldId="2147470361"/>
            <ac:spMk id="2" creationId="{C9355748-2E5A-FF43-B041-EDECD4D2DAAD}"/>
          </ac:spMkLst>
        </pc:spChg>
        <pc:spChg chg="mod ord">
          <ac:chgData name="Kate Mun (KYOUNGRAN)" userId="d8a93241-9b9d-4c25-8457-87ffab4b96e2" providerId="ADAL" clId="{D0392E92-C1C8-4E77-96D0-D493DA4AC621}" dt="2022-10-19T01:34:44.059" v="31212" actId="700"/>
          <ac:spMkLst>
            <pc:docMk/>
            <pc:sldMk cId="3644051226" sldId="2147470361"/>
            <ac:spMk id="5" creationId="{0F85905A-5E01-8F50-E18C-9D227C507F1C}"/>
          </ac:spMkLst>
        </pc:spChg>
      </pc:sldChg>
      <pc:sldChg chg="modSp mod chgLayout">
        <pc:chgData name="Kate Mun (KYOUNGRAN)" userId="d8a93241-9b9d-4c25-8457-87ffab4b96e2" providerId="ADAL" clId="{D0392E92-C1C8-4E77-96D0-D493DA4AC621}" dt="2022-10-19T01:34:44.059" v="31212" actId="700"/>
        <pc:sldMkLst>
          <pc:docMk/>
          <pc:sldMk cId="3639746908" sldId="2147470362"/>
        </pc:sldMkLst>
        <pc:spChg chg="mod ord">
          <ac:chgData name="Kate Mun (KYOUNGRAN)" userId="d8a93241-9b9d-4c25-8457-87ffab4b96e2" providerId="ADAL" clId="{D0392E92-C1C8-4E77-96D0-D493DA4AC621}" dt="2022-10-19T01:34:44.059" v="31212" actId="700"/>
          <ac:spMkLst>
            <pc:docMk/>
            <pc:sldMk cId="3639746908" sldId="2147470362"/>
            <ac:spMk id="2" creationId="{C9355748-2E5A-FF43-B041-EDECD4D2DAAD}"/>
          </ac:spMkLst>
        </pc:spChg>
        <pc:spChg chg="mod ord">
          <ac:chgData name="Kate Mun (KYOUNGRAN)" userId="d8a93241-9b9d-4c25-8457-87ffab4b96e2" providerId="ADAL" clId="{D0392E92-C1C8-4E77-96D0-D493DA4AC621}" dt="2022-10-19T01:34:44.059" v="31212" actId="700"/>
          <ac:spMkLst>
            <pc:docMk/>
            <pc:sldMk cId="3639746908" sldId="2147470362"/>
            <ac:spMk id="5" creationId="{0F85905A-5E01-8F50-E18C-9D227C507F1C}"/>
          </ac:spMkLst>
        </pc:spChg>
      </pc:sldChg>
      <pc:sldChg chg="modSp mod chgLayout">
        <pc:chgData name="Kate Mun (KYOUNGRAN)" userId="d8a93241-9b9d-4c25-8457-87ffab4b96e2" providerId="ADAL" clId="{D0392E92-C1C8-4E77-96D0-D493DA4AC621}" dt="2022-10-19T01:34:44.059" v="31212" actId="700"/>
        <pc:sldMkLst>
          <pc:docMk/>
          <pc:sldMk cId="488341291" sldId="2147470363"/>
        </pc:sldMkLst>
        <pc:spChg chg="mod ord">
          <ac:chgData name="Kate Mun (KYOUNGRAN)" userId="d8a93241-9b9d-4c25-8457-87ffab4b96e2" providerId="ADAL" clId="{D0392E92-C1C8-4E77-96D0-D493DA4AC621}" dt="2022-10-19T01:34:44.059" v="31212" actId="700"/>
          <ac:spMkLst>
            <pc:docMk/>
            <pc:sldMk cId="488341291" sldId="2147470363"/>
            <ac:spMk id="2" creationId="{C9355748-2E5A-FF43-B041-EDECD4D2DAAD}"/>
          </ac:spMkLst>
        </pc:spChg>
        <pc:spChg chg="mod ord">
          <ac:chgData name="Kate Mun (KYOUNGRAN)" userId="d8a93241-9b9d-4c25-8457-87ffab4b96e2" providerId="ADAL" clId="{D0392E92-C1C8-4E77-96D0-D493DA4AC621}" dt="2022-10-19T01:34:44.059" v="31212" actId="700"/>
          <ac:spMkLst>
            <pc:docMk/>
            <pc:sldMk cId="488341291" sldId="2147470363"/>
            <ac:spMk id="5" creationId="{0F85905A-5E01-8F50-E18C-9D227C507F1C}"/>
          </ac:spMkLst>
        </pc:spChg>
      </pc:sldChg>
      <pc:sldChg chg="modSp mod modClrScheme chgLayout">
        <pc:chgData name="Kate Mun (KYOUNGRAN)" userId="d8a93241-9b9d-4c25-8457-87ffab4b96e2" providerId="ADAL" clId="{D0392E92-C1C8-4E77-96D0-D493DA4AC621}" dt="2022-10-19T01:34:23.709" v="31209" actId="700"/>
        <pc:sldMkLst>
          <pc:docMk/>
          <pc:sldMk cId="704714508" sldId="2147470364"/>
        </pc:sldMkLst>
        <pc:spChg chg="mod ord">
          <ac:chgData name="Kate Mun (KYOUNGRAN)" userId="d8a93241-9b9d-4c25-8457-87ffab4b96e2" providerId="ADAL" clId="{D0392E92-C1C8-4E77-96D0-D493DA4AC621}" dt="2022-10-19T01:34:23.709" v="31209" actId="700"/>
          <ac:spMkLst>
            <pc:docMk/>
            <pc:sldMk cId="704714508" sldId="2147470364"/>
            <ac:spMk id="2" creationId="{C9355748-2E5A-FF43-B041-EDECD4D2DAAD}"/>
          </ac:spMkLst>
        </pc:spChg>
        <pc:spChg chg="mod ord">
          <ac:chgData name="Kate Mun (KYOUNGRAN)" userId="d8a93241-9b9d-4c25-8457-87ffab4b96e2" providerId="ADAL" clId="{D0392E92-C1C8-4E77-96D0-D493DA4AC621}" dt="2022-10-19T01:34:23.709" v="31209" actId="700"/>
          <ac:spMkLst>
            <pc:docMk/>
            <pc:sldMk cId="704714508" sldId="2147470364"/>
            <ac:spMk id="5" creationId="{0F85905A-5E01-8F50-E18C-9D227C507F1C}"/>
          </ac:spMkLst>
        </pc:spChg>
      </pc:sldChg>
      <pc:sldChg chg="addSp delSp modSp add mod chgLayout">
        <pc:chgData name="Kate Mun (KYOUNGRAN)" userId="d8a93241-9b9d-4c25-8457-87ffab4b96e2" providerId="ADAL" clId="{D0392E92-C1C8-4E77-96D0-D493DA4AC621}" dt="2022-10-19T02:53:24.834" v="32457" actId="1076"/>
        <pc:sldMkLst>
          <pc:docMk/>
          <pc:sldMk cId="3607816510" sldId="2147470365"/>
        </pc:sldMkLst>
        <pc:spChg chg="add mod">
          <ac:chgData name="Kate Mun (KYOUNGRAN)" userId="d8a93241-9b9d-4c25-8457-87ffab4b96e2" providerId="ADAL" clId="{D0392E92-C1C8-4E77-96D0-D493DA4AC621}" dt="2022-10-19T02:52:58.599" v="32452" actId="114"/>
          <ac:spMkLst>
            <pc:docMk/>
            <pc:sldMk cId="3607816510" sldId="2147470365"/>
            <ac:spMk id="2" creationId="{4D9809EC-76EC-5C8E-367D-A10FAB9BBC63}"/>
          </ac:spMkLst>
        </pc:spChg>
        <pc:spChg chg="del mod ord">
          <ac:chgData name="Kate Mun (KYOUNGRAN)" userId="d8a93241-9b9d-4c25-8457-87ffab4b96e2" providerId="ADAL" clId="{D0392E92-C1C8-4E77-96D0-D493DA4AC621}" dt="2022-10-19T02:43:52.475" v="32269" actId="478"/>
          <ac:spMkLst>
            <pc:docMk/>
            <pc:sldMk cId="3607816510" sldId="2147470365"/>
            <ac:spMk id="3" creationId="{879E9B72-C08D-4DA0-9A7E-FBD33DD8EB16}"/>
          </ac:spMkLst>
        </pc:spChg>
        <pc:spChg chg="mod ord">
          <ac:chgData name="Kate Mun (KYOUNGRAN)" userId="d8a93241-9b9d-4c25-8457-87ffab4b96e2" providerId="ADAL" clId="{D0392E92-C1C8-4E77-96D0-D493DA4AC621}" dt="2022-10-19T02:51:47.312" v="32437" actId="15"/>
          <ac:spMkLst>
            <pc:docMk/>
            <pc:sldMk cId="3607816510" sldId="2147470365"/>
            <ac:spMk id="10" creationId="{253E5578-4018-DCCC-7572-1B73D121B5E8}"/>
          </ac:spMkLst>
        </pc:spChg>
        <pc:spChg chg="add del mod">
          <ac:chgData name="Kate Mun (KYOUNGRAN)" userId="d8a93241-9b9d-4c25-8457-87ffab4b96e2" providerId="ADAL" clId="{D0392E92-C1C8-4E77-96D0-D493DA4AC621}" dt="2022-10-19T02:43:58.660" v="32271" actId="478"/>
          <ac:spMkLst>
            <pc:docMk/>
            <pc:sldMk cId="3607816510" sldId="2147470365"/>
            <ac:spMk id="12" creationId="{DB4A4787-045E-5883-9918-8CAD8F1675DE}"/>
          </ac:spMkLst>
        </pc:spChg>
        <pc:spChg chg="add del mod">
          <ac:chgData name="Kate Mun (KYOUNGRAN)" userId="d8a93241-9b9d-4c25-8457-87ffab4b96e2" providerId="ADAL" clId="{D0392E92-C1C8-4E77-96D0-D493DA4AC621}" dt="2022-10-19T02:44:22.565" v="32278" actId="478"/>
          <ac:spMkLst>
            <pc:docMk/>
            <pc:sldMk cId="3607816510" sldId="2147470365"/>
            <ac:spMk id="13" creationId="{2A6D6995-A7B9-A5F3-0D99-E6DA04E7C6C2}"/>
          </ac:spMkLst>
        </pc:spChg>
        <pc:spChg chg="add mod">
          <ac:chgData name="Kate Mun (KYOUNGRAN)" userId="d8a93241-9b9d-4c25-8457-87ffab4b96e2" providerId="ADAL" clId="{D0392E92-C1C8-4E77-96D0-D493DA4AC621}" dt="2022-10-19T02:44:25.832" v="32283" actId="20577"/>
          <ac:spMkLst>
            <pc:docMk/>
            <pc:sldMk cId="3607816510" sldId="2147470365"/>
            <ac:spMk id="14" creationId="{99ADC584-2151-5C1D-C0C6-B6B18D75A23A}"/>
          </ac:spMkLst>
        </pc:spChg>
        <pc:spChg chg="add del mod">
          <ac:chgData name="Kate Mun (KYOUNGRAN)" userId="d8a93241-9b9d-4c25-8457-87ffab4b96e2" providerId="ADAL" clId="{D0392E92-C1C8-4E77-96D0-D493DA4AC621}" dt="2022-10-19T02:44:48.598" v="32290"/>
          <ac:spMkLst>
            <pc:docMk/>
            <pc:sldMk cId="3607816510" sldId="2147470365"/>
            <ac:spMk id="15" creationId="{945C9C1E-6D5C-9970-4ED9-38668234F435}"/>
          </ac:spMkLst>
        </pc:spChg>
        <pc:grpChg chg="mod">
          <ac:chgData name="Kate Mun (KYOUNGRAN)" userId="d8a93241-9b9d-4c25-8457-87ffab4b96e2" providerId="ADAL" clId="{D0392E92-C1C8-4E77-96D0-D493DA4AC621}" dt="2022-10-05T04:03:11.123" v="19183" actId="1076"/>
          <ac:grpSpMkLst>
            <pc:docMk/>
            <pc:sldMk cId="3607816510" sldId="2147470365"/>
            <ac:grpSpMk id="9" creationId="{975EA13D-22F9-BE6C-9AF5-95FC392DC52E}"/>
          </ac:grpSpMkLst>
        </pc:grpChg>
        <pc:picChg chg="add mod">
          <ac:chgData name="Kate Mun (KYOUNGRAN)" userId="d8a93241-9b9d-4c25-8457-87ffab4b96e2" providerId="ADAL" clId="{D0392E92-C1C8-4E77-96D0-D493DA4AC621}" dt="2022-10-19T02:53:24.834" v="32457" actId="1076"/>
          <ac:picMkLst>
            <pc:docMk/>
            <pc:sldMk cId="3607816510" sldId="2147470365"/>
            <ac:picMk id="4" creationId="{4C6CC2E2-77B7-8806-E1D9-4B1DBB5267DD}"/>
          </ac:picMkLst>
        </pc:picChg>
      </pc:sldChg>
      <pc:sldChg chg="modSp mod modClrScheme chgLayout">
        <pc:chgData name="Kate Mun (KYOUNGRAN)" userId="d8a93241-9b9d-4c25-8457-87ffab4b96e2" providerId="ADAL" clId="{D0392E92-C1C8-4E77-96D0-D493DA4AC621}" dt="2022-10-19T01:34:23.709" v="31209" actId="700"/>
        <pc:sldMkLst>
          <pc:docMk/>
          <pc:sldMk cId="80441370" sldId="2147470366"/>
        </pc:sldMkLst>
        <pc:spChg chg="mod ord">
          <ac:chgData name="Kate Mun (KYOUNGRAN)" userId="d8a93241-9b9d-4c25-8457-87ffab4b96e2" providerId="ADAL" clId="{D0392E92-C1C8-4E77-96D0-D493DA4AC621}" dt="2022-10-19T01:34:23.709" v="31209" actId="700"/>
          <ac:spMkLst>
            <pc:docMk/>
            <pc:sldMk cId="80441370" sldId="2147470366"/>
            <ac:spMk id="2" creationId="{C9355748-2E5A-FF43-B041-EDECD4D2DAAD}"/>
          </ac:spMkLst>
        </pc:spChg>
        <pc:spChg chg="mod ord">
          <ac:chgData name="Kate Mun (KYOUNGRAN)" userId="d8a93241-9b9d-4c25-8457-87ffab4b96e2" providerId="ADAL" clId="{D0392E92-C1C8-4E77-96D0-D493DA4AC621}" dt="2022-10-19T01:34:23.709" v="31209" actId="700"/>
          <ac:spMkLst>
            <pc:docMk/>
            <pc:sldMk cId="80441370" sldId="2147470366"/>
            <ac:spMk id="5" creationId="{0F85905A-5E01-8F50-E18C-9D227C507F1C}"/>
          </ac:spMkLst>
        </pc:spChg>
      </pc:sldChg>
      <pc:sldChg chg="modSp mod modClrScheme chgLayout">
        <pc:chgData name="Kate Mun (KYOUNGRAN)" userId="d8a93241-9b9d-4c25-8457-87ffab4b96e2" providerId="ADAL" clId="{D0392E92-C1C8-4E77-96D0-D493DA4AC621}" dt="2022-10-19T01:34:23.709" v="31209" actId="700"/>
        <pc:sldMkLst>
          <pc:docMk/>
          <pc:sldMk cId="3187239357" sldId="2147470367"/>
        </pc:sldMkLst>
        <pc:spChg chg="mod ord">
          <ac:chgData name="Kate Mun (KYOUNGRAN)" userId="d8a93241-9b9d-4c25-8457-87ffab4b96e2" providerId="ADAL" clId="{D0392E92-C1C8-4E77-96D0-D493DA4AC621}" dt="2022-10-19T01:34:23.709" v="31209" actId="700"/>
          <ac:spMkLst>
            <pc:docMk/>
            <pc:sldMk cId="3187239357" sldId="2147470367"/>
            <ac:spMk id="2" creationId="{C9355748-2E5A-FF43-B041-EDECD4D2DAAD}"/>
          </ac:spMkLst>
        </pc:spChg>
        <pc:spChg chg="mod ord">
          <ac:chgData name="Kate Mun (KYOUNGRAN)" userId="d8a93241-9b9d-4c25-8457-87ffab4b96e2" providerId="ADAL" clId="{D0392E92-C1C8-4E77-96D0-D493DA4AC621}" dt="2022-10-19T01:34:23.709" v="31209" actId="700"/>
          <ac:spMkLst>
            <pc:docMk/>
            <pc:sldMk cId="3187239357" sldId="2147470367"/>
            <ac:spMk id="5" creationId="{0F85905A-5E01-8F50-E18C-9D227C507F1C}"/>
          </ac:spMkLst>
        </pc:spChg>
      </pc:sldChg>
      <pc:sldChg chg="modSp mod modClrScheme chgLayout">
        <pc:chgData name="Kate Mun (KYOUNGRAN)" userId="d8a93241-9b9d-4c25-8457-87ffab4b96e2" providerId="ADAL" clId="{D0392E92-C1C8-4E77-96D0-D493DA4AC621}" dt="2022-10-19T01:34:23.709" v="31209" actId="700"/>
        <pc:sldMkLst>
          <pc:docMk/>
          <pc:sldMk cId="1071111" sldId="2147470368"/>
        </pc:sldMkLst>
        <pc:spChg chg="mod ord">
          <ac:chgData name="Kate Mun (KYOUNGRAN)" userId="d8a93241-9b9d-4c25-8457-87ffab4b96e2" providerId="ADAL" clId="{D0392E92-C1C8-4E77-96D0-D493DA4AC621}" dt="2022-10-19T01:34:23.709" v="31209" actId="700"/>
          <ac:spMkLst>
            <pc:docMk/>
            <pc:sldMk cId="1071111" sldId="2147470368"/>
            <ac:spMk id="2" creationId="{C9355748-2E5A-FF43-B041-EDECD4D2DAAD}"/>
          </ac:spMkLst>
        </pc:spChg>
        <pc:spChg chg="mod ord">
          <ac:chgData name="Kate Mun (KYOUNGRAN)" userId="d8a93241-9b9d-4c25-8457-87ffab4b96e2" providerId="ADAL" clId="{D0392E92-C1C8-4E77-96D0-D493DA4AC621}" dt="2022-10-19T01:34:23.709" v="31209" actId="700"/>
          <ac:spMkLst>
            <pc:docMk/>
            <pc:sldMk cId="1071111" sldId="2147470368"/>
            <ac:spMk id="5" creationId="{0F85905A-5E01-8F50-E18C-9D227C507F1C}"/>
          </ac:spMkLst>
        </pc:spChg>
      </pc:sldChg>
      <pc:sldChg chg="modSp mod modClrScheme chgLayout">
        <pc:chgData name="Kate Mun (KYOUNGRAN)" userId="d8a93241-9b9d-4c25-8457-87ffab4b96e2" providerId="ADAL" clId="{D0392E92-C1C8-4E77-96D0-D493DA4AC621}" dt="2022-10-19T01:34:23.709" v="31209" actId="700"/>
        <pc:sldMkLst>
          <pc:docMk/>
          <pc:sldMk cId="2634061669" sldId="2147470369"/>
        </pc:sldMkLst>
        <pc:spChg chg="mod ord">
          <ac:chgData name="Kate Mun (KYOUNGRAN)" userId="d8a93241-9b9d-4c25-8457-87ffab4b96e2" providerId="ADAL" clId="{D0392E92-C1C8-4E77-96D0-D493DA4AC621}" dt="2022-10-19T01:34:23.709" v="31209" actId="700"/>
          <ac:spMkLst>
            <pc:docMk/>
            <pc:sldMk cId="2634061669" sldId="2147470369"/>
            <ac:spMk id="2" creationId="{C9355748-2E5A-FF43-B041-EDECD4D2DAAD}"/>
          </ac:spMkLst>
        </pc:spChg>
        <pc:spChg chg="mod ord">
          <ac:chgData name="Kate Mun (KYOUNGRAN)" userId="d8a93241-9b9d-4c25-8457-87ffab4b96e2" providerId="ADAL" clId="{D0392E92-C1C8-4E77-96D0-D493DA4AC621}" dt="2022-10-19T01:34:23.709" v="31209" actId="700"/>
          <ac:spMkLst>
            <pc:docMk/>
            <pc:sldMk cId="2634061669" sldId="2147470369"/>
            <ac:spMk id="5" creationId="{0F85905A-5E01-8F50-E18C-9D227C507F1C}"/>
          </ac:spMkLst>
        </pc:spChg>
      </pc:sldChg>
      <pc:sldChg chg="modSp mod">
        <pc:chgData name="Kate Mun (KYOUNGRAN)" userId="d8a93241-9b9d-4c25-8457-87ffab4b96e2" providerId="ADAL" clId="{D0392E92-C1C8-4E77-96D0-D493DA4AC621}" dt="2022-10-19T01:36:57.080" v="31224" actId="255"/>
        <pc:sldMkLst>
          <pc:docMk/>
          <pc:sldMk cId="2244023964" sldId="2147470370"/>
        </pc:sldMkLst>
        <pc:spChg chg="mod">
          <ac:chgData name="Kate Mun (KYOUNGRAN)" userId="d8a93241-9b9d-4c25-8457-87ffab4b96e2" providerId="ADAL" clId="{D0392E92-C1C8-4E77-96D0-D493DA4AC621}" dt="2022-10-19T01:36:57.080" v="31224" actId="255"/>
          <ac:spMkLst>
            <pc:docMk/>
            <pc:sldMk cId="2244023964" sldId="2147470370"/>
            <ac:spMk id="5" creationId="{F01C4DE8-FED9-4360-822F-E4430EDF3049}"/>
          </ac:spMkLst>
        </pc:spChg>
      </pc:sldChg>
      <pc:sldChg chg="modSp mod chgLayout">
        <pc:chgData name="Kate Mun (KYOUNGRAN)" userId="d8a93241-9b9d-4c25-8457-87ffab4b96e2" providerId="ADAL" clId="{D0392E92-C1C8-4E77-96D0-D493DA4AC621}" dt="2022-10-19T01:34:37.042" v="31211" actId="700"/>
        <pc:sldMkLst>
          <pc:docMk/>
          <pc:sldMk cId="33089797" sldId="2147470371"/>
        </pc:sldMkLst>
        <pc:spChg chg="mod ord">
          <ac:chgData name="Kate Mun (KYOUNGRAN)" userId="d8a93241-9b9d-4c25-8457-87ffab4b96e2" providerId="ADAL" clId="{D0392E92-C1C8-4E77-96D0-D493DA4AC621}" dt="2022-10-19T01:34:37.042" v="31211" actId="700"/>
          <ac:spMkLst>
            <pc:docMk/>
            <pc:sldMk cId="33089797" sldId="2147470371"/>
            <ac:spMk id="2" creationId="{C9355748-2E5A-FF43-B041-EDECD4D2DAAD}"/>
          </ac:spMkLst>
        </pc:spChg>
        <pc:spChg chg="mod ord">
          <ac:chgData name="Kate Mun (KYOUNGRAN)" userId="d8a93241-9b9d-4c25-8457-87ffab4b96e2" providerId="ADAL" clId="{D0392E92-C1C8-4E77-96D0-D493DA4AC621}" dt="2022-10-19T01:34:37.042" v="31211" actId="700"/>
          <ac:spMkLst>
            <pc:docMk/>
            <pc:sldMk cId="33089797" sldId="2147470371"/>
            <ac:spMk id="5" creationId="{0F85905A-5E01-8F50-E18C-9D227C507F1C}"/>
          </ac:spMkLst>
        </pc:spChg>
      </pc:sldChg>
      <pc:sldChg chg="addSp delSp modSp add mod delCm chgLayout modNotesTx">
        <pc:chgData name="Kate Mun (KYOUNGRAN)" userId="d8a93241-9b9d-4c25-8457-87ffab4b96e2" providerId="ADAL" clId="{D0392E92-C1C8-4E77-96D0-D493DA4AC621}" dt="2022-10-19T04:09:45.293" v="32609" actId="15"/>
        <pc:sldMkLst>
          <pc:docMk/>
          <pc:sldMk cId="2433336365" sldId="2147470372"/>
        </pc:sldMkLst>
        <pc:spChg chg="del mod ord">
          <ac:chgData name="Kate Mun (KYOUNGRAN)" userId="d8a93241-9b9d-4c25-8457-87ffab4b96e2" providerId="ADAL" clId="{D0392E92-C1C8-4E77-96D0-D493DA4AC621}" dt="2022-10-19T02:47:15.515" v="32371" actId="478"/>
          <ac:spMkLst>
            <pc:docMk/>
            <pc:sldMk cId="2433336365" sldId="2147470372"/>
            <ac:spMk id="2" creationId="{4068EBDE-A141-09B1-5620-CBCEF6DDFE57}"/>
          </ac:spMkLst>
        </pc:spChg>
        <pc:spChg chg="mod ord">
          <ac:chgData name="Kate Mun (KYOUNGRAN)" userId="d8a93241-9b9d-4c25-8457-87ffab4b96e2" providerId="ADAL" clId="{D0392E92-C1C8-4E77-96D0-D493DA4AC621}" dt="2022-10-19T04:09:45.293" v="32609" actId="15"/>
          <ac:spMkLst>
            <pc:docMk/>
            <pc:sldMk cId="2433336365" sldId="2147470372"/>
            <ac:spMk id="4" creationId="{949B7981-C7E7-0DC7-63BD-29C450500D2F}"/>
          </ac:spMkLst>
        </pc:spChg>
        <pc:spChg chg="add del mod">
          <ac:chgData name="Kate Mun (KYOUNGRAN)" userId="d8a93241-9b9d-4c25-8457-87ffab4b96e2" providerId="ADAL" clId="{D0392E92-C1C8-4E77-96D0-D493DA4AC621}" dt="2022-10-19T02:47:19.543" v="32372" actId="478"/>
          <ac:spMkLst>
            <pc:docMk/>
            <pc:sldMk cId="2433336365" sldId="2147470372"/>
            <ac:spMk id="5" creationId="{C59AD23C-26F8-32C9-857E-ABA43585645A}"/>
          </ac:spMkLst>
        </pc:spChg>
        <pc:spChg chg="add mod">
          <ac:chgData name="Kate Mun (KYOUNGRAN)" userId="d8a93241-9b9d-4c25-8457-87ffab4b96e2" providerId="ADAL" clId="{D0392E92-C1C8-4E77-96D0-D493DA4AC621}" dt="2022-10-19T02:47:20.196" v="32373"/>
          <ac:spMkLst>
            <pc:docMk/>
            <pc:sldMk cId="2433336365" sldId="2147470372"/>
            <ac:spMk id="6" creationId="{ABE93100-E827-9CC6-4E1A-974EA2538F45}"/>
          </ac:spMkLst>
        </pc:spChg>
        <pc:spChg chg="add mod">
          <ac:chgData name="Kate Mun (KYOUNGRAN)" userId="d8a93241-9b9d-4c25-8457-87ffab4b96e2" providerId="ADAL" clId="{D0392E92-C1C8-4E77-96D0-D493DA4AC621}" dt="2022-10-05T05:42:57.779" v="21679" actId="20577"/>
          <ac:spMkLst>
            <pc:docMk/>
            <pc:sldMk cId="2433336365" sldId="2147470372"/>
            <ac:spMk id="11" creationId="{51653206-17D6-66ED-18C8-51D6799441E2}"/>
          </ac:spMkLst>
        </pc:spChg>
        <pc:spChg chg="add del">
          <ac:chgData name="Kate Mun (KYOUNGRAN)" userId="d8a93241-9b9d-4c25-8457-87ffab4b96e2" providerId="ADAL" clId="{D0392E92-C1C8-4E77-96D0-D493DA4AC621}" dt="2022-10-05T06:09:59.387" v="21804"/>
          <ac:spMkLst>
            <pc:docMk/>
            <pc:sldMk cId="2433336365" sldId="2147470372"/>
            <ac:spMk id="12" creationId="{49F0B13F-BA5E-5343-B173-48D425301B91}"/>
          </ac:spMkLst>
        </pc:spChg>
        <pc:spChg chg="add del mod">
          <ac:chgData name="Kate Mun (KYOUNGRAN)" userId="d8a93241-9b9d-4c25-8457-87ffab4b96e2" providerId="ADAL" clId="{D0392E92-C1C8-4E77-96D0-D493DA4AC621}" dt="2022-10-05T06:10:09.628" v="21807" actId="478"/>
          <ac:spMkLst>
            <pc:docMk/>
            <pc:sldMk cId="2433336365" sldId="2147470372"/>
            <ac:spMk id="13" creationId="{9F44A14B-FB77-1A46-C8F5-8880C9C7029D}"/>
          </ac:spMkLst>
        </pc:spChg>
        <pc:picChg chg="add del">
          <ac:chgData name="Kate Mun (KYOUNGRAN)" userId="d8a93241-9b9d-4c25-8457-87ffab4b96e2" providerId="ADAL" clId="{D0392E92-C1C8-4E77-96D0-D493DA4AC621}" dt="2022-10-05T04:30:55.364" v="20035" actId="21"/>
          <ac:picMkLst>
            <pc:docMk/>
            <pc:sldMk cId="2433336365" sldId="2147470372"/>
            <ac:picMk id="5" creationId="{F97B5410-4D40-5F83-603D-7766FF08E7F5}"/>
          </ac:picMkLst>
        </pc:picChg>
        <pc:picChg chg="add del mod">
          <ac:chgData name="Kate Mun (KYOUNGRAN)" userId="d8a93241-9b9d-4c25-8457-87ffab4b96e2" providerId="ADAL" clId="{D0392E92-C1C8-4E77-96D0-D493DA4AC621}" dt="2022-10-05T05:13:38.918" v="20422" actId="478"/>
          <ac:picMkLst>
            <pc:docMk/>
            <pc:sldMk cId="2433336365" sldId="2147470372"/>
            <ac:picMk id="7" creationId="{306FE5C3-22A3-D95A-A284-C0F3AC4DDAA5}"/>
          </ac:picMkLst>
        </pc:picChg>
        <pc:picChg chg="add mod">
          <ac:chgData name="Kate Mun (KYOUNGRAN)" userId="d8a93241-9b9d-4c25-8457-87ffab4b96e2" providerId="ADAL" clId="{D0392E92-C1C8-4E77-96D0-D493DA4AC621}" dt="2022-10-05T06:10:25.431" v="21815" actId="14100"/>
          <ac:picMkLst>
            <pc:docMk/>
            <pc:sldMk cId="2433336365" sldId="2147470372"/>
            <ac:picMk id="9" creationId="{E0EA086E-3884-AD44-DC02-30E445C25071}"/>
          </ac:picMkLst>
        </pc:picChg>
      </pc:sldChg>
      <pc:sldChg chg="modSp mod chgLayout">
        <pc:chgData name="Kate Mun (KYOUNGRAN)" userId="d8a93241-9b9d-4c25-8457-87ffab4b96e2" providerId="ADAL" clId="{D0392E92-C1C8-4E77-96D0-D493DA4AC621}" dt="2022-10-19T01:34:37.042" v="31211" actId="700"/>
        <pc:sldMkLst>
          <pc:docMk/>
          <pc:sldMk cId="2346301381" sldId="2147470373"/>
        </pc:sldMkLst>
        <pc:spChg chg="mod ord">
          <ac:chgData name="Kate Mun (KYOUNGRAN)" userId="d8a93241-9b9d-4c25-8457-87ffab4b96e2" providerId="ADAL" clId="{D0392E92-C1C8-4E77-96D0-D493DA4AC621}" dt="2022-10-19T01:34:37.042" v="31211" actId="700"/>
          <ac:spMkLst>
            <pc:docMk/>
            <pc:sldMk cId="2346301381" sldId="2147470373"/>
            <ac:spMk id="2" creationId="{C9355748-2E5A-FF43-B041-EDECD4D2DAAD}"/>
          </ac:spMkLst>
        </pc:spChg>
        <pc:spChg chg="mod ord">
          <ac:chgData name="Kate Mun (KYOUNGRAN)" userId="d8a93241-9b9d-4c25-8457-87ffab4b96e2" providerId="ADAL" clId="{D0392E92-C1C8-4E77-96D0-D493DA4AC621}" dt="2022-10-19T01:34:37.042" v="31211" actId="700"/>
          <ac:spMkLst>
            <pc:docMk/>
            <pc:sldMk cId="2346301381" sldId="2147470373"/>
            <ac:spMk id="5" creationId="{0F85905A-5E01-8F50-E18C-9D227C507F1C}"/>
          </ac:spMkLst>
        </pc:spChg>
      </pc:sldChg>
      <pc:sldChg chg="add del">
        <pc:chgData name="Kate Mun (KYOUNGRAN)" userId="d8a93241-9b9d-4c25-8457-87ffab4b96e2" providerId="ADAL" clId="{D0392E92-C1C8-4E77-96D0-D493DA4AC621}" dt="2022-10-05T04:30:40.990" v="20029" actId="47"/>
        <pc:sldMkLst>
          <pc:docMk/>
          <pc:sldMk cId="3427488106" sldId="2147470373"/>
        </pc:sldMkLst>
      </pc:sldChg>
      <pc:sldChg chg="add del">
        <pc:chgData name="Kate Mun (KYOUNGRAN)" userId="d8a93241-9b9d-4c25-8457-87ffab4b96e2" providerId="ADAL" clId="{D0392E92-C1C8-4E77-96D0-D493DA4AC621}" dt="2022-10-05T05:43:11.257" v="21680" actId="47"/>
        <pc:sldMkLst>
          <pc:docMk/>
          <pc:sldMk cId="2178036967" sldId="2147470374"/>
        </pc:sldMkLst>
      </pc:sldChg>
      <pc:sldChg chg="addSp delSp modSp add del mod">
        <pc:chgData name="Kate Mun (KYOUNGRAN)" userId="d8a93241-9b9d-4c25-8457-87ffab4b96e2" providerId="ADAL" clId="{D0392E92-C1C8-4E77-96D0-D493DA4AC621}" dt="2022-10-05T06:54:15.616" v="22910" actId="47"/>
        <pc:sldMkLst>
          <pc:docMk/>
          <pc:sldMk cId="3827036627" sldId="2147470374"/>
        </pc:sldMkLst>
        <pc:spChg chg="mod">
          <ac:chgData name="Kate Mun (KYOUNGRAN)" userId="d8a93241-9b9d-4c25-8457-87ffab4b96e2" providerId="ADAL" clId="{D0392E92-C1C8-4E77-96D0-D493DA4AC621}" dt="2022-10-05T06:31:49.792" v="22732" actId="6549"/>
          <ac:spMkLst>
            <pc:docMk/>
            <pc:sldMk cId="3827036627" sldId="2147470374"/>
            <ac:spMk id="4" creationId="{949B7981-C7E7-0DC7-63BD-29C450500D2F}"/>
          </ac:spMkLst>
        </pc:spChg>
        <pc:spChg chg="add mod">
          <ac:chgData name="Kate Mun (KYOUNGRAN)" userId="d8a93241-9b9d-4c25-8457-87ffab4b96e2" providerId="ADAL" clId="{D0392E92-C1C8-4E77-96D0-D493DA4AC621}" dt="2022-10-05T06:35:47.473" v="22903" actId="14100"/>
          <ac:spMkLst>
            <pc:docMk/>
            <pc:sldMk cId="3827036627" sldId="2147470374"/>
            <ac:spMk id="5" creationId="{3C01F4D8-ADBB-F44B-5B9D-B7CF4A446E96}"/>
          </ac:spMkLst>
        </pc:spChg>
        <pc:spChg chg="del">
          <ac:chgData name="Kate Mun (KYOUNGRAN)" userId="d8a93241-9b9d-4c25-8457-87ffab4b96e2" providerId="ADAL" clId="{D0392E92-C1C8-4E77-96D0-D493DA4AC621}" dt="2022-10-05T05:44:09.913" v="21683" actId="478"/>
          <ac:spMkLst>
            <pc:docMk/>
            <pc:sldMk cId="3827036627" sldId="2147470374"/>
            <ac:spMk id="11" creationId="{51653206-17D6-66ED-18C8-51D6799441E2}"/>
          </ac:spMkLst>
        </pc:spChg>
        <pc:picChg chg="del">
          <ac:chgData name="Kate Mun (KYOUNGRAN)" userId="d8a93241-9b9d-4c25-8457-87ffab4b96e2" providerId="ADAL" clId="{D0392E92-C1C8-4E77-96D0-D493DA4AC621}" dt="2022-10-05T05:44:07.814" v="21682" actId="478"/>
          <ac:picMkLst>
            <pc:docMk/>
            <pc:sldMk cId="3827036627" sldId="2147470374"/>
            <ac:picMk id="9" creationId="{E0EA086E-3884-AD44-DC02-30E445C25071}"/>
          </ac:picMkLst>
        </pc:picChg>
      </pc:sldChg>
      <pc:sldChg chg="addSp delSp modSp add mod ord chgLayout">
        <pc:chgData name="Kate Mun (KYOUNGRAN)" userId="d8a93241-9b9d-4c25-8457-87ffab4b96e2" providerId="ADAL" clId="{D0392E92-C1C8-4E77-96D0-D493DA4AC621}" dt="2022-10-19T04:10:21.740" v="32623" actId="1076"/>
        <pc:sldMkLst>
          <pc:docMk/>
          <pc:sldMk cId="2714325890" sldId="2147470375"/>
        </pc:sldMkLst>
        <pc:spChg chg="del mod ord">
          <ac:chgData name="Kate Mun (KYOUNGRAN)" userId="d8a93241-9b9d-4c25-8457-87ffab4b96e2" providerId="ADAL" clId="{D0392E92-C1C8-4E77-96D0-D493DA4AC621}" dt="2022-10-19T02:47:26.313" v="32374" actId="478"/>
          <ac:spMkLst>
            <pc:docMk/>
            <pc:sldMk cId="2714325890" sldId="2147470375"/>
            <ac:spMk id="2" creationId="{4068EBDE-A141-09B1-5620-CBCEF6DDFE57}"/>
          </ac:spMkLst>
        </pc:spChg>
        <pc:spChg chg="add mod">
          <ac:chgData name="Kate Mun (KYOUNGRAN)" userId="d8a93241-9b9d-4c25-8457-87ffab4b96e2" providerId="ADAL" clId="{D0392E92-C1C8-4E77-96D0-D493DA4AC621}" dt="2022-10-05T06:56:05.387" v="23070" actId="1076"/>
          <ac:spMkLst>
            <pc:docMk/>
            <pc:sldMk cId="2714325890" sldId="2147470375"/>
            <ac:spMk id="3" creationId="{A379E4BD-D554-5C7C-323B-E932ACB31308}"/>
          </ac:spMkLst>
        </pc:spChg>
        <pc:spChg chg="mod ord">
          <ac:chgData name="Kate Mun (KYOUNGRAN)" userId="d8a93241-9b9d-4c25-8457-87ffab4b96e2" providerId="ADAL" clId="{D0392E92-C1C8-4E77-96D0-D493DA4AC621}" dt="2022-10-19T04:10:15.068" v="32622" actId="15"/>
          <ac:spMkLst>
            <pc:docMk/>
            <pc:sldMk cId="2714325890" sldId="2147470375"/>
            <ac:spMk id="4" creationId="{949B7981-C7E7-0DC7-63BD-29C450500D2F}"/>
          </ac:spMkLst>
        </pc:spChg>
        <pc:spChg chg="mod">
          <ac:chgData name="Kate Mun (KYOUNGRAN)" userId="d8a93241-9b9d-4c25-8457-87ffab4b96e2" providerId="ADAL" clId="{D0392E92-C1C8-4E77-96D0-D493DA4AC621}" dt="2022-10-19T04:10:21.740" v="32623" actId="1076"/>
          <ac:spMkLst>
            <pc:docMk/>
            <pc:sldMk cId="2714325890" sldId="2147470375"/>
            <ac:spMk id="5" creationId="{3C01F4D8-ADBB-F44B-5B9D-B7CF4A446E96}"/>
          </ac:spMkLst>
        </pc:spChg>
        <pc:spChg chg="add del mod">
          <ac:chgData name="Kate Mun (KYOUNGRAN)" userId="d8a93241-9b9d-4c25-8457-87ffab4b96e2" providerId="ADAL" clId="{D0392E92-C1C8-4E77-96D0-D493DA4AC621}" dt="2022-10-19T02:47:30.246" v="32375" actId="478"/>
          <ac:spMkLst>
            <pc:docMk/>
            <pc:sldMk cId="2714325890" sldId="2147470375"/>
            <ac:spMk id="7" creationId="{29C137DC-E1CB-44DE-AD63-D4726B17460C}"/>
          </ac:spMkLst>
        </pc:spChg>
        <pc:spChg chg="add mod">
          <ac:chgData name="Kate Mun (KYOUNGRAN)" userId="d8a93241-9b9d-4c25-8457-87ffab4b96e2" providerId="ADAL" clId="{D0392E92-C1C8-4E77-96D0-D493DA4AC621}" dt="2022-10-19T02:47:30.818" v="32376"/>
          <ac:spMkLst>
            <pc:docMk/>
            <pc:sldMk cId="2714325890" sldId="2147470375"/>
            <ac:spMk id="8" creationId="{539A5013-9204-E1E7-AB11-0F5A418BC6DF}"/>
          </ac:spMkLst>
        </pc:spChg>
      </pc:sldChg>
      <pc:sldChg chg="new del">
        <pc:chgData name="Kate Mun (KYOUNGRAN)" userId="d8a93241-9b9d-4c25-8457-87ffab4b96e2" providerId="ADAL" clId="{D0392E92-C1C8-4E77-96D0-D493DA4AC621}" dt="2022-10-05T06:32:34.212" v="22751" actId="680"/>
        <pc:sldMkLst>
          <pc:docMk/>
          <pc:sldMk cId="3519815804" sldId="2147470375"/>
        </pc:sldMkLst>
      </pc:sldChg>
      <pc:sldChg chg="add del">
        <pc:chgData name="Kate Mun (KYOUNGRAN)" userId="d8a93241-9b9d-4c25-8457-87ffab4b96e2" providerId="ADAL" clId="{D0392E92-C1C8-4E77-96D0-D493DA4AC621}" dt="2022-10-05T06:58:28.402" v="23075"/>
        <pc:sldMkLst>
          <pc:docMk/>
          <pc:sldMk cId="1653184257" sldId="2147470376"/>
        </pc:sldMkLst>
      </pc:sldChg>
      <pc:sldChg chg="addSp delSp modSp add mod ord delAnim chgLayout">
        <pc:chgData name="Kate Mun (KYOUNGRAN)" userId="d8a93241-9b9d-4c25-8457-87ffab4b96e2" providerId="ADAL" clId="{D0392E92-C1C8-4E77-96D0-D493DA4AC621}" dt="2022-10-19T04:01:03.672" v="32471" actId="12"/>
        <pc:sldMkLst>
          <pc:docMk/>
          <pc:sldMk cId="3877824616" sldId="2147470376"/>
        </pc:sldMkLst>
        <pc:spChg chg="del mod ord">
          <ac:chgData name="Kate Mun (KYOUNGRAN)" userId="d8a93241-9b9d-4c25-8457-87ffab4b96e2" providerId="ADAL" clId="{D0392E92-C1C8-4E77-96D0-D493DA4AC621}" dt="2022-10-19T02:45:36.105" v="32317" actId="478"/>
          <ac:spMkLst>
            <pc:docMk/>
            <pc:sldMk cId="3877824616" sldId="2147470376"/>
            <ac:spMk id="3" creationId="{773DFB89-E6DE-4E57-B8D7-8600A2444E79}"/>
          </ac:spMkLst>
        </pc:spChg>
        <pc:spChg chg="add del mod">
          <ac:chgData name="Kate Mun (KYOUNGRAN)" userId="d8a93241-9b9d-4c25-8457-87ffab4b96e2" providerId="ADAL" clId="{D0392E92-C1C8-4E77-96D0-D493DA4AC621}" dt="2022-10-19T02:45:40.528" v="32320" actId="478"/>
          <ac:spMkLst>
            <pc:docMk/>
            <pc:sldMk cId="3877824616" sldId="2147470376"/>
            <ac:spMk id="4" creationId="{70167359-3274-2908-D911-6D768401E6C8}"/>
          </ac:spMkLst>
        </pc:spChg>
        <pc:spChg chg="add del mod">
          <ac:chgData name="Kate Mun (KYOUNGRAN)" userId="d8a93241-9b9d-4c25-8457-87ffab4b96e2" providerId="ADAL" clId="{D0392E92-C1C8-4E77-96D0-D493DA4AC621}" dt="2022-10-19T02:45:37.488" v="32319"/>
          <ac:spMkLst>
            <pc:docMk/>
            <pc:sldMk cId="3877824616" sldId="2147470376"/>
            <ac:spMk id="5" creationId="{8324F066-132C-3C68-B738-03F0425D5515}"/>
          </ac:spMkLst>
        </pc:spChg>
        <pc:spChg chg="add mod">
          <ac:chgData name="Kate Mun (KYOUNGRAN)" userId="d8a93241-9b9d-4c25-8457-87ffab4b96e2" providerId="ADAL" clId="{D0392E92-C1C8-4E77-96D0-D493DA4AC621}" dt="2022-10-19T02:45:46.223" v="32322" actId="20577"/>
          <ac:spMkLst>
            <pc:docMk/>
            <pc:sldMk cId="3877824616" sldId="2147470376"/>
            <ac:spMk id="6" creationId="{CF786062-E115-5E02-041A-292039B09F83}"/>
          </ac:spMkLst>
        </pc:spChg>
        <pc:spChg chg="add del mod ord">
          <ac:chgData name="Kate Mun (KYOUNGRAN)" userId="d8a93241-9b9d-4c25-8457-87ffab4b96e2" providerId="ADAL" clId="{D0392E92-C1C8-4E77-96D0-D493DA4AC621}" dt="2022-10-19T04:01:03.672" v="32471" actId="12"/>
          <ac:spMkLst>
            <pc:docMk/>
            <pc:sldMk cId="3877824616" sldId="2147470376"/>
            <ac:spMk id="26" creationId="{CCABCF7C-858C-7725-68F7-C3641DB7C3DE}"/>
          </ac:spMkLst>
        </pc:spChg>
        <pc:spChg chg="add del mod">
          <ac:chgData name="Kate Mun (KYOUNGRAN)" userId="d8a93241-9b9d-4c25-8457-87ffab4b96e2" providerId="ADAL" clId="{D0392E92-C1C8-4E77-96D0-D493DA4AC621}" dt="2022-10-05T07:07:06.624" v="23469" actId="478"/>
          <ac:spMkLst>
            <pc:docMk/>
            <pc:sldMk cId="3877824616" sldId="2147470376"/>
            <ac:spMk id="28" creationId="{1CC255EB-10B9-3990-A085-D0DD9E49F153}"/>
          </ac:spMkLst>
        </pc:spChg>
        <pc:spChg chg="add mod">
          <ac:chgData name="Kate Mun (KYOUNGRAN)" userId="d8a93241-9b9d-4c25-8457-87ffab4b96e2" providerId="ADAL" clId="{D0392E92-C1C8-4E77-96D0-D493DA4AC621}" dt="2022-10-05T07:12:11.635" v="23794" actId="1076"/>
          <ac:spMkLst>
            <pc:docMk/>
            <pc:sldMk cId="3877824616" sldId="2147470376"/>
            <ac:spMk id="31" creationId="{C6E1B01B-8AB3-8F9D-A101-BC7379091503}"/>
          </ac:spMkLst>
        </pc:spChg>
        <pc:spChg chg="add mod">
          <ac:chgData name="Kate Mun (KYOUNGRAN)" userId="d8a93241-9b9d-4c25-8457-87ffab4b96e2" providerId="ADAL" clId="{D0392E92-C1C8-4E77-96D0-D493DA4AC621}" dt="2022-10-05T07:11:12.888" v="23777" actId="1076"/>
          <ac:spMkLst>
            <pc:docMk/>
            <pc:sldMk cId="3877824616" sldId="2147470376"/>
            <ac:spMk id="32" creationId="{0A4F6EF9-A900-DDFD-1AD9-57C8289F108D}"/>
          </ac:spMkLst>
        </pc:spChg>
        <pc:spChg chg="add mod">
          <ac:chgData name="Kate Mun (KYOUNGRAN)" userId="d8a93241-9b9d-4c25-8457-87ffab4b96e2" providerId="ADAL" clId="{D0392E92-C1C8-4E77-96D0-D493DA4AC621}" dt="2022-10-05T07:11:12.888" v="23777" actId="1076"/>
          <ac:spMkLst>
            <pc:docMk/>
            <pc:sldMk cId="3877824616" sldId="2147470376"/>
            <ac:spMk id="33" creationId="{97F0092B-EC03-1D27-0C26-C61C88A7AE51}"/>
          </ac:spMkLst>
        </pc:spChg>
        <pc:spChg chg="add mod">
          <ac:chgData name="Kate Mun (KYOUNGRAN)" userId="d8a93241-9b9d-4c25-8457-87ffab4b96e2" providerId="ADAL" clId="{D0392E92-C1C8-4E77-96D0-D493DA4AC621}" dt="2022-10-05T07:11:12.888" v="23777" actId="1076"/>
          <ac:spMkLst>
            <pc:docMk/>
            <pc:sldMk cId="3877824616" sldId="2147470376"/>
            <ac:spMk id="34" creationId="{731A921C-2F67-BF8A-EE90-1D6716C25ADA}"/>
          </ac:spMkLst>
        </pc:spChg>
        <pc:spChg chg="add mod">
          <ac:chgData name="Kate Mun (KYOUNGRAN)" userId="d8a93241-9b9d-4c25-8457-87ffab4b96e2" providerId="ADAL" clId="{D0392E92-C1C8-4E77-96D0-D493DA4AC621}" dt="2022-10-05T07:12:11.635" v="23794" actId="1076"/>
          <ac:spMkLst>
            <pc:docMk/>
            <pc:sldMk cId="3877824616" sldId="2147470376"/>
            <ac:spMk id="38" creationId="{70CB397A-3566-8E6A-80D7-2193DB128553}"/>
          </ac:spMkLst>
        </pc:spChg>
        <pc:spChg chg="add mod">
          <ac:chgData name="Kate Mun (KYOUNGRAN)" userId="d8a93241-9b9d-4c25-8457-87ffab4b96e2" providerId="ADAL" clId="{D0392E92-C1C8-4E77-96D0-D493DA4AC621}" dt="2022-10-05T07:12:11.635" v="23794" actId="1076"/>
          <ac:spMkLst>
            <pc:docMk/>
            <pc:sldMk cId="3877824616" sldId="2147470376"/>
            <ac:spMk id="39" creationId="{817DD0BB-A6C4-2436-050A-7DB192BD576C}"/>
          </ac:spMkLst>
        </pc:spChg>
        <pc:grpChg chg="add mod">
          <ac:chgData name="Kate Mun (KYOUNGRAN)" userId="d8a93241-9b9d-4c25-8457-87ffab4b96e2" providerId="ADAL" clId="{D0392E92-C1C8-4E77-96D0-D493DA4AC621}" dt="2022-10-05T07:12:11.635" v="23794" actId="1076"/>
          <ac:grpSpMkLst>
            <pc:docMk/>
            <pc:sldMk cId="3877824616" sldId="2147470376"/>
            <ac:grpSpMk id="37" creationId="{A10D63A7-1AFD-2491-A204-6EB81A0CA5E3}"/>
          </ac:grpSpMkLst>
        </pc:grpChg>
        <pc:grpChg chg="add mod">
          <ac:chgData name="Kate Mun (KYOUNGRAN)" userId="d8a93241-9b9d-4c25-8457-87ffab4b96e2" providerId="ADAL" clId="{D0392E92-C1C8-4E77-96D0-D493DA4AC621}" dt="2022-10-05T07:12:33.401" v="23798" actId="1076"/>
          <ac:grpSpMkLst>
            <pc:docMk/>
            <pc:sldMk cId="3877824616" sldId="2147470376"/>
            <ac:grpSpMk id="40" creationId="{58BB71E0-26F1-F8E1-D682-2D44140D116D}"/>
          </ac:grpSpMkLst>
        </pc:grpChg>
        <pc:graphicFrameChg chg="del">
          <ac:chgData name="Kate Mun (KYOUNGRAN)" userId="d8a93241-9b9d-4c25-8457-87ffab4b96e2" providerId="ADAL" clId="{D0392E92-C1C8-4E77-96D0-D493DA4AC621}" dt="2022-10-05T06:58:35.125" v="23079" actId="478"/>
          <ac:graphicFrameMkLst>
            <pc:docMk/>
            <pc:sldMk cId="3877824616" sldId="2147470376"/>
            <ac:graphicFrameMk id="4" creationId="{6EA2B852-2486-460C-A542-199CDA30CADB}"/>
          </ac:graphicFrameMkLst>
        </pc:graphicFrameChg>
        <pc:picChg chg="add del">
          <ac:chgData name="Kate Mun (KYOUNGRAN)" userId="d8a93241-9b9d-4c25-8457-87ffab4b96e2" providerId="ADAL" clId="{D0392E92-C1C8-4E77-96D0-D493DA4AC621}" dt="2022-10-05T07:03:27.488" v="23134" actId="478"/>
          <ac:picMkLst>
            <pc:docMk/>
            <pc:sldMk cId="3877824616" sldId="2147470376"/>
            <ac:picMk id="5" creationId="{F28377D3-6C05-A157-4D01-1EBD9F9A0972}"/>
          </ac:picMkLst>
        </pc:picChg>
        <pc:picChg chg="add del mod">
          <ac:chgData name="Kate Mun (KYOUNGRAN)" userId="d8a93241-9b9d-4c25-8457-87ffab4b96e2" providerId="ADAL" clId="{D0392E92-C1C8-4E77-96D0-D493DA4AC621}" dt="2022-10-05T07:02:54.724" v="23130" actId="478"/>
          <ac:picMkLst>
            <pc:docMk/>
            <pc:sldMk cId="3877824616" sldId="2147470376"/>
            <ac:picMk id="7" creationId="{D52B0300-1A83-2D29-08C6-A1471FED9E81}"/>
          </ac:picMkLst>
        </pc:picChg>
        <pc:picChg chg="add del mod">
          <ac:chgData name="Kate Mun (KYOUNGRAN)" userId="d8a93241-9b9d-4c25-8457-87ffab4b96e2" providerId="ADAL" clId="{D0392E92-C1C8-4E77-96D0-D493DA4AC621}" dt="2022-10-05T07:02:54.724" v="23130" actId="478"/>
          <ac:picMkLst>
            <pc:docMk/>
            <pc:sldMk cId="3877824616" sldId="2147470376"/>
            <ac:picMk id="9" creationId="{1376C5DD-AA14-6F25-CDC1-39E55344E832}"/>
          </ac:picMkLst>
        </pc:picChg>
        <pc:picChg chg="add del mod">
          <ac:chgData name="Kate Mun (KYOUNGRAN)" userId="d8a93241-9b9d-4c25-8457-87ffab4b96e2" providerId="ADAL" clId="{D0392E92-C1C8-4E77-96D0-D493DA4AC621}" dt="2022-10-05T07:03:27.488" v="23134" actId="478"/>
          <ac:picMkLst>
            <pc:docMk/>
            <pc:sldMk cId="3877824616" sldId="2147470376"/>
            <ac:picMk id="11" creationId="{E73FBDEA-5587-7185-E916-D93F4B2A872E}"/>
          </ac:picMkLst>
        </pc:picChg>
        <pc:picChg chg="add del mod">
          <ac:chgData name="Kate Mun (KYOUNGRAN)" userId="d8a93241-9b9d-4c25-8457-87ffab4b96e2" providerId="ADAL" clId="{D0392E92-C1C8-4E77-96D0-D493DA4AC621}" dt="2022-10-05T07:03:27.488" v="23134" actId="478"/>
          <ac:picMkLst>
            <pc:docMk/>
            <pc:sldMk cId="3877824616" sldId="2147470376"/>
            <ac:picMk id="13" creationId="{76FB24DE-D31B-BDCE-135C-E751B57A2563}"/>
          </ac:picMkLst>
        </pc:picChg>
        <pc:picChg chg="add del mod">
          <ac:chgData name="Kate Mun (KYOUNGRAN)" userId="d8a93241-9b9d-4c25-8457-87ffab4b96e2" providerId="ADAL" clId="{D0392E92-C1C8-4E77-96D0-D493DA4AC621}" dt="2022-10-05T07:03:27.488" v="23134" actId="478"/>
          <ac:picMkLst>
            <pc:docMk/>
            <pc:sldMk cId="3877824616" sldId="2147470376"/>
            <ac:picMk id="15" creationId="{8A6419C3-0D56-C349-1163-8C0A537A1895}"/>
          </ac:picMkLst>
        </pc:picChg>
        <pc:picChg chg="add mod">
          <ac:chgData name="Kate Mun (KYOUNGRAN)" userId="d8a93241-9b9d-4c25-8457-87ffab4b96e2" providerId="ADAL" clId="{D0392E92-C1C8-4E77-96D0-D493DA4AC621}" dt="2022-10-05T07:12:11.635" v="23794" actId="1076"/>
          <ac:picMkLst>
            <pc:docMk/>
            <pc:sldMk cId="3877824616" sldId="2147470376"/>
            <ac:picMk id="17" creationId="{2BAAA039-02D7-DDA0-64CD-886F8B6EAE98}"/>
          </ac:picMkLst>
        </pc:picChg>
        <pc:picChg chg="add del mod">
          <ac:chgData name="Kate Mun (KYOUNGRAN)" userId="d8a93241-9b9d-4c25-8457-87ffab4b96e2" providerId="ADAL" clId="{D0392E92-C1C8-4E77-96D0-D493DA4AC621}" dt="2022-10-05T07:05:12.431" v="23215" actId="478"/>
          <ac:picMkLst>
            <pc:docMk/>
            <pc:sldMk cId="3877824616" sldId="2147470376"/>
            <ac:picMk id="19" creationId="{0859D15F-DDB1-314B-009B-A5058007F798}"/>
          </ac:picMkLst>
        </pc:picChg>
        <pc:picChg chg="add del mod">
          <ac:chgData name="Kate Mun (KYOUNGRAN)" userId="d8a93241-9b9d-4c25-8457-87ffab4b96e2" providerId="ADAL" clId="{D0392E92-C1C8-4E77-96D0-D493DA4AC621}" dt="2022-10-05T07:05:11.030" v="23214" actId="478"/>
          <ac:picMkLst>
            <pc:docMk/>
            <pc:sldMk cId="3877824616" sldId="2147470376"/>
            <ac:picMk id="21" creationId="{E40BE440-C244-9EC0-D58C-29CB64DDCFB5}"/>
          </ac:picMkLst>
        </pc:picChg>
        <pc:picChg chg="add del mod">
          <ac:chgData name="Kate Mun (KYOUNGRAN)" userId="d8a93241-9b9d-4c25-8457-87ffab4b96e2" providerId="ADAL" clId="{D0392E92-C1C8-4E77-96D0-D493DA4AC621}" dt="2022-10-05T07:05:29.730" v="23223" actId="478"/>
          <ac:picMkLst>
            <pc:docMk/>
            <pc:sldMk cId="3877824616" sldId="2147470376"/>
            <ac:picMk id="23" creationId="{C57A6922-C201-A909-934B-BCBD2D6E292D}"/>
          </ac:picMkLst>
        </pc:picChg>
        <pc:picChg chg="add del mod">
          <ac:chgData name="Kate Mun (KYOUNGRAN)" userId="d8a93241-9b9d-4c25-8457-87ffab4b96e2" providerId="ADAL" clId="{D0392E92-C1C8-4E77-96D0-D493DA4AC621}" dt="2022-10-05T07:07:09.049" v="23471" actId="478"/>
          <ac:picMkLst>
            <pc:docMk/>
            <pc:sldMk cId="3877824616" sldId="2147470376"/>
            <ac:picMk id="25" creationId="{F215299A-4A89-7C27-4200-CB8A337789CC}"/>
          </ac:picMkLst>
        </pc:picChg>
        <pc:picChg chg="add mod">
          <ac:chgData name="Kate Mun (KYOUNGRAN)" userId="d8a93241-9b9d-4c25-8457-87ffab4b96e2" providerId="ADAL" clId="{D0392E92-C1C8-4E77-96D0-D493DA4AC621}" dt="2022-10-05T07:11:12.888" v="23777" actId="1076"/>
          <ac:picMkLst>
            <pc:docMk/>
            <pc:sldMk cId="3877824616" sldId="2147470376"/>
            <ac:picMk id="30" creationId="{B5CF050C-C72C-811D-7400-0A5CC77AD30E}"/>
          </ac:picMkLst>
        </pc:picChg>
        <pc:picChg chg="add mod">
          <ac:chgData name="Kate Mun (KYOUNGRAN)" userId="d8a93241-9b9d-4c25-8457-87ffab4b96e2" providerId="ADAL" clId="{D0392E92-C1C8-4E77-96D0-D493DA4AC621}" dt="2022-10-05T07:12:11.635" v="23794" actId="1076"/>
          <ac:picMkLst>
            <pc:docMk/>
            <pc:sldMk cId="3877824616" sldId="2147470376"/>
            <ac:picMk id="36" creationId="{D4ACBBF7-7577-CCD2-723C-0B04FC3845DE}"/>
          </ac:picMkLst>
        </pc:picChg>
      </pc:sldChg>
      <pc:sldChg chg="addSp delSp modSp add mod ord chgLayout">
        <pc:chgData name="Kate Mun (KYOUNGRAN)" userId="d8a93241-9b9d-4c25-8457-87ffab4b96e2" providerId="ADAL" clId="{D0392E92-C1C8-4E77-96D0-D493DA4AC621}" dt="2022-10-19T04:12:21.879" v="32671" actId="1076"/>
        <pc:sldMkLst>
          <pc:docMk/>
          <pc:sldMk cId="1475608964" sldId="2147470377"/>
        </pc:sldMkLst>
        <pc:spChg chg="mod ord">
          <ac:chgData name="Kate Mun (KYOUNGRAN)" userId="d8a93241-9b9d-4c25-8457-87ffab4b96e2" providerId="ADAL" clId="{D0392E92-C1C8-4E77-96D0-D493DA4AC621}" dt="2022-10-19T02:48:25.117" v="32392" actId="113"/>
          <ac:spMkLst>
            <pc:docMk/>
            <pc:sldMk cId="1475608964" sldId="2147470377"/>
            <ac:spMk id="2" creationId="{4068EBDE-A141-09B1-5620-CBCEF6DDFE57}"/>
          </ac:spMkLst>
        </pc:spChg>
        <pc:spChg chg="mod ord">
          <ac:chgData name="Kate Mun (KYOUNGRAN)" userId="d8a93241-9b9d-4c25-8457-87ffab4b96e2" providerId="ADAL" clId="{D0392E92-C1C8-4E77-96D0-D493DA4AC621}" dt="2022-10-19T04:12:15.980" v="32669" actId="5793"/>
          <ac:spMkLst>
            <pc:docMk/>
            <pc:sldMk cId="1475608964" sldId="2147470377"/>
            <ac:spMk id="3" creationId="{D74B672D-2696-6CA1-DC7F-F18D1C562407}"/>
          </ac:spMkLst>
        </pc:spChg>
        <pc:spChg chg="add mod topLvl">
          <ac:chgData name="Kate Mun (KYOUNGRAN)" userId="d8a93241-9b9d-4c25-8457-87ffab4b96e2" providerId="ADAL" clId="{D0392E92-C1C8-4E77-96D0-D493DA4AC621}" dt="2022-10-19T04:12:21.879" v="32671" actId="1076"/>
          <ac:spMkLst>
            <pc:docMk/>
            <pc:sldMk cId="1475608964" sldId="2147470377"/>
            <ac:spMk id="6" creationId="{FF9CBDE1-E1C5-55F5-D1CA-9972A5DD493D}"/>
          </ac:spMkLst>
        </pc:spChg>
        <pc:spChg chg="add mod">
          <ac:chgData name="Kate Mun (KYOUNGRAN)" userId="d8a93241-9b9d-4c25-8457-87ffab4b96e2" providerId="ADAL" clId="{D0392E92-C1C8-4E77-96D0-D493DA4AC621}" dt="2022-10-11T02:25:17.564" v="25115" actId="14100"/>
          <ac:spMkLst>
            <pc:docMk/>
            <pc:sldMk cId="1475608964" sldId="2147470377"/>
            <ac:spMk id="9" creationId="{E73C8B89-F889-EE28-7DCE-1F2F0E4AEF17}"/>
          </ac:spMkLst>
        </pc:spChg>
        <pc:spChg chg="add del mod">
          <ac:chgData name="Kate Mun (KYOUNGRAN)" userId="d8a93241-9b9d-4c25-8457-87ffab4b96e2" providerId="ADAL" clId="{D0392E92-C1C8-4E77-96D0-D493DA4AC621}" dt="2022-10-11T02:25:45.018" v="25121" actId="478"/>
          <ac:spMkLst>
            <pc:docMk/>
            <pc:sldMk cId="1475608964" sldId="2147470377"/>
            <ac:spMk id="10" creationId="{43EF6AD4-7242-F3B5-F655-23F2A883361D}"/>
          </ac:spMkLst>
        </pc:spChg>
        <pc:grpChg chg="add del mod">
          <ac:chgData name="Kate Mun (KYOUNGRAN)" userId="d8a93241-9b9d-4c25-8457-87ffab4b96e2" providerId="ADAL" clId="{D0392E92-C1C8-4E77-96D0-D493DA4AC621}" dt="2022-10-11T02:24:53.573" v="25109" actId="165"/>
          <ac:grpSpMkLst>
            <pc:docMk/>
            <pc:sldMk cId="1475608964" sldId="2147470377"/>
            <ac:grpSpMk id="7" creationId="{AAB4A6B1-8EB0-9B67-2966-4A83AFD1DCFC}"/>
          </ac:grpSpMkLst>
        </pc:grpChg>
        <pc:picChg chg="add mod topLvl">
          <ac:chgData name="Kate Mun (KYOUNGRAN)" userId="d8a93241-9b9d-4c25-8457-87ffab4b96e2" providerId="ADAL" clId="{D0392E92-C1C8-4E77-96D0-D493DA4AC621}" dt="2022-10-19T04:12:21.879" v="32671" actId="1076"/>
          <ac:picMkLst>
            <pc:docMk/>
            <pc:sldMk cId="1475608964" sldId="2147470377"/>
            <ac:picMk id="5" creationId="{7EB94D60-72CE-D304-D874-2AAE0B206DCC}"/>
          </ac:picMkLst>
        </pc:picChg>
        <pc:picChg chg="add mod">
          <ac:chgData name="Kate Mun (KYOUNGRAN)" userId="d8a93241-9b9d-4c25-8457-87ffab4b96e2" providerId="ADAL" clId="{D0392E92-C1C8-4E77-96D0-D493DA4AC621}" dt="2022-10-11T02:24:45.823" v="25108" actId="14100"/>
          <ac:picMkLst>
            <pc:docMk/>
            <pc:sldMk cId="1475608964" sldId="2147470377"/>
            <ac:picMk id="8" creationId="{CB047D50-90B5-8740-4E8F-DA87331E9A5A}"/>
          </ac:picMkLst>
        </pc:picChg>
      </pc:sldChg>
      <pc:sldChg chg="addSp delSp modSp add mod ord chgLayout">
        <pc:chgData name="Kate Mun (KYOUNGRAN)" userId="d8a93241-9b9d-4c25-8457-87ffab4b96e2" providerId="ADAL" clId="{D0392E92-C1C8-4E77-96D0-D493DA4AC621}" dt="2022-10-19T04:13:23.408" v="32694" actId="1076"/>
        <pc:sldMkLst>
          <pc:docMk/>
          <pc:sldMk cId="2277608580" sldId="2147470378"/>
        </pc:sldMkLst>
        <pc:spChg chg="mod ord">
          <ac:chgData name="Kate Mun (KYOUNGRAN)" userId="d8a93241-9b9d-4c25-8457-87ffab4b96e2" providerId="ADAL" clId="{D0392E92-C1C8-4E77-96D0-D493DA4AC621}" dt="2022-10-19T02:48:47.232" v="32398" actId="113"/>
          <ac:spMkLst>
            <pc:docMk/>
            <pc:sldMk cId="2277608580" sldId="2147470378"/>
            <ac:spMk id="2" creationId="{4068EBDE-A141-09B1-5620-CBCEF6DDFE57}"/>
          </ac:spMkLst>
        </pc:spChg>
        <pc:spChg chg="mod ord">
          <ac:chgData name="Kate Mun (KYOUNGRAN)" userId="d8a93241-9b9d-4c25-8457-87ffab4b96e2" providerId="ADAL" clId="{D0392E92-C1C8-4E77-96D0-D493DA4AC621}" dt="2022-10-19T04:13:14.286" v="32693" actId="404"/>
          <ac:spMkLst>
            <pc:docMk/>
            <pc:sldMk cId="2277608580" sldId="2147470378"/>
            <ac:spMk id="3" creationId="{D74B672D-2696-6CA1-DC7F-F18D1C562407}"/>
          </ac:spMkLst>
        </pc:spChg>
        <pc:spChg chg="add del mod">
          <ac:chgData name="Kate Mun (KYOUNGRAN)" userId="d8a93241-9b9d-4c25-8457-87ffab4b96e2" providerId="ADAL" clId="{D0392E92-C1C8-4E77-96D0-D493DA4AC621}" dt="2022-10-19T02:48:36.597" v="32395"/>
          <ac:spMkLst>
            <pc:docMk/>
            <pc:sldMk cId="2277608580" sldId="2147470378"/>
            <ac:spMk id="4" creationId="{8ADC9B79-E0CA-C108-71E2-83C75D70CADD}"/>
          </ac:spMkLst>
        </pc:spChg>
        <pc:spChg chg="add mod topLvl">
          <ac:chgData name="Kate Mun (KYOUNGRAN)" userId="d8a93241-9b9d-4c25-8457-87ffab4b96e2" providerId="ADAL" clId="{D0392E92-C1C8-4E77-96D0-D493DA4AC621}" dt="2022-10-11T01:29:08.243" v="23921" actId="1076"/>
          <ac:spMkLst>
            <pc:docMk/>
            <pc:sldMk cId="2277608580" sldId="2147470378"/>
            <ac:spMk id="6" creationId="{084AA200-C782-BD89-8DF9-D709655064EF}"/>
          </ac:spMkLst>
        </pc:spChg>
        <pc:spChg chg="add mod topLvl">
          <ac:chgData name="Kate Mun (KYOUNGRAN)" userId="d8a93241-9b9d-4c25-8457-87ffab4b96e2" providerId="ADAL" clId="{D0392E92-C1C8-4E77-96D0-D493DA4AC621}" dt="2022-10-11T01:29:18.226" v="23922" actId="14100"/>
          <ac:spMkLst>
            <pc:docMk/>
            <pc:sldMk cId="2277608580" sldId="2147470378"/>
            <ac:spMk id="7" creationId="{5EA1D450-A813-1FF9-C7C3-86A32120607A}"/>
          </ac:spMkLst>
        </pc:spChg>
        <pc:spChg chg="add mod">
          <ac:chgData name="Kate Mun (KYOUNGRAN)" userId="d8a93241-9b9d-4c25-8457-87ffab4b96e2" providerId="ADAL" clId="{D0392E92-C1C8-4E77-96D0-D493DA4AC621}" dt="2022-10-11T01:35:35.166" v="24226" actId="1076"/>
          <ac:spMkLst>
            <pc:docMk/>
            <pc:sldMk cId="2277608580" sldId="2147470378"/>
            <ac:spMk id="23" creationId="{3BF57866-190D-292F-5E9F-FFFCE419F72B}"/>
          </ac:spMkLst>
        </pc:spChg>
        <pc:spChg chg="add mod">
          <ac:chgData name="Kate Mun (KYOUNGRAN)" userId="d8a93241-9b9d-4c25-8457-87ffab4b96e2" providerId="ADAL" clId="{D0392E92-C1C8-4E77-96D0-D493DA4AC621}" dt="2022-10-11T01:35:47.378" v="24230" actId="1076"/>
          <ac:spMkLst>
            <pc:docMk/>
            <pc:sldMk cId="2277608580" sldId="2147470378"/>
            <ac:spMk id="24" creationId="{ACD184D8-CFCB-CAA6-A74C-1CEFD79A04C5}"/>
          </ac:spMkLst>
        </pc:spChg>
        <pc:spChg chg="add mod">
          <ac:chgData name="Kate Mun (KYOUNGRAN)" userId="d8a93241-9b9d-4c25-8457-87ffab4b96e2" providerId="ADAL" clId="{D0392E92-C1C8-4E77-96D0-D493DA4AC621}" dt="2022-10-11T01:35:59.244" v="24236" actId="14100"/>
          <ac:spMkLst>
            <pc:docMk/>
            <pc:sldMk cId="2277608580" sldId="2147470378"/>
            <ac:spMk id="25" creationId="{5000593B-30D4-03FF-5318-67E426565C53}"/>
          </ac:spMkLst>
        </pc:spChg>
        <pc:spChg chg="add del mod">
          <ac:chgData name="Kate Mun (KYOUNGRAN)" userId="d8a93241-9b9d-4c25-8457-87ffab4b96e2" providerId="ADAL" clId="{D0392E92-C1C8-4E77-96D0-D493DA4AC621}" dt="2022-10-11T01:36:03.316" v="24238" actId="478"/>
          <ac:spMkLst>
            <pc:docMk/>
            <pc:sldMk cId="2277608580" sldId="2147470378"/>
            <ac:spMk id="27" creationId="{F8B51384-9372-DE95-05D3-41C26F412B5C}"/>
          </ac:spMkLst>
        </pc:spChg>
        <pc:grpChg chg="add del mod ord">
          <ac:chgData name="Kate Mun (KYOUNGRAN)" userId="d8a93241-9b9d-4c25-8457-87ffab4b96e2" providerId="ADAL" clId="{D0392E92-C1C8-4E77-96D0-D493DA4AC621}" dt="2022-10-11T01:27:03.650" v="23864" actId="165"/>
          <ac:grpSpMkLst>
            <pc:docMk/>
            <pc:sldMk cId="2277608580" sldId="2147470378"/>
            <ac:grpSpMk id="10" creationId="{7876539B-2802-7CC9-433B-DA907AFFC588}"/>
          </ac:grpSpMkLst>
        </pc:grpChg>
        <pc:grpChg chg="add del mod">
          <ac:chgData name="Kate Mun (KYOUNGRAN)" userId="d8a93241-9b9d-4c25-8457-87ffab4b96e2" providerId="ADAL" clId="{D0392E92-C1C8-4E77-96D0-D493DA4AC621}" dt="2022-10-11T01:28:08.779" v="23910" actId="165"/>
          <ac:grpSpMkLst>
            <pc:docMk/>
            <pc:sldMk cId="2277608580" sldId="2147470378"/>
            <ac:grpSpMk id="11" creationId="{69BFC50C-0630-6B6F-8265-1CB60362BE3A}"/>
          </ac:grpSpMkLst>
        </pc:grpChg>
        <pc:grpChg chg="add mod">
          <ac:chgData name="Kate Mun (KYOUNGRAN)" userId="d8a93241-9b9d-4c25-8457-87ffab4b96e2" providerId="ADAL" clId="{D0392E92-C1C8-4E77-96D0-D493DA4AC621}" dt="2022-10-19T04:13:23.408" v="32694" actId="1076"/>
          <ac:grpSpMkLst>
            <pc:docMk/>
            <pc:sldMk cId="2277608580" sldId="2147470378"/>
            <ac:grpSpMk id="14" creationId="{F64347C5-F5BB-F37C-4AF7-CA3A75AC728A}"/>
          </ac:grpSpMkLst>
        </pc:grpChg>
        <pc:grpChg chg="add mod">
          <ac:chgData name="Kate Mun (KYOUNGRAN)" userId="d8a93241-9b9d-4c25-8457-87ffab4b96e2" providerId="ADAL" clId="{D0392E92-C1C8-4E77-96D0-D493DA4AC621}" dt="2022-10-19T04:13:23.408" v="32694" actId="1076"/>
          <ac:grpSpMkLst>
            <pc:docMk/>
            <pc:sldMk cId="2277608580" sldId="2147470378"/>
            <ac:grpSpMk id="28" creationId="{830E5F50-6DAE-F94F-3966-1BFCCEB0AED3}"/>
          </ac:grpSpMkLst>
        </pc:grpChg>
        <pc:grpChg chg="add mod">
          <ac:chgData name="Kate Mun (KYOUNGRAN)" userId="d8a93241-9b9d-4c25-8457-87ffab4b96e2" providerId="ADAL" clId="{D0392E92-C1C8-4E77-96D0-D493DA4AC621}" dt="2022-10-19T04:13:23.408" v="32694" actId="1076"/>
          <ac:grpSpMkLst>
            <pc:docMk/>
            <pc:sldMk cId="2277608580" sldId="2147470378"/>
            <ac:grpSpMk id="29" creationId="{DE32AC33-7320-3375-B8A3-D4868CA30A8B}"/>
          </ac:grpSpMkLst>
        </pc:grpChg>
        <pc:grpChg chg="add mod">
          <ac:chgData name="Kate Mun (KYOUNGRAN)" userId="d8a93241-9b9d-4c25-8457-87ffab4b96e2" providerId="ADAL" clId="{D0392E92-C1C8-4E77-96D0-D493DA4AC621}" dt="2022-10-19T04:13:23.408" v="32694" actId="1076"/>
          <ac:grpSpMkLst>
            <pc:docMk/>
            <pc:sldMk cId="2277608580" sldId="2147470378"/>
            <ac:grpSpMk id="30" creationId="{716CD448-4DC5-28D9-A9D1-58D56513A560}"/>
          </ac:grpSpMkLst>
        </pc:grpChg>
        <pc:picChg chg="add del mod">
          <ac:chgData name="Kate Mun (KYOUNGRAN)" userId="d8a93241-9b9d-4c25-8457-87ffab4b96e2" providerId="ADAL" clId="{D0392E92-C1C8-4E77-96D0-D493DA4AC621}" dt="2022-10-11T01:25:48.708" v="23846" actId="478"/>
          <ac:picMkLst>
            <pc:docMk/>
            <pc:sldMk cId="2277608580" sldId="2147470378"/>
            <ac:picMk id="5" creationId="{F3020509-EE24-EA46-E86E-F1C3784BD3F1}"/>
          </ac:picMkLst>
        </pc:picChg>
        <pc:picChg chg="add del mod ord topLvl">
          <ac:chgData name="Kate Mun (KYOUNGRAN)" userId="d8a93241-9b9d-4c25-8457-87ffab4b96e2" providerId="ADAL" clId="{D0392E92-C1C8-4E77-96D0-D493DA4AC621}" dt="2022-10-11T01:28:18.809" v="23913" actId="478"/>
          <ac:picMkLst>
            <pc:docMk/>
            <pc:sldMk cId="2277608580" sldId="2147470378"/>
            <ac:picMk id="9" creationId="{900EA554-8DA3-7757-A970-BA4753D5B1C5}"/>
          </ac:picMkLst>
        </pc:picChg>
        <pc:picChg chg="add mod ord">
          <ac:chgData name="Kate Mun (KYOUNGRAN)" userId="d8a93241-9b9d-4c25-8457-87ffab4b96e2" providerId="ADAL" clId="{D0392E92-C1C8-4E77-96D0-D493DA4AC621}" dt="2022-10-11T01:28:55.867" v="23918" actId="167"/>
          <ac:picMkLst>
            <pc:docMk/>
            <pc:sldMk cId="2277608580" sldId="2147470378"/>
            <ac:picMk id="13" creationId="{9004BD39-8549-D4AF-3B91-96992D496238}"/>
          </ac:picMkLst>
        </pc:picChg>
        <pc:picChg chg="add del mod">
          <ac:chgData name="Kate Mun (KYOUNGRAN)" userId="d8a93241-9b9d-4c25-8457-87ffab4b96e2" providerId="ADAL" clId="{D0392E92-C1C8-4E77-96D0-D493DA4AC621}" dt="2022-10-11T01:32:14.010" v="24182" actId="478"/>
          <ac:picMkLst>
            <pc:docMk/>
            <pc:sldMk cId="2277608580" sldId="2147470378"/>
            <ac:picMk id="16" creationId="{C73085FD-4054-41BA-3C1D-C8A37508EAB5}"/>
          </ac:picMkLst>
        </pc:picChg>
        <pc:picChg chg="add mod">
          <ac:chgData name="Kate Mun (KYOUNGRAN)" userId="d8a93241-9b9d-4c25-8457-87ffab4b96e2" providerId="ADAL" clId="{D0392E92-C1C8-4E77-96D0-D493DA4AC621}" dt="2022-10-11T01:36:41.327" v="24251" actId="1076"/>
          <ac:picMkLst>
            <pc:docMk/>
            <pc:sldMk cId="2277608580" sldId="2147470378"/>
            <ac:picMk id="18" creationId="{A8974815-CF3C-FD54-9C3D-7FEB41AF7B0B}"/>
          </ac:picMkLst>
        </pc:picChg>
        <pc:picChg chg="add mod">
          <ac:chgData name="Kate Mun (KYOUNGRAN)" userId="d8a93241-9b9d-4c25-8457-87ffab4b96e2" providerId="ADAL" clId="{D0392E92-C1C8-4E77-96D0-D493DA4AC621}" dt="2022-10-11T01:35:01.207" v="24220" actId="1076"/>
          <ac:picMkLst>
            <pc:docMk/>
            <pc:sldMk cId="2277608580" sldId="2147470378"/>
            <ac:picMk id="20" creationId="{C3513F36-FAB4-D0A4-643D-41332473B828}"/>
          </ac:picMkLst>
        </pc:picChg>
        <pc:picChg chg="add mod">
          <ac:chgData name="Kate Mun (KYOUNGRAN)" userId="d8a93241-9b9d-4c25-8457-87ffab4b96e2" providerId="ADAL" clId="{D0392E92-C1C8-4E77-96D0-D493DA4AC621}" dt="2022-10-11T01:35:19.067" v="24223" actId="1076"/>
          <ac:picMkLst>
            <pc:docMk/>
            <pc:sldMk cId="2277608580" sldId="2147470378"/>
            <ac:picMk id="22" creationId="{196ACAB8-12F6-CE17-B254-03F91EE9A8CA}"/>
          </ac:picMkLst>
        </pc:picChg>
        <pc:picChg chg="add del mod">
          <ac:chgData name="Kate Mun (KYOUNGRAN)" userId="d8a93241-9b9d-4c25-8457-87ffab4b96e2" providerId="ADAL" clId="{D0392E92-C1C8-4E77-96D0-D493DA4AC621}" dt="2022-10-11T01:36:03.316" v="24238" actId="478"/>
          <ac:picMkLst>
            <pc:docMk/>
            <pc:sldMk cId="2277608580" sldId="2147470378"/>
            <ac:picMk id="26" creationId="{ED83E3C8-032A-8709-52DE-34A90933330A}"/>
          </ac:picMkLst>
        </pc:picChg>
      </pc:sldChg>
      <pc:sldChg chg="new del">
        <pc:chgData name="Kate Mun (KYOUNGRAN)" userId="d8a93241-9b9d-4c25-8457-87ffab4b96e2" providerId="ADAL" clId="{D0392E92-C1C8-4E77-96D0-D493DA4AC621}" dt="2022-10-11T01:22:01.749" v="23813" actId="680"/>
        <pc:sldMkLst>
          <pc:docMk/>
          <pc:sldMk cId="3977272239" sldId="2147470378"/>
        </pc:sldMkLst>
      </pc:sldChg>
      <pc:sldChg chg="addSp delSp modSp add mod chgLayout">
        <pc:chgData name="Kate Mun (KYOUNGRAN)" userId="d8a93241-9b9d-4c25-8457-87ffab4b96e2" providerId="ADAL" clId="{D0392E92-C1C8-4E77-96D0-D493DA4AC621}" dt="2022-10-19T04:14:01.357" v="32705" actId="15"/>
        <pc:sldMkLst>
          <pc:docMk/>
          <pc:sldMk cId="4112875368" sldId="2147470379"/>
        </pc:sldMkLst>
        <pc:spChg chg="mod ord">
          <ac:chgData name="Kate Mun (KYOUNGRAN)" userId="d8a93241-9b9d-4c25-8457-87ffab4b96e2" providerId="ADAL" clId="{D0392E92-C1C8-4E77-96D0-D493DA4AC621}" dt="2022-10-19T02:49:01.625" v="32401" actId="255"/>
          <ac:spMkLst>
            <pc:docMk/>
            <pc:sldMk cId="4112875368" sldId="2147470379"/>
            <ac:spMk id="2" creationId="{4068EBDE-A141-09B1-5620-CBCEF6DDFE57}"/>
          </ac:spMkLst>
        </pc:spChg>
        <pc:spChg chg="mod ord">
          <ac:chgData name="Kate Mun (KYOUNGRAN)" userId="d8a93241-9b9d-4c25-8457-87ffab4b96e2" providerId="ADAL" clId="{D0392E92-C1C8-4E77-96D0-D493DA4AC621}" dt="2022-10-19T04:14:01.357" v="32705" actId="15"/>
          <ac:spMkLst>
            <pc:docMk/>
            <pc:sldMk cId="4112875368" sldId="2147470379"/>
            <ac:spMk id="3" creationId="{D74B672D-2696-6CA1-DC7F-F18D1C562407}"/>
          </ac:spMkLst>
        </pc:spChg>
        <pc:grpChg chg="del">
          <ac:chgData name="Kate Mun (KYOUNGRAN)" userId="d8a93241-9b9d-4c25-8457-87ffab4b96e2" providerId="ADAL" clId="{D0392E92-C1C8-4E77-96D0-D493DA4AC621}" dt="2022-10-11T01:40:39.732" v="24292" actId="478"/>
          <ac:grpSpMkLst>
            <pc:docMk/>
            <pc:sldMk cId="4112875368" sldId="2147470379"/>
            <ac:grpSpMk id="14" creationId="{F64347C5-F5BB-F37C-4AF7-CA3A75AC728A}"/>
          </ac:grpSpMkLst>
        </pc:grpChg>
        <pc:grpChg chg="del">
          <ac:chgData name="Kate Mun (KYOUNGRAN)" userId="d8a93241-9b9d-4c25-8457-87ffab4b96e2" providerId="ADAL" clId="{D0392E92-C1C8-4E77-96D0-D493DA4AC621}" dt="2022-10-11T01:40:39.732" v="24292" actId="478"/>
          <ac:grpSpMkLst>
            <pc:docMk/>
            <pc:sldMk cId="4112875368" sldId="2147470379"/>
            <ac:grpSpMk id="28" creationId="{830E5F50-6DAE-F94F-3966-1BFCCEB0AED3}"/>
          </ac:grpSpMkLst>
        </pc:grpChg>
        <pc:grpChg chg="del">
          <ac:chgData name="Kate Mun (KYOUNGRAN)" userId="d8a93241-9b9d-4c25-8457-87ffab4b96e2" providerId="ADAL" clId="{D0392E92-C1C8-4E77-96D0-D493DA4AC621}" dt="2022-10-11T01:40:39.732" v="24292" actId="478"/>
          <ac:grpSpMkLst>
            <pc:docMk/>
            <pc:sldMk cId="4112875368" sldId="2147470379"/>
            <ac:grpSpMk id="29" creationId="{DE32AC33-7320-3375-B8A3-D4868CA30A8B}"/>
          </ac:grpSpMkLst>
        </pc:grpChg>
        <pc:grpChg chg="del">
          <ac:chgData name="Kate Mun (KYOUNGRAN)" userId="d8a93241-9b9d-4c25-8457-87ffab4b96e2" providerId="ADAL" clId="{D0392E92-C1C8-4E77-96D0-D493DA4AC621}" dt="2022-10-11T01:40:39.732" v="24292" actId="478"/>
          <ac:grpSpMkLst>
            <pc:docMk/>
            <pc:sldMk cId="4112875368" sldId="2147470379"/>
            <ac:grpSpMk id="30" creationId="{716CD448-4DC5-28D9-A9D1-58D56513A560}"/>
          </ac:grpSpMkLst>
        </pc:grpChg>
        <pc:picChg chg="add del mod">
          <ac:chgData name="Kate Mun (KYOUNGRAN)" userId="d8a93241-9b9d-4c25-8457-87ffab4b96e2" providerId="ADAL" clId="{D0392E92-C1C8-4E77-96D0-D493DA4AC621}" dt="2022-10-11T03:50:11.634" v="25781" actId="478"/>
          <ac:picMkLst>
            <pc:docMk/>
            <pc:sldMk cId="4112875368" sldId="2147470379"/>
            <ac:picMk id="4" creationId="{F06B5337-D973-34BA-A3BD-C19FB652D92B}"/>
          </ac:picMkLst>
        </pc:picChg>
        <pc:picChg chg="add mod">
          <ac:chgData name="Kate Mun (KYOUNGRAN)" userId="d8a93241-9b9d-4c25-8457-87ffab4b96e2" providerId="ADAL" clId="{D0392E92-C1C8-4E77-96D0-D493DA4AC621}" dt="2022-10-11T03:48:46.623" v="25754" actId="1076"/>
          <ac:picMkLst>
            <pc:docMk/>
            <pc:sldMk cId="4112875368" sldId="2147470379"/>
            <ac:picMk id="1026" creationId="{2232C720-9A5F-A1FB-1A96-319568052AD1}"/>
          </ac:picMkLst>
        </pc:picChg>
      </pc:sldChg>
      <pc:sldChg chg="modSp mod chgLayout">
        <pc:chgData name="Kate Mun (KYOUNGRAN)" userId="d8a93241-9b9d-4c25-8457-87ffab4b96e2" providerId="ADAL" clId="{D0392E92-C1C8-4E77-96D0-D493DA4AC621}" dt="2022-10-19T01:34:44.059" v="31212" actId="700"/>
        <pc:sldMkLst>
          <pc:docMk/>
          <pc:sldMk cId="2781292973" sldId="2147470380"/>
        </pc:sldMkLst>
        <pc:spChg chg="mod ord">
          <ac:chgData name="Kate Mun (KYOUNGRAN)" userId="d8a93241-9b9d-4c25-8457-87ffab4b96e2" providerId="ADAL" clId="{D0392E92-C1C8-4E77-96D0-D493DA4AC621}" dt="2022-10-19T01:34:44.059" v="31212" actId="700"/>
          <ac:spMkLst>
            <pc:docMk/>
            <pc:sldMk cId="2781292973" sldId="2147470380"/>
            <ac:spMk id="2" creationId="{C9355748-2E5A-FF43-B041-EDECD4D2DAAD}"/>
          </ac:spMkLst>
        </pc:spChg>
        <pc:spChg chg="mod ord">
          <ac:chgData name="Kate Mun (KYOUNGRAN)" userId="d8a93241-9b9d-4c25-8457-87ffab4b96e2" providerId="ADAL" clId="{D0392E92-C1C8-4E77-96D0-D493DA4AC621}" dt="2022-10-19T01:34:44.059" v="31212" actId="700"/>
          <ac:spMkLst>
            <pc:docMk/>
            <pc:sldMk cId="2781292973" sldId="2147470380"/>
            <ac:spMk id="5" creationId="{0F85905A-5E01-8F50-E18C-9D227C507F1C}"/>
          </ac:spMkLst>
        </pc:spChg>
      </pc:sldChg>
      <pc:sldChg chg="modSp mod chgLayout">
        <pc:chgData name="Kate Mun (KYOUNGRAN)" userId="d8a93241-9b9d-4c25-8457-87ffab4b96e2" providerId="ADAL" clId="{D0392E92-C1C8-4E77-96D0-D493DA4AC621}" dt="2022-10-19T01:34:44.059" v="31212" actId="700"/>
        <pc:sldMkLst>
          <pc:docMk/>
          <pc:sldMk cId="792846997" sldId="2147470381"/>
        </pc:sldMkLst>
        <pc:spChg chg="mod ord">
          <ac:chgData name="Kate Mun (KYOUNGRAN)" userId="d8a93241-9b9d-4c25-8457-87ffab4b96e2" providerId="ADAL" clId="{D0392E92-C1C8-4E77-96D0-D493DA4AC621}" dt="2022-10-19T01:34:44.059" v="31212" actId="700"/>
          <ac:spMkLst>
            <pc:docMk/>
            <pc:sldMk cId="792846997" sldId="2147470381"/>
            <ac:spMk id="2" creationId="{C9355748-2E5A-FF43-B041-EDECD4D2DAAD}"/>
          </ac:spMkLst>
        </pc:spChg>
        <pc:spChg chg="mod ord">
          <ac:chgData name="Kate Mun (KYOUNGRAN)" userId="d8a93241-9b9d-4c25-8457-87ffab4b96e2" providerId="ADAL" clId="{D0392E92-C1C8-4E77-96D0-D493DA4AC621}" dt="2022-10-19T01:34:44.059" v="31212" actId="700"/>
          <ac:spMkLst>
            <pc:docMk/>
            <pc:sldMk cId="792846997" sldId="2147470381"/>
            <ac:spMk id="5" creationId="{0F85905A-5E01-8F50-E18C-9D227C507F1C}"/>
          </ac:spMkLst>
        </pc:spChg>
      </pc:sldChg>
      <pc:sldChg chg="addSp delSp modSp add mod chgLayout">
        <pc:chgData name="Kate Mun (KYOUNGRAN)" userId="d8a93241-9b9d-4c25-8457-87ffab4b96e2" providerId="ADAL" clId="{D0392E92-C1C8-4E77-96D0-D493DA4AC621}" dt="2022-10-19T04:14:21.035" v="32712" actId="1076"/>
        <pc:sldMkLst>
          <pc:docMk/>
          <pc:sldMk cId="3363878502" sldId="2147470382"/>
        </pc:sldMkLst>
        <pc:spChg chg="mod ord">
          <ac:chgData name="Kate Mun (KYOUNGRAN)" userId="d8a93241-9b9d-4c25-8457-87ffab4b96e2" providerId="ADAL" clId="{D0392E92-C1C8-4E77-96D0-D493DA4AC621}" dt="2022-10-19T02:49:25.866" v="32405" actId="255"/>
          <ac:spMkLst>
            <pc:docMk/>
            <pc:sldMk cId="3363878502" sldId="2147470382"/>
            <ac:spMk id="2" creationId="{4068EBDE-A141-09B1-5620-CBCEF6DDFE57}"/>
          </ac:spMkLst>
        </pc:spChg>
        <pc:spChg chg="del mod">
          <ac:chgData name="Kate Mun (KYOUNGRAN)" userId="d8a93241-9b9d-4c25-8457-87ffab4b96e2" providerId="ADAL" clId="{D0392E92-C1C8-4E77-96D0-D493DA4AC621}" dt="2022-10-11T03:42:01.087" v="25642" actId="478"/>
          <ac:spMkLst>
            <pc:docMk/>
            <pc:sldMk cId="3363878502" sldId="2147470382"/>
            <ac:spMk id="3" creationId="{D74B672D-2696-6CA1-DC7F-F18D1C562407}"/>
          </ac:spMkLst>
        </pc:spChg>
        <pc:spChg chg="add mod ord">
          <ac:chgData name="Kate Mun (KYOUNGRAN)" userId="d8a93241-9b9d-4c25-8457-87ffab4b96e2" providerId="ADAL" clId="{D0392E92-C1C8-4E77-96D0-D493DA4AC621}" dt="2022-10-19T04:14:12.123" v="32711" actId="12"/>
          <ac:spMkLst>
            <pc:docMk/>
            <pc:sldMk cId="3363878502" sldId="2147470382"/>
            <ac:spMk id="8" creationId="{8AD63279-5432-1316-EC5C-7907BD981AEA}"/>
          </ac:spMkLst>
        </pc:spChg>
        <pc:spChg chg="add mod">
          <ac:chgData name="Kate Mun (KYOUNGRAN)" userId="d8a93241-9b9d-4c25-8457-87ffab4b96e2" providerId="ADAL" clId="{D0392E92-C1C8-4E77-96D0-D493DA4AC621}" dt="2022-10-19T04:14:21.035" v="32712" actId="1076"/>
          <ac:spMkLst>
            <pc:docMk/>
            <pc:sldMk cId="3363878502" sldId="2147470382"/>
            <ac:spMk id="9" creationId="{1C4DEEF8-DDA1-B861-75C4-4A0116FEBFF3}"/>
          </ac:spMkLst>
        </pc:spChg>
        <pc:spChg chg="add mod">
          <ac:chgData name="Kate Mun (KYOUNGRAN)" userId="d8a93241-9b9d-4c25-8457-87ffab4b96e2" providerId="ADAL" clId="{D0392E92-C1C8-4E77-96D0-D493DA4AC621}" dt="2022-10-19T04:14:21.035" v="32712" actId="1076"/>
          <ac:spMkLst>
            <pc:docMk/>
            <pc:sldMk cId="3363878502" sldId="2147470382"/>
            <ac:spMk id="10" creationId="{70EC254C-9A94-71AF-5754-EFF3C129630D}"/>
          </ac:spMkLst>
        </pc:spChg>
        <pc:spChg chg="add del mod">
          <ac:chgData name="Kate Mun (KYOUNGRAN)" userId="d8a93241-9b9d-4c25-8457-87ffab4b96e2" providerId="ADAL" clId="{D0392E92-C1C8-4E77-96D0-D493DA4AC621}" dt="2022-10-11T03:55:34.169" v="26370" actId="478"/>
          <ac:spMkLst>
            <pc:docMk/>
            <pc:sldMk cId="3363878502" sldId="2147470382"/>
            <ac:spMk id="11" creationId="{1431FBD9-840A-707B-5F62-33D0BDDBDEB4}"/>
          </ac:spMkLst>
        </pc:spChg>
        <pc:spChg chg="add mod">
          <ac:chgData name="Kate Mun (KYOUNGRAN)" userId="d8a93241-9b9d-4c25-8457-87ffab4b96e2" providerId="ADAL" clId="{D0392E92-C1C8-4E77-96D0-D493DA4AC621}" dt="2022-10-19T04:14:21.035" v="32712" actId="1076"/>
          <ac:spMkLst>
            <pc:docMk/>
            <pc:sldMk cId="3363878502" sldId="2147470382"/>
            <ac:spMk id="12" creationId="{1DBA1B4A-B567-2C3E-F330-D04497831CF6}"/>
          </ac:spMkLst>
        </pc:spChg>
        <pc:spChg chg="add mod">
          <ac:chgData name="Kate Mun (KYOUNGRAN)" userId="d8a93241-9b9d-4c25-8457-87ffab4b96e2" providerId="ADAL" clId="{D0392E92-C1C8-4E77-96D0-D493DA4AC621}" dt="2022-10-19T04:14:21.035" v="32712" actId="1076"/>
          <ac:spMkLst>
            <pc:docMk/>
            <pc:sldMk cId="3363878502" sldId="2147470382"/>
            <ac:spMk id="13" creationId="{E6FB401D-1722-90CE-E857-3C1530A2DF30}"/>
          </ac:spMkLst>
        </pc:spChg>
        <pc:picChg chg="add del">
          <ac:chgData name="Kate Mun (KYOUNGRAN)" userId="d8a93241-9b9d-4c25-8457-87ffab4b96e2" providerId="ADAL" clId="{D0392E92-C1C8-4E77-96D0-D493DA4AC621}" dt="2022-10-11T03:41:58.174" v="25641" actId="478"/>
          <ac:picMkLst>
            <pc:docMk/>
            <pc:sldMk cId="3363878502" sldId="2147470382"/>
            <ac:picMk id="5" creationId="{AEBB5F86-D89B-52D9-E9EB-5BA1AC400163}"/>
          </ac:picMkLst>
        </pc:picChg>
        <pc:picChg chg="add mod">
          <ac:chgData name="Kate Mun (KYOUNGRAN)" userId="d8a93241-9b9d-4c25-8457-87ffab4b96e2" providerId="ADAL" clId="{D0392E92-C1C8-4E77-96D0-D493DA4AC621}" dt="2022-10-19T04:14:21.035" v="32712" actId="1076"/>
          <ac:picMkLst>
            <pc:docMk/>
            <pc:sldMk cId="3363878502" sldId="2147470382"/>
            <ac:picMk id="7" creationId="{B568AC46-BC1B-6A5E-4DF6-F75B6D46E41C}"/>
          </ac:picMkLst>
        </pc:picChg>
        <pc:picChg chg="del">
          <ac:chgData name="Kate Mun (KYOUNGRAN)" userId="d8a93241-9b9d-4c25-8457-87ffab4b96e2" providerId="ADAL" clId="{D0392E92-C1C8-4E77-96D0-D493DA4AC621}" dt="2022-10-11T02:31:45.677" v="25623" actId="478"/>
          <ac:picMkLst>
            <pc:docMk/>
            <pc:sldMk cId="3363878502" sldId="2147470382"/>
            <ac:picMk id="1026" creationId="{2232C720-9A5F-A1FB-1A96-319568052AD1}"/>
          </ac:picMkLst>
        </pc:picChg>
      </pc:sldChg>
      <pc:sldChg chg="addSp delSp modSp add mod chgLayout">
        <pc:chgData name="Kate Mun (KYOUNGRAN)" userId="d8a93241-9b9d-4c25-8457-87ffab4b96e2" providerId="ADAL" clId="{D0392E92-C1C8-4E77-96D0-D493DA4AC621}" dt="2022-10-19T04:14:32.822" v="32716" actId="1076"/>
        <pc:sldMkLst>
          <pc:docMk/>
          <pc:sldMk cId="2480924673" sldId="2147470383"/>
        </pc:sldMkLst>
        <pc:spChg chg="mod ord">
          <ac:chgData name="Kate Mun (KYOUNGRAN)" userId="d8a93241-9b9d-4c25-8457-87ffab4b96e2" providerId="ADAL" clId="{D0392E92-C1C8-4E77-96D0-D493DA4AC621}" dt="2022-10-19T02:49:44.071" v="32408" actId="2711"/>
          <ac:spMkLst>
            <pc:docMk/>
            <pc:sldMk cId="2480924673" sldId="2147470383"/>
            <ac:spMk id="2" creationId="{4068EBDE-A141-09B1-5620-CBCEF6DDFE57}"/>
          </ac:spMkLst>
        </pc:spChg>
        <pc:spChg chg="del">
          <ac:chgData name="Kate Mun (KYOUNGRAN)" userId="d8a93241-9b9d-4c25-8457-87ffab4b96e2" providerId="ADAL" clId="{D0392E92-C1C8-4E77-96D0-D493DA4AC621}" dt="2022-10-11T03:39:51.152" v="25638" actId="478"/>
          <ac:spMkLst>
            <pc:docMk/>
            <pc:sldMk cId="2480924673" sldId="2147470383"/>
            <ac:spMk id="3" creationId="{D74B672D-2696-6CA1-DC7F-F18D1C562407}"/>
          </ac:spMkLst>
        </pc:spChg>
        <pc:spChg chg="add del mod ord">
          <ac:chgData name="Kate Mun (KYOUNGRAN)" userId="d8a93241-9b9d-4c25-8457-87ffab4b96e2" providerId="ADAL" clId="{D0392E92-C1C8-4E77-96D0-D493DA4AC621}" dt="2022-10-19T02:49:48.499" v="32409" actId="478"/>
          <ac:spMkLst>
            <pc:docMk/>
            <pc:sldMk cId="2480924673" sldId="2147470383"/>
            <ac:spMk id="3" creationId="{EAA63408-3698-6E9B-128F-D0A5524539E6}"/>
          </ac:spMkLst>
        </pc:spChg>
        <pc:spChg chg="add mod">
          <ac:chgData name="Kate Mun (KYOUNGRAN)" userId="d8a93241-9b9d-4c25-8457-87ffab4b96e2" providerId="ADAL" clId="{D0392E92-C1C8-4E77-96D0-D493DA4AC621}" dt="2022-10-19T04:14:32.822" v="32716" actId="1076"/>
          <ac:spMkLst>
            <pc:docMk/>
            <pc:sldMk cId="2480924673" sldId="2147470383"/>
            <ac:spMk id="10" creationId="{9A094F48-DF29-B032-FCA6-D9C241787451}"/>
          </ac:spMkLst>
        </pc:spChg>
        <pc:spChg chg="add mod">
          <ac:chgData name="Kate Mun (KYOUNGRAN)" userId="d8a93241-9b9d-4c25-8457-87ffab4b96e2" providerId="ADAL" clId="{D0392E92-C1C8-4E77-96D0-D493DA4AC621}" dt="2022-10-19T04:14:32.822" v="32716" actId="1076"/>
          <ac:spMkLst>
            <pc:docMk/>
            <pc:sldMk cId="2480924673" sldId="2147470383"/>
            <ac:spMk id="11" creationId="{C3CF1E66-610F-639B-2CD7-E2A608B5581C}"/>
          </ac:spMkLst>
        </pc:spChg>
        <pc:spChg chg="add mod">
          <ac:chgData name="Kate Mun (KYOUNGRAN)" userId="d8a93241-9b9d-4c25-8457-87ffab4b96e2" providerId="ADAL" clId="{D0392E92-C1C8-4E77-96D0-D493DA4AC621}" dt="2022-10-19T04:14:32.822" v="32716" actId="1076"/>
          <ac:spMkLst>
            <pc:docMk/>
            <pc:sldMk cId="2480924673" sldId="2147470383"/>
            <ac:spMk id="12" creationId="{08E77A90-637B-4C7A-1AD6-0C29CD8C8DD8}"/>
          </ac:spMkLst>
        </pc:spChg>
        <pc:spChg chg="add mod">
          <ac:chgData name="Kate Mun (KYOUNGRAN)" userId="d8a93241-9b9d-4c25-8457-87ffab4b96e2" providerId="ADAL" clId="{D0392E92-C1C8-4E77-96D0-D493DA4AC621}" dt="2022-10-19T04:14:32.822" v="32716" actId="1076"/>
          <ac:spMkLst>
            <pc:docMk/>
            <pc:sldMk cId="2480924673" sldId="2147470383"/>
            <ac:spMk id="13" creationId="{1E588258-68CA-D542-495A-307DBC24368D}"/>
          </ac:spMkLst>
        </pc:spChg>
        <pc:spChg chg="add mod">
          <ac:chgData name="Kate Mun (KYOUNGRAN)" userId="d8a93241-9b9d-4c25-8457-87ffab4b96e2" providerId="ADAL" clId="{D0392E92-C1C8-4E77-96D0-D493DA4AC621}" dt="2022-10-19T04:14:32.822" v="32716" actId="1076"/>
          <ac:spMkLst>
            <pc:docMk/>
            <pc:sldMk cId="2480924673" sldId="2147470383"/>
            <ac:spMk id="14" creationId="{6DC9CAD0-D960-54FE-648F-2B64A00669DA}"/>
          </ac:spMkLst>
        </pc:spChg>
        <pc:spChg chg="add mod">
          <ac:chgData name="Kate Mun (KYOUNGRAN)" userId="d8a93241-9b9d-4c25-8457-87ffab4b96e2" providerId="ADAL" clId="{D0392E92-C1C8-4E77-96D0-D493DA4AC621}" dt="2022-10-19T04:14:32.822" v="32716" actId="1076"/>
          <ac:spMkLst>
            <pc:docMk/>
            <pc:sldMk cId="2480924673" sldId="2147470383"/>
            <ac:spMk id="15" creationId="{7EF4307B-3D9D-E985-09A0-C233107F574F}"/>
          </ac:spMkLst>
        </pc:spChg>
        <pc:spChg chg="add mod">
          <ac:chgData name="Kate Mun (KYOUNGRAN)" userId="d8a93241-9b9d-4c25-8457-87ffab4b96e2" providerId="ADAL" clId="{D0392E92-C1C8-4E77-96D0-D493DA4AC621}" dt="2022-10-19T04:14:32.822" v="32716" actId="1076"/>
          <ac:spMkLst>
            <pc:docMk/>
            <pc:sldMk cId="2480924673" sldId="2147470383"/>
            <ac:spMk id="16" creationId="{2CA842D9-5968-50BE-1D2D-0C21A1DDD563}"/>
          </ac:spMkLst>
        </pc:spChg>
        <pc:spChg chg="add mod">
          <ac:chgData name="Kate Mun (KYOUNGRAN)" userId="d8a93241-9b9d-4c25-8457-87ffab4b96e2" providerId="ADAL" clId="{D0392E92-C1C8-4E77-96D0-D493DA4AC621}" dt="2022-10-19T04:14:32.822" v="32716" actId="1076"/>
          <ac:spMkLst>
            <pc:docMk/>
            <pc:sldMk cId="2480924673" sldId="2147470383"/>
            <ac:spMk id="17" creationId="{6B1AE980-8E56-B9FE-F222-459712E458B6}"/>
          </ac:spMkLst>
        </pc:spChg>
        <pc:spChg chg="add del mod">
          <ac:chgData name="Kate Mun (KYOUNGRAN)" userId="d8a93241-9b9d-4c25-8457-87ffab4b96e2" providerId="ADAL" clId="{D0392E92-C1C8-4E77-96D0-D493DA4AC621}" dt="2022-10-11T04:03:45.786" v="26683" actId="478"/>
          <ac:spMkLst>
            <pc:docMk/>
            <pc:sldMk cId="2480924673" sldId="2147470383"/>
            <ac:spMk id="18" creationId="{13B6E90F-3FCB-E786-02FE-954E9D3F7453}"/>
          </ac:spMkLst>
        </pc:spChg>
        <pc:grpChg chg="add mod">
          <ac:chgData name="Kate Mun (KYOUNGRAN)" userId="d8a93241-9b9d-4c25-8457-87ffab4b96e2" providerId="ADAL" clId="{D0392E92-C1C8-4E77-96D0-D493DA4AC621}" dt="2022-10-19T04:14:32.822" v="32716" actId="1076"/>
          <ac:grpSpMkLst>
            <pc:docMk/>
            <pc:sldMk cId="2480924673" sldId="2147470383"/>
            <ac:grpSpMk id="9" creationId="{D4EAFFE6-5C74-547D-AF61-D602B4EF5BE1}"/>
          </ac:grpSpMkLst>
        </pc:grpChg>
        <pc:picChg chg="del mod">
          <ac:chgData name="Kate Mun (KYOUNGRAN)" userId="d8a93241-9b9d-4c25-8457-87ffab4b96e2" providerId="ADAL" clId="{D0392E92-C1C8-4E77-96D0-D493DA4AC621}" dt="2022-10-11T03:44:25.730" v="25654" actId="478"/>
          <ac:picMkLst>
            <pc:docMk/>
            <pc:sldMk cId="2480924673" sldId="2147470383"/>
            <ac:picMk id="5" creationId="{AEBB5F86-D89B-52D9-E9EB-5BA1AC400163}"/>
          </ac:picMkLst>
        </pc:picChg>
        <pc:picChg chg="add mod">
          <ac:chgData name="Kate Mun (KYOUNGRAN)" userId="d8a93241-9b9d-4c25-8457-87ffab4b96e2" providerId="ADAL" clId="{D0392E92-C1C8-4E77-96D0-D493DA4AC621}" dt="2022-10-11T04:00:45.243" v="26658" actId="208"/>
          <ac:picMkLst>
            <pc:docMk/>
            <pc:sldMk cId="2480924673" sldId="2147470383"/>
            <ac:picMk id="6" creationId="{229E2767-311D-ADC6-35AE-6A287A33D57F}"/>
          </ac:picMkLst>
        </pc:picChg>
        <pc:picChg chg="add mod">
          <ac:chgData name="Kate Mun (KYOUNGRAN)" userId="d8a93241-9b9d-4c25-8457-87ffab4b96e2" providerId="ADAL" clId="{D0392E92-C1C8-4E77-96D0-D493DA4AC621}" dt="2022-10-11T04:00:45.243" v="26658" actId="208"/>
          <ac:picMkLst>
            <pc:docMk/>
            <pc:sldMk cId="2480924673" sldId="2147470383"/>
            <ac:picMk id="8" creationId="{85A79AF0-A401-BBAE-A342-19797EB00F08}"/>
          </ac:picMkLst>
        </pc:picChg>
      </pc:sldChg>
      <pc:sldChg chg="modSp mod chgLayout">
        <pc:chgData name="Kate Mun (KYOUNGRAN)" userId="d8a93241-9b9d-4c25-8457-87ffab4b96e2" providerId="ADAL" clId="{D0392E92-C1C8-4E77-96D0-D493DA4AC621}" dt="2022-10-19T01:34:44.059" v="31212" actId="700"/>
        <pc:sldMkLst>
          <pc:docMk/>
          <pc:sldMk cId="657623066" sldId="2147470384"/>
        </pc:sldMkLst>
        <pc:spChg chg="mod ord">
          <ac:chgData name="Kate Mun (KYOUNGRAN)" userId="d8a93241-9b9d-4c25-8457-87ffab4b96e2" providerId="ADAL" clId="{D0392E92-C1C8-4E77-96D0-D493DA4AC621}" dt="2022-10-19T01:34:44.059" v="31212" actId="700"/>
          <ac:spMkLst>
            <pc:docMk/>
            <pc:sldMk cId="657623066" sldId="2147470384"/>
            <ac:spMk id="2" creationId="{C9355748-2E5A-FF43-B041-EDECD4D2DAAD}"/>
          </ac:spMkLst>
        </pc:spChg>
        <pc:spChg chg="mod ord">
          <ac:chgData name="Kate Mun (KYOUNGRAN)" userId="d8a93241-9b9d-4c25-8457-87ffab4b96e2" providerId="ADAL" clId="{D0392E92-C1C8-4E77-96D0-D493DA4AC621}" dt="2022-10-19T01:34:44.059" v="31212" actId="700"/>
          <ac:spMkLst>
            <pc:docMk/>
            <pc:sldMk cId="657623066" sldId="2147470384"/>
            <ac:spMk id="5" creationId="{0F85905A-5E01-8F50-E18C-9D227C507F1C}"/>
          </ac:spMkLst>
        </pc:spChg>
      </pc:sldChg>
      <pc:sldChg chg="add del">
        <pc:chgData name="Kate Mun (KYOUNGRAN)" userId="d8a93241-9b9d-4c25-8457-87ffab4b96e2" providerId="ADAL" clId="{D0392E92-C1C8-4E77-96D0-D493DA4AC621}" dt="2022-10-11T06:59:35.952" v="26895" actId="47"/>
        <pc:sldMkLst>
          <pc:docMk/>
          <pc:sldMk cId="325545239" sldId="2147470385"/>
        </pc:sldMkLst>
      </pc:sldChg>
      <pc:sldChg chg="modSp add del mod">
        <pc:chgData name="Kate Mun (KYOUNGRAN)" userId="d8a93241-9b9d-4c25-8457-87ffab4b96e2" providerId="ADAL" clId="{D0392E92-C1C8-4E77-96D0-D493DA4AC621}" dt="2022-10-19T06:00:32.318" v="33203" actId="47"/>
        <pc:sldMkLst>
          <pc:docMk/>
          <pc:sldMk cId="1509983314" sldId="2147470385"/>
        </pc:sldMkLst>
        <pc:spChg chg="mod">
          <ac:chgData name="Kate Mun (KYOUNGRAN)" userId="d8a93241-9b9d-4c25-8457-87ffab4b96e2" providerId="ADAL" clId="{D0392E92-C1C8-4E77-96D0-D493DA4AC621}" dt="2022-10-19T01:37:19.177" v="31227" actId="255"/>
          <ac:spMkLst>
            <pc:docMk/>
            <pc:sldMk cId="1509983314" sldId="2147470385"/>
            <ac:spMk id="4" creationId="{478E6F04-597A-5048-C40E-E4626BBD9733}"/>
          </ac:spMkLst>
        </pc:spChg>
      </pc:sldChg>
      <pc:sldChg chg="add del">
        <pc:chgData name="Kate Mun (KYOUNGRAN)" userId="d8a93241-9b9d-4c25-8457-87ffab4b96e2" providerId="ADAL" clId="{D0392E92-C1C8-4E77-96D0-D493DA4AC621}" dt="2022-10-11T06:32:34.520" v="26829"/>
        <pc:sldMkLst>
          <pc:docMk/>
          <pc:sldMk cId="2852438853" sldId="2147470385"/>
        </pc:sldMkLst>
      </pc:sldChg>
      <pc:sldChg chg="new del">
        <pc:chgData name="Kate Mun (KYOUNGRAN)" userId="d8a93241-9b9d-4c25-8457-87ffab4b96e2" providerId="ADAL" clId="{D0392E92-C1C8-4E77-96D0-D493DA4AC621}" dt="2022-10-11T06:30:51.829" v="26714" actId="680"/>
        <pc:sldMkLst>
          <pc:docMk/>
          <pc:sldMk cId="4189919483" sldId="2147470385"/>
        </pc:sldMkLst>
      </pc:sldChg>
      <pc:sldChg chg="addSp delSp modSp new mod ord chgLayout">
        <pc:chgData name="Kate Mun (KYOUNGRAN)" userId="d8a93241-9b9d-4c25-8457-87ffab4b96e2" providerId="ADAL" clId="{D0392E92-C1C8-4E77-96D0-D493DA4AC621}" dt="2022-10-20T07:16:39.696" v="34723" actId="20577"/>
        <pc:sldMkLst>
          <pc:docMk/>
          <pc:sldMk cId="244178437" sldId="2147470386"/>
        </pc:sldMkLst>
        <pc:spChg chg="del">
          <ac:chgData name="Kate Mun (KYOUNGRAN)" userId="d8a93241-9b9d-4c25-8457-87ffab4b96e2" providerId="ADAL" clId="{D0392E92-C1C8-4E77-96D0-D493DA4AC621}" dt="2022-10-12T01:53:50.261" v="26948" actId="700"/>
          <ac:spMkLst>
            <pc:docMk/>
            <pc:sldMk cId="244178437" sldId="2147470386"/>
            <ac:spMk id="2" creationId="{52EB4D8D-C2B3-C954-3511-7CF7FFF02F19}"/>
          </ac:spMkLst>
        </pc:spChg>
        <pc:spChg chg="del mod">
          <ac:chgData name="Kate Mun (KYOUNGRAN)" userId="d8a93241-9b9d-4c25-8457-87ffab4b96e2" providerId="ADAL" clId="{D0392E92-C1C8-4E77-96D0-D493DA4AC621}" dt="2022-10-11T07:00:16.228" v="26901" actId="478"/>
          <ac:spMkLst>
            <pc:docMk/>
            <pc:sldMk cId="244178437" sldId="2147470386"/>
            <ac:spMk id="3" creationId="{1D14C055-DB59-8393-1B31-8E8A31885820}"/>
          </ac:spMkLst>
        </pc:spChg>
        <pc:spChg chg="add mod ord">
          <ac:chgData name="Kate Mun (KYOUNGRAN)" userId="d8a93241-9b9d-4c25-8457-87ffab4b96e2" providerId="ADAL" clId="{D0392E92-C1C8-4E77-96D0-D493DA4AC621}" dt="2022-10-19T01:49:38.070" v="31250" actId="255"/>
          <ac:spMkLst>
            <pc:docMk/>
            <pc:sldMk cId="244178437" sldId="2147470386"/>
            <ac:spMk id="3" creationId="{98C9B3AE-F3DE-1806-9652-9C48C1C3D3E5}"/>
          </ac:spMkLst>
        </pc:spChg>
        <pc:spChg chg="add mod ord">
          <ac:chgData name="Kate Mun (KYOUNGRAN)" userId="d8a93241-9b9d-4c25-8457-87ffab4b96e2" providerId="ADAL" clId="{D0392E92-C1C8-4E77-96D0-D493DA4AC621}" dt="2022-10-20T07:16:39.696" v="34723" actId="20577"/>
          <ac:spMkLst>
            <pc:docMk/>
            <pc:sldMk cId="244178437" sldId="2147470386"/>
            <ac:spMk id="4" creationId="{091BC75E-D3D4-DBAE-B75F-348AAF79AD20}"/>
          </ac:spMkLst>
        </pc:spChg>
        <pc:spChg chg="del">
          <ac:chgData name="Kate Mun (KYOUNGRAN)" userId="d8a93241-9b9d-4c25-8457-87ffab4b96e2" providerId="ADAL" clId="{D0392E92-C1C8-4E77-96D0-D493DA4AC621}" dt="2022-10-11T06:59:47.545" v="26898" actId="478"/>
          <ac:spMkLst>
            <pc:docMk/>
            <pc:sldMk cId="244178437" sldId="2147470386"/>
            <ac:spMk id="4" creationId="{C0AA0F34-0663-2C7C-FFEA-D2B028B10A69}"/>
          </ac:spMkLst>
        </pc:spChg>
        <pc:spChg chg="add del mod ord">
          <ac:chgData name="Kate Mun (KYOUNGRAN)" userId="d8a93241-9b9d-4c25-8457-87ffab4b96e2" providerId="ADAL" clId="{D0392E92-C1C8-4E77-96D0-D493DA4AC621}" dt="2022-10-12T01:53:52.932" v="26949" actId="478"/>
          <ac:spMkLst>
            <pc:docMk/>
            <pc:sldMk cId="244178437" sldId="2147470386"/>
            <ac:spMk id="5" creationId="{10352091-6426-DF74-923F-DD0BBADD8A5E}"/>
          </ac:spMkLst>
        </pc:spChg>
        <pc:picChg chg="add mod">
          <ac:chgData name="Kate Mun (KYOUNGRAN)" userId="d8a93241-9b9d-4c25-8457-87ffab4b96e2" providerId="ADAL" clId="{D0392E92-C1C8-4E77-96D0-D493DA4AC621}" dt="2022-10-20T07:00:09.476" v="34661" actId="14100"/>
          <ac:picMkLst>
            <pc:docMk/>
            <pc:sldMk cId="244178437" sldId="2147470386"/>
            <ac:picMk id="6" creationId="{CB299C95-D18A-52A2-D1BF-4B9B01027AE3}"/>
          </ac:picMkLst>
        </pc:picChg>
      </pc:sldChg>
      <pc:sldChg chg="modSp mod chgLayout">
        <pc:chgData name="Kate Mun (KYOUNGRAN)" userId="d8a93241-9b9d-4c25-8457-87ffab4b96e2" providerId="ADAL" clId="{D0392E92-C1C8-4E77-96D0-D493DA4AC621}" dt="2022-10-19T01:34:44.059" v="31212" actId="700"/>
        <pc:sldMkLst>
          <pc:docMk/>
          <pc:sldMk cId="1563875195" sldId="2147470387"/>
        </pc:sldMkLst>
        <pc:spChg chg="mod ord">
          <ac:chgData name="Kate Mun (KYOUNGRAN)" userId="d8a93241-9b9d-4c25-8457-87ffab4b96e2" providerId="ADAL" clId="{D0392E92-C1C8-4E77-96D0-D493DA4AC621}" dt="2022-10-19T01:34:44.059" v="31212" actId="700"/>
          <ac:spMkLst>
            <pc:docMk/>
            <pc:sldMk cId="1563875195" sldId="2147470387"/>
            <ac:spMk id="2" creationId="{C9355748-2E5A-FF43-B041-EDECD4D2DAAD}"/>
          </ac:spMkLst>
        </pc:spChg>
        <pc:spChg chg="mod ord">
          <ac:chgData name="Kate Mun (KYOUNGRAN)" userId="d8a93241-9b9d-4c25-8457-87ffab4b96e2" providerId="ADAL" clId="{D0392E92-C1C8-4E77-96D0-D493DA4AC621}" dt="2022-10-19T01:34:44.059" v="31212" actId="700"/>
          <ac:spMkLst>
            <pc:docMk/>
            <pc:sldMk cId="1563875195" sldId="2147470387"/>
            <ac:spMk id="5" creationId="{0F85905A-5E01-8F50-E18C-9D227C507F1C}"/>
          </ac:spMkLst>
        </pc:spChg>
      </pc:sldChg>
      <pc:sldChg chg="addSp delSp add del mod">
        <pc:chgData name="Kate Mun (KYOUNGRAN)" userId="d8a93241-9b9d-4c25-8457-87ffab4b96e2" providerId="ADAL" clId="{D0392E92-C1C8-4E77-96D0-D493DA4AC621}" dt="2022-10-12T01:36:39.607" v="26947"/>
        <pc:sldMkLst>
          <pc:docMk/>
          <pc:sldMk cId="4107711568" sldId="2147470387"/>
        </pc:sldMkLst>
        <pc:picChg chg="add del">
          <ac:chgData name="Kate Mun (KYOUNGRAN)" userId="d8a93241-9b9d-4c25-8457-87ffab4b96e2" providerId="ADAL" clId="{D0392E92-C1C8-4E77-96D0-D493DA4AC621}" dt="2022-10-12T01:36:37.358" v="26946" actId="478"/>
          <ac:picMkLst>
            <pc:docMk/>
            <pc:sldMk cId="4107711568" sldId="2147470387"/>
            <ac:picMk id="6" creationId="{CB299C95-D18A-52A2-D1BF-4B9B01027AE3}"/>
          </ac:picMkLst>
        </pc:picChg>
      </pc:sldChg>
      <pc:sldChg chg="new del">
        <pc:chgData name="Kate Mun (KYOUNGRAN)" userId="d8a93241-9b9d-4c25-8457-87ffab4b96e2" providerId="ADAL" clId="{D0392E92-C1C8-4E77-96D0-D493DA4AC621}" dt="2022-10-12T01:36:35.722" v="26945" actId="680"/>
        <pc:sldMkLst>
          <pc:docMk/>
          <pc:sldMk cId="69955712" sldId="2147470388"/>
        </pc:sldMkLst>
      </pc:sldChg>
      <pc:sldChg chg="addSp delSp modSp add del mod">
        <pc:chgData name="Kate Mun (KYOUNGRAN)" userId="d8a93241-9b9d-4c25-8457-87ffab4b96e2" providerId="ADAL" clId="{D0392E92-C1C8-4E77-96D0-D493DA4AC621}" dt="2022-10-12T06:33:40.369" v="30292" actId="47"/>
        <pc:sldMkLst>
          <pc:docMk/>
          <pc:sldMk cId="1602378665" sldId="2147470388"/>
        </pc:sldMkLst>
        <pc:spChg chg="mod">
          <ac:chgData name="Kate Mun (KYOUNGRAN)" userId="d8a93241-9b9d-4c25-8457-87ffab4b96e2" providerId="ADAL" clId="{D0392E92-C1C8-4E77-96D0-D493DA4AC621}" dt="2022-10-12T03:36:41.324" v="28412" actId="20577"/>
          <ac:spMkLst>
            <pc:docMk/>
            <pc:sldMk cId="1602378665" sldId="2147470388"/>
            <ac:spMk id="3" creationId="{98C9B3AE-F3DE-1806-9652-9C48C1C3D3E5}"/>
          </ac:spMkLst>
        </pc:spChg>
        <pc:spChg chg="del mod">
          <ac:chgData name="Kate Mun (KYOUNGRAN)" userId="d8a93241-9b9d-4c25-8457-87ffab4b96e2" providerId="ADAL" clId="{D0392E92-C1C8-4E77-96D0-D493DA4AC621}" dt="2022-10-12T06:22:47.266" v="29624" actId="478"/>
          <ac:spMkLst>
            <pc:docMk/>
            <pc:sldMk cId="1602378665" sldId="2147470388"/>
            <ac:spMk id="4" creationId="{091BC75E-D3D4-DBAE-B75F-348AAF79AD20}"/>
          </ac:spMkLst>
        </pc:spChg>
        <pc:spChg chg="add del mod">
          <ac:chgData name="Kate Mun (KYOUNGRAN)" userId="d8a93241-9b9d-4c25-8457-87ffab4b96e2" providerId="ADAL" clId="{D0392E92-C1C8-4E77-96D0-D493DA4AC621}" dt="2022-10-12T06:22:49.502" v="29625" actId="478"/>
          <ac:spMkLst>
            <pc:docMk/>
            <pc:sldMk cId="1602378665" sldId="2147470388"/>
            <ac:spMk id="11" creationId="{A2B13FBB-C766-A4C3-2EC2-7B39A639F7CD}"/>
          </ac:spMkLst>
        </pc:spChg>
        <pc:graphicFrameChg chg="add del mod">
          <ac:chgData name="Kate Mun (KYOUNGRAN)" userId="d8a93241-9b9d-4c25-8457-87ffab4b96e2" providerId="ADAL" clId="{D0392E92-C1C8-4E77-96D0-D493DA4AC621}" dt="2022-10-12T06:22:37.900" v="29622" actId="478"/>
          <ac:graphicFrameMkLst>
            <pc:docMk/>
            <pc:sldMk cId="1602378665" sldId="2147470388"/>
            <ac:graphicFrameMk id="9" creationId="{30B8D592-C934-C56E-8520-25458DD75BAE}"/>
          </ac:graphicFrameMkLst>
        </pc:graphicFrameChg>
        <pc:graphicFrameChg chg="add del mod">
          <ac:chgData name="Kate Mun (KYOUNGRAN)" userId="d8a93241-9b9d-4c25-8457-87ffab4b96e2" providerId="ADAL" clId="{D0392E92-C1C8-4E77-96D0-D493DA4AC621}" dt="2022-10-12T06:23:15.018" v="29630" actId="478"/>
          <ac:graphicFrameMkLst>
            <pc:docMk/>
            <pc:sldMk cId="1602378665" sldId="2147470388"/>
            <ac:graphicFrameMk id="12" creationId="{3173F6CF-F664-5346-0B48-8D3E1636B88A}"/>
          </ac:graphicFrameMkLst>
        </pc:graphicFrameChg>
        <pc:graphicFrameChg chg="add del mod">
          <ac:chgData name="Kate Mun (KYOUNGRAN)" userId="d8a93241-9b9d-4c25-8457-87ffab4b96e2" providerId="ADAL" clId="{D0392E92-C1C8-4E77-96D0-D493DA4AC621}" dt="2022-10-12T06:23:16.483" v="29631" actId="478"/>
          <ac:graphicFrameMkLst>
            <pc:docMk/>
            <pc:sldMk cId="1602378665" sldId="2147470388"/>
            <ac:graphicFrameMk id="13" creationId="{A84C207B-D4C7-EF79-6273-2A1C6512FFE6}"/>
          </ac:graphicFrameMkLst>
        </pc:graphicFrameChg>
        <pc:graphicFrameChg chg="add del mod">
          <ac:chgData name="Kate Mun (KYOUNGRAN)" userId="d8a93241-9b9d-4c25-8457-87ffab4b96e2" providerId="ADAL" clId="{D0392E92-C1C8-4E77-96D0-D493DA4AC621}" dt="2022-10-12T06:23:24.462" v="29639"/>
          <ac:graphicFrameMkLst>
            <pc:docMk/>
            <pc:sldMk cId="1602378665" sldId="2147470388"/>
            <ac:graphicFrameMk id="14" creationId="{7C1E3809-D456-588D-8EFB-C7828DC36347}"/>
          </ac:graphicFrameMkLst>
        </pc:graphicFrameChg>
        <pc:graphicFrameChg chg="add mod modGraphic">
          <ac:chgData name="Kate Mun (KYOUNGRAN)" userId="d8a93241-9b9d-4c25-8457-87ffab4b96e2" providerId="ADAL" clId="{D0392E92-C1C8-4E77-96D0-D493DA4AC621}" dt="2022-10-12T06:29:05.722" v="30238" actId="1076"/>
          <ac:graphicFrameMkLst>
            <pc:docMk/>
            <pc:sldMk cId="1602378665" sldId="2147470388"/>
            <ac:graphicFrameMk id="15" creationId="{39EBBEDB-148A-2DA8-1EFD-E0446029C34A}"/>
          </ac:graphicFrameMkLst>
        </pc:graphicFrameChg>
        <pc:picChg chg="add del mod">
          <ac:chgData name="Kate Mun (KYOUNGRAN)" userId="d8a93241-9b9d-4c25-8457-87ffab4b96e2" providerId="ADAL" clId="{D0392E92-C1C8-4E77-96D0-D493DA4AC621}" dt="2022-10-12T03:45:04.055" v="28604" actId="478"/>
          <ac:picMkLst>
            <pc:docMk/>
            <pc:sldMk cId="1602378665" sldId="2147470388"/>
            <ac:picMk id="5" creationId="{16415C7C-ADDE-A30A-3708-B5C284D28914}"/>
          </ac:picMkLst>
        </pc:picChg>
        <pc:picChg chg="del">
          <ac:chgData name="Kate Mun (KYOUNGRAN)" userId="d8a93241-9b9d-4c25-8457-87ffab4b96e2" providerId="ADAL" clId="{D0392E92-C1C8-4E77-96D0-D493DA4AC621}" dt="2022-10-12T03:32:27.631" v="27748" actId="478"/>
          <ac:picMkLst>
            <pc:docMk/>
            <pc:sldMk cId="1602378665" sldId="2147470388"/>
            <ac:picMk id="6" creationId="{CB299C95-D18A-52A2-D1BF-4B9B01027AE3}"/>
          </ac:picMkLst>
        </pc:picChg>
        <pc:picChg chg="add del mod">
          <ac:chgData name="Kate Mun (KYOUNGRAN)" userId="d8a93241-9b9d-4c25-8457-87ffab4b96e2" providerId="ADAL" clId="{D0392E92-C1C8-4E77-96D0-D493DA4AC621}" dt="2022-10-12T06:22:47.266" v="29624" actId="478"/>
          <ac:picMkLst>
            <pc:docMk/>
            <pc:sldMk cId="1602378665" sldId="2147470388"/>
            <ac:picMk id="8" creationId="{F34B25AE-09C7-5569-58F3-3E4D28E9E457}"/>
          </ac:picMkLst>
        </pc:picChg>
      </pc:sldChg>
      <pc:sldChg chg="new del">
        <pc:chgData name="Kate Mun (KYOUNGRAN)" userId="d8a93241-9b9d-4c25-8457-87ffab4b96e2" providerId="ADAL" clId="{D0392E92-C1C8-4E77-96D0-D493DA4AC621}" dt="2022-10-12T01:36:35.487" v="26944" actId="680"/>
        <pc:sldMkLst>
          <pc:docMk/>
          <pc:sldMk cId="3351239268" sldId="2147470389"/>
        </pc:sldMkLst>
      </pc:sldChg>
      <pc:sldChg chg="addSp delSp modSp add mod addCm delCm chgLayout">
        <pc:chgData name="Kate Mun (KYOUNGRAN)" userId="d8a93241-9b9d-4c25-8457-87ffab4b96e2" providerId="ADAL" clId="{D0392E92-C1C8-4E77-96D0-D493DA4AC621}" dt="2022-10-20T05:22:33.827" v="34636" actId="6549"/>
        <pc:sldMkLst>
          <pc:docMk/>
          <pc:sldMk cId="3531395690" sldId="2147470389"/>
        </pc:sldMkLst>
        <pc:spChg chg="add mod ord">
          <ac:chgData name="Kate Mun (KYOUNGRAN)" userId="d8a93241-9b9d-4c25-8457-87ffab4b96e2" providerId="ADAL" clId="{D0392E92-C1C8-4E77-96D0-D493DA4AC621}" dt="2022-10-20T05:22:33.827" v="34636" actId="6549"/>
          <ac:spMkLst>
            <pc:docMk/>
            <pc:sldMk cId="3531395690" sldId="2147470389"/>
            <ac:spMk id="2" creationId="{E44E453B-1946-1ED0-5EBA-3AD844296E6F}"/>
          </ac:spMkLst>
        </pc:spChg>
        <pc:spChg chg="mod ord">
          <ac:chgData name="Kate Mun (KYOUNGRAN)" userId="d8a93241-9b9d-4c25-8457-87ffab4b96e2" providerId="ADAL" clId="{D0392E92-C1C8-4E77-96D0-D493DA4AC621}" dt="2022-10-19T01:53:54.632" v="31314" actId="255"/>
          <ac:spMkLst>
            <pc:docMk/>
            <pc:sldMk cId="3531395690" sldId="2147470389"/>
            <ac:spMk id="3" creationId="{98C9B3AE-F3DE-1806-9652-9C48C1C3D3E5}"/>
          </ac:spMkLst>
        </pc:spChg>
        <pc:spChg chg="del mod">
          <ac:chgData name="Kate Mun (KYOUNGRAN)" userId="d8a93241-9b9d-4c25-8457-87ffab4b96e2" providerId="ADAL" clId="{D0392E92-C1C8-4E77-96D0-D493DA4AC621}" dt="2022-10-19T01:34:49.625" v="31213" actId="700"/>
          <ac:spMkLst>
            <pc:docMk/>
            <pc:sldMk cId="3531395690" sldId="2147470389"/>
            <ac:spMk id="4" creationId="{091BC75E-D3D4-DBAE-B75F-348AAF79AD20}"/>
          </ac:spMkLst>
        </pc:spChg>
        <pc:spChg chg="add del mod">
          <ac:chgData name="Kate Mun (KYOUNGRAN)" userId="d8a93241-9b9d-4c25-8457-87ffab4b96e2" providerId="ADAL" clId="{D0392E92-C1C8-4E77-96D0-D493DA4AC621}" dt="2022-10-19T12:05:08.671" v="33842" actId="478"/>
          <ac:spMkLst>
            <pc:docMk/>
            <pc:sldMk cId="3531395690" sldId="2147470389"/>
            <ac:spMk id="11" creationId="{4607ED66-380F-2204-0B17-F7BB5F779392}"/>
          </ac:spMkLst>
        </pc:spChg>
        <pc:picChg chg="add mod">
          <ac:chgData name="Kate Mun (KYOUNGRAN)" userId="d8a93241-9b9d-4c25-8457-87ffab4b96e2" providerId="ADAL" clId="{D0392E92-C1C8-4E77-96D0-D493DA4AC621}" dt="2022-10-20T05:22:26.085" v="34629" actId="1076"/>
          <ac:picMkLst>
            <pc:docMk/>
            <pc:sldMk cId="3531395690" sldId="2147470389"/>
            <ac:picMk id="5" creationId="{77C314EE-7D15-C77B-3A95-C8A0B730E741}"/>
          </ac:picMkLst>
        </pc:picChg>
        <pc:picChg chg="add mod">
          <ac:chgData name="Kate Mun (KYOUNGRAN)" userId="d8a93241-9b9d-4c25-8457-87ffab4b96e2" providerId="ADAL" clId="{D0392E92-C1C8-4E77-96D0-D493DA4AC621}" dt="2022-10-20T05:22:26.085" v="34629" actId="1076"/>
          <ac:picMkLst>
            <pc:docMk/>
            <pc:sldMk cId="3531395690" sldId="2147470389"/>
            <ac:picMk id="7" creationId="{6835FE14-6D3E-BD7E-D502-97AFB2667BFB}"/>
          </ac:picMkLst>
        </pc:picChg>
        <pc:picChg chg="del">
          <ac:chgData name="Kate Mun (KYOUNGRAN)" userId="d8a93241-9b9d-4c25-8457-87ffab4b96e2" providerId="ADAL" clId="{D0392E92-C1C8-4E77-96D0-D493DA4AC621}" dt="2022-10-12T04:28:42.961" v="28886" actId="478"/>
          <ac:picMkLst>
            <pc:docMk/>
            <pc:sldMk cId="3531395690" sldId="2147470389"/>
            <ac:picMk id="8" creationId="{F34B25AE-09C7-5569-58F3-3E4D28E9E457}"/>
          </ac:picMkLst>
        </pc:picChg>
        <pc:picChg chg="add del mod">
          <ac:chgData name="Kate Mun (KYOUNGRAN)" userId="d8a93241-9b9d-4c25-8457-87ffab4b96e2" providerId="ADAL" clId="{D0392E92-C1C8-4E77-96D0-D493DA4AC621}" dt="2022-10-19T12:27:44.252" v="34047" actId="478"/>
          <ac:picMkLst>
            <pc:docMk/>
            <pc:sldMk cId="3531395690" sldId="2147470389"/>
            <ac:picMk id="9" creationId="{E0C23720-2FBC-DF4D-EC4B-F1616AD46447}"/>
          </ac:picMkLst>
        </pc:picChg>
      </pc:sldChg>
      <pc:sldChg chg="modSp mod chgLayout">
        <pc:chgData name="Kate Mun (KYOUNGRAN)" userId="d8a93241-9b9d-4c25-8457-87ffab4b96e2" providerId="ADAL" clId="{D0392E92-C1C8-4E77-96D0-D493DA4AC621}" dt="2022-10-19T01:34:44.059" v="31212" actId="700"/>
        <pc:sldMkLst>
          <pc:docMk/>
          <pc:sldMk cId="469414327" sldId="2147470390"/>
        </pc:sldMkLst>
        <pc:spChg chg="mod ord">
          <ac:chgData name="Kate Mun (KYOUNGRAN)" userId="d8a93241-9b9d-4c25-8457-87ffab4b96e2" providerId="ADAL" clId="{D0392E92-C1C8-4E77-96D0-D493DA4AC621}" dt="2022-10-19T01:34:44.059" v="31212" actId="700"/>
          <ac:spMkLst>
            <pc:docMk/>
            <pc:sldMk cId="469414327" sldId="2147470390"/>
            <ac:spMk id="2" creationId="{C9355748-2E5A-FF43-B041-EDECD4D2DAAD}"/>
          </ac:spMkLst>
        </pc:spChg>
        <pc:spChg chg="mod ord">
          <ac:chgData name="Kate Mun (KYOUNGRAN)" userId="d8a93241-9b9d-4c25-8457-87ffab4b96e2" providerId="ADAL" clId="{D0392E92-C1C8-4E77-96D0-D493DA4AC621}" dt="2022-10-19T01:34:44.059" v="31212" actId="700"/>
          <ac:spMkLst>
            <pc:docMk/>
            <pc:sldMk cId="469414327" sldId="2147470390"/>
            <ac:spMk id="5" creationId="{0F85905A-5E01-8F50-E18C-9D227C507F1C}"/>
          </ac:spMkLst>
        </pc:spChg>
      </pc:sldChg>
      <pc:sldChg chg="modSp mod chgLayout">
        <pc:chgData name="Kate Mun (KYOUNGRAN)" userId="d8a93241-9b9d-4c25-8457-87ffab4b96e2" providerId="ADAL" clId="{D0392E92-C1C8-4E77-96D0-D493DA4AC621}" dt="2022-10-19T01:34:44.059" v="31212" actId="700"/>
        <pc:sldMkLst>
          <pc:docMk/>
          <pc:sldMk cId="4027616741" sldId="2147470391"/>
        </pc:sldMkLst>
        <pc:spChg chg="mod ord">
          <ac:chgData name="Kate Mun (KYOUNGRAN)" userId="d8a93241-9b9d-4c25-8457-87ffab4b96e2" providerId="ADAL" clId="{D0392E92-C1C8-4E77-96D0-D493DA4AC621}" dt="2022-10-19T01:34:44.059" v="31212" actId="700"/>
          <ac:spMkLst>
            <pc:docMk/>
            <pc:sldMk cId="4027616741" sldId="2147470391"/>
            <ac:spMk id="2" creationId="{C9355748-2E5A-FF43-B041-EDECD4D2DAAD}"/>
          </ac:spMkLst>
        </pc:spChg>
        <pc:spChg chg="mod ord">
          <ac:chgData name="Kate Mun (KYOUNGRAN)" userId="d8a93241-9b9d-4c25-8457-87ffab4b96e2" providerId="ADAL" clId="{D0392E92-C1C8-4E77-96D0-D493DA4AC621}" dt="2022-10-19T01:34:44.059" v="31212" actId="700"/>
          <ac:spMkLst>
            <pc:docMk/>
            <pc:sldMk cId="4027616741" sldId="2147470391"/>
            <ac:spMk id="5" creationId="{0F85905A-5E01-8F50-E18C-9D227C507F1C}"/>
          </ac:spMkLst>
        </pc:spChg>
      </pc:sldChg>
      <pc:sldChg chg="addSp delSp modSp add mod chgLayout">
        <pc:chgData name="Kate Mun (KYOUNGRAN)" userId="d8a93241-9b9d-4c25-8457-87ffab4b96e2" providerId="ADAL" clId="{D0392E92-C1C8-4E77-96D0-D493DA4AC621}" dt="2022-10-19T01:53:46.677" v="31313" actId="478"/>
        <pc:sldMkLst>
          <pc:docMk/>
          <pc:sldMk cId="3523865794" sldId="2147470392"/>
        </pc:sldMkLst>
        <pc:spChg chg="add del mod ord">
          <ac:chgData name="Kate Mun (KYOUNGRAN)" userId="d8a93241-9b9d-4c25-8457-87ffab4b96e2" providerId="ADAL" clId="{D0392E92-C1C8-4E77-96D0-D493DA4AC621}" dt="2022-10-19T01:53:46.677" v="31313" actId="478"/>
          <ac:spMkLst>
            <pc:docMk/>
            <pc:sldMk cId="3523865794" sldId="2147470392"/>
            <ac:spMk id="2" creationId="{100A6F09-B150-C70B-5893-7BD80C51FC65}"/>
          </ac:spMkLst>
        </pc:spChg>
        <pc:spChg chg="mod ord">
          <ac:chgData name="Kate Mun (KYOUNGRAN)" userId="d8a93241-9b9d-4c25-8457-87ffab4b96e2" providerId="ADAL" clId="{D0392E92-C1C8-4E77-96D0-D493DA4AC621}" dt="2022-10-19T01:53:42.346" v="31312" actId="255"/>
          <ac:spMkLst>
            <pc:docMk/>
            <pc:sldMk cId="3523865794" sldId="2147470392"/>
            <ac:spMk id="3" creationId="{98C9B3AE-F3DE-1806-9652-9C48C1C3D3E5}"/>
          </ac:spMkLst>
        </pc:spChg>
        <pc:spChg chg="del">
          <ac:chgData name="Kate Mun (KYOUNGRAN)" userId="d8a93241-9b9d-4c25-8457-87ffab4b96e2" providerId="ADAL" clId="{D0392E92-C1C8-4E77-96D0-D493DA4AC621}" dt="2022-10-12T05:57:53.303" v="29141" actId="478"/>
          <ac:spMkLst>
            <pc:docMk/>
            <pc:sldMk cId="3523865794" sldId="2147470392"/>
            <ac:spMk id="4" creationId="{091BC75E-D3D4-DBAE-B75F-348AAF79AD20}"/>
          </ac:spMkLst>
        </pc:spChg>
        <pc:spChg chg="add del mod">
          <ac:chgData name="Kate Mun (KYOUNGRAN)" userId="d8a93241-9b9d-4c25-8457-87ffab4b96e2" providerId="ADAL" clId="{D0392E92-C1C8-4E77-96D0-D493DA4AC621}" dt="2022-10-12T06:07:05.088" v="29319" actId="478"/>
          <ac:spMkLst>
            <pc:docMk/>
            <pc:sldMk cId="3523865794" sldId="2147470392"/>
            <ac:spMk id="5" creationId="{132198C3-430B-5A53-A08D-ABFF98D3833C}"/>
          </ac:spMkLst>
        </pc:spChg>
        <pc:spChg chg="add del mod">
          <ac:chgData name="Kate Mun (KYOUNGRAN)" userId="d8a93241-9b9d-4c25-8457-87ffab4b96e2" providerId="ADAL" clId="{D0392E92-C1C8-4E77-96D0-D493DA4AC621}" dt="2022-10-12T06:03:29.748" v="29195" actId="478"/>
          <ac:spMkLst>
            <pc:docMk/>
            <pc:sldMk cId="3523865794" sldId="2147470392"/>
            <ac:spMk id="11" creationId="{B1FDA947-EF89-6DFE-96C0-05F8D04B375F}"/>
          </ac:spMkLst>
        </pc:spChg>
        <pc:spChg chg="add mod">
          <ac:chgData name="Kate Mun (KYOUNGRAN)" userId="d8a93241-9b9d-4c25-8457-87ffab4b96e2" providerId="ADAL" clId="{D0392E92-C1C8-4E77-96D0-D493DA4AC621}" dt="2022-10-12T06:05:46.150" v="29308" actId="1076"/>
          <ac:spMkLst>
            <pc:docMk/>
            <pc:sldMk cId="3523865794" sldId="2147470392"/>
            <ac:spMk id="14" creationId="{0ECBB494-08E3-E191-BE9A-D824112F47D4}"/>
          </ac:spMkLst>
        </pc:spChg>
        <pc:spChg chg="add mod">
          <ac:chgData name="Kate Mun (KYOUNGRAN)" userId="d8a93241-9b9d-4c25-8457-87ffab4b96e2" providerId="ADAL" clId="{D0392E92-C1C8-4E77-96D0-D493DA4AC621}" dt="2022-10-12T06:13:57.160" v="29395" actId="1076"/>
          <ac:spMkLst>
            <pc:docMk/>
            <pc:sldMk cId="3523865794" sldId="2147470392"/>
            <ac:spMk id="20" creationId="{3011501F-9827-00DD-AB84-FE3701A47DEA}"/>
          </ac:spMkLst>
        </pc:spChg>
        <pc:spChg chg="add mod">
          <ac:chgData name="Kate Mun (KYOUNGRAN)" userId="d8a93241-9b9d-4c25-8457-87ffab4b96e2" providerId="ADAL" clId="{D0392E92-C1C8-4E77-96D0-D493DA4AC621}" dt="2022-10-12T06:08:56.081" v="29383" actId="1582"/>
          <ac:spMkLst>
            <pc:docMk/>
            <pc:sldMk cId="3523865794" sldId="2147470392"/>
            <ac:spMk id="21" creationId="{BA360607-4449-26EB-F86E-38402DBF4257}"/>
          </ac:spMkLst>
        </pc:spChg>
        <pc:spChg chg="add mod">
          <ac:chgData name="Kate Mun (KYOUNGRAN)" userId="d8a93241-9b9d-4c25-8457-87ffab4b96e2" providerId="ADAL" clId="{D0392E92-C1C8-4E77-96D0-D493DA4AC621}" dt="2022-10-12T06:13:24.064" v="29389" actId="14100"/>
          <ac:spMkLst>
            <pc:docMk/>
            <pc:sldMk cId="3523865794" sldId="2147470392"/>
            <ac:spMk id="22" creationId="{6788FFC3-5FCE-A8CA-2753-50BC271F41AA}"/>
          </ac:spMkLst>
        </pc:spChg>
        <pc:spChg chg="add mod">
          <ac:chgData name="Kate Mun (KYOUNGRAN)" userId="d8a93241-9b9d-4c25-8457-87ffab4b96e2" providerId="ADAL" clId="{D0392E92-C1C8-4E77-96D0-D493DA4AC621}" dt="2022-10-12T06:15:15.414" v="29436" actId="1076"/>
          <ac:spMkLst>
            <pc:docMk/>
            <pc:sldMk cId="3523865794" sldId="2147470392"/>
            <ac:spMk id="30" creationId="{85717240-5B46-9F79-3DB6-6F64E086BB86}"/>
          </ac:spMkLst>
        </pc:spChg>
        <pc:grpChg chg="add mod">
          <ac:chgData name="Kate Mun (KYOUNGRAN)" userId="d8a93241-9b9d-4c25-8457-87ffab4b96e2" providerId="ADAL" clId="{D0392E92-C1C8-4E77-96D0-D493DA4AC621}" dt="2022-10-12T06:15:15.414" v="29436" actId="1076"/>
          <ac:grpSpMkLst>
            <pc:docMk/>
            <pc:sldMk cId="3523865794" sldId="2147470392"/>
            <ac:grpSpMk id="15" creationId="{97EC1994-1C65-C8B1-A801-CF71478CF178}"/>
          </ac:grpSpMkLst>
        </pc:grpChg>
        <pc:grpChg chg="add mod">
          <ac:chgData name="Kate Mun (KYOUNGRAN)" userId="d8a93241-9b9d-4c25-8457-87ffab4b96e2" providerId="ADAL" clId="{D0392E92-C1C8-4E77-96D0-D493DA4AC621}" dt="2022-10-12T06:57:02.269" v="30804" actId="1076"/>
          <ac:grpSpMkLst>
            <pc:docMk/>
            <pc:sldMk cId="3523865794" sldId="2147470392"/>
            <ac:grpSpMk id="23" creationId="{030BC42E-CDE4-DCC5-9FFC-ECF4ABC3A349}"/>
          </ac:grpSpMkLst>
        </pc:grpChg>
        <pc:grpChg chg="add mod">
          <ac:chgData name="Kate Mun (KYOUNGRAN)" userId="d8a93241-9b9d-4c25-8457-87ffab4b96e2" providerId="ADAL" clId="{D0392E92-C1C8-4E77-96D0-D493DA4AC621}" dt="2022-10-12T06:15:15.414" v="29436" actId="1076"/>
          <ac:grpSpMkLst>
            <pc:docMk/>
            <pc:sldMk cId="3523865794" sldId="2147470392"/>
            <ac:grpSpMk id="26" creationId="{E9674D06-E24D-4247-FAAB-781265DB4208}"/>
          </ac:grpSpMkLst>
        </pc:grpChg>
        <pc:picChg chg="add mod">
          <ac:chgData name="Kate Mun (KYOUNGRAN)" userId="d8a93241-9b9d-4c25-8457-87ffab4b96e2" providerId="ADAL" clId="{D0392E92-C1C8-4E77-96D0-D493DA4AC621}" dt="2022-10-12T06:05:46.150" v="29308" actId="1076"/>
          <ac:picMkLst>
            <pc:docMk/>
            <pc:sldMk cId="3523865794" sldId="2147470392"/>
            <ac:picMk id="7" creationId="{BC87DF61-D557-5B4D-74F5-57C6282E3C52}"/>
          </ac:picMkLst>
        </pc:picChg>
        <pc:picChg chg="del mod">
          <ac:chgData name="Kate Mun (KYOUNGRAN)" userId="d8a93241-9b9d-4c25-8457-87ffab4b96e2" providerId="ADAL" clId="{D0392E92-C1C8-4E77-96D0-D493DA4AC621}" dt="2022-10-12T05:58:02.062" v="29145" actId="478"/>
          <ac:picMkLst>
            <pc:docMk/>
            <pc:sldMk cId="3523865794" sldId="2147470392"/>
            <ac:picMk id="8" creationId="{F34B25AE-09C7-5569-58F3-3E4D28E9E457}"/>
          </ac:picMkLst>
        </pc:picChg>
        <pc:picChg chg="add mod ord">
          <ac:chgData name="Kate Mun (KYOUNGRAN)" userId="d8a93241-9b9d-4c25-8457-87ffab4b96e2" providerId="ADAL" clId="{D0392E92-C1C8-4E77-96D0-D493DA4AC621}" dt="2022-10-12T06:05:46.150" v="29308" actId="1076"/>
          <ac:picMkLst>
            <pc:docMk/>
            <pc:sldMk cId="3523865794" sldId="2147470392"/>
            <ac:picMk id="10" creationId="{ACFC2A4D-900E-3E78-6404-EB99595300ED}"/>
          </ac:picMkLst>
        </pc:picChg>
        <pc:picChg chg="add mod">
          <ac:chgData name="Kate Mun (KYOUNGRAN)" userId="d8a93241-9b9d-4c25-8457-87ffab4b96e2" providerId="ADAL" clId="{D0392E92-C1C8-4E77-96D0-D493DA4AC621}" dt="2022-10-12T06:05:46.150" v="29308" actId="1076"/>
          <ac:picMkLst>
            <pc:docMk/>
            <pc:sldMk cId="3523865794" sldId="2147470392"/>
            <ac:picMk id="13" creationId="{1DD5A637-F0A8-081F-60AC-2EC7F2F53310}"/>
          </ac:picMkLst>
        </pc:picChg>
        <pc:picChg chg="add mod">
          <ac:chgData name="Kate Mun (KYOUNGRAN)" userId="d8a93241-9b9d-4c25-8457-87ffab4b96e2" providerId="ADAL" clId="{D0392E92-C1C8-4E77-96D0-D493DA4AC621}" dt="2022-10-12T06:13:14.940" v="29386" actId="1076"/>
          <ac:picMkLst>
            <pc:docMk/>
            <pc:sldMk cId="3523865794" sldId="2147470392"/>
            <ac:picMk id="17" creationId="{9BD9CD5A-EAD1-C9F7-2022-E80E8F991F87}"/>
          </ac:picMkLst>
        </pc:picChg>
        <pc:picChg chg="add mod">
          <ac:chgData name="Kate Mun (KYOUNGRAN)" userId="d8a93241-9b9d-4c25-8457-87ffab4b96e2" providerId="ADAL" clId="{D0392E92-C1C8-4E77-96D0-D493DA4AC621}" dt="2022-10-12T06:13:57.160" v="29395" actId="1076"/>
          <ac:picMkLst>
            <pc:docMk/>
            <pc:sldMk cId="3523865794" sldId="2147470392"/>
            <ac:picMk id="19" creationId="{316FCF02-B695-60AF-E5FF-CCEFE5D9F354}"/>
          </ac:picMkLst>
        </pc:picChg>
        <pc:cxnChg chg="add mod">
          <ac:chgData name="Kate Mun (KYOUNGRAN)" userId="d8a93241-9b9d-4c25-8457-87ffab4b96e2" providerId="ADAL" clId="{D0392E92-C1C8-4E77-96D0-D493DA4AC621}" dt="2022-10-12T06:15:15.414" v="29436" actId="1076"/>
          <ac:cxnSpMkLst>
            <pc:docMk/>
            <pc:sldMk cId="3523865794" sldId="2147470392"/>
            <ac:cxnSpMk id="25" creationId="{72606895-6F2D-533D-FAD1-ACDD30DAB2EB}"/>
          </ac:cxnSpMkLst>
        </pc:cxnChg>
      </pc:sldChg>
      <pc:sldChg chg="modSp add mod chgLayout">
        <pc:chgData name="Kate Mun (KYOUNGRAN)" userId="d8a93241-9b9d-4c25-8457-87ffab4b96e2" providerId="ADAL" clId="{D0392E92-C1C8-4E77-96D0-D493DA4AC621}" dt="2022-10-20T06:53:12.773" v="34637" actId="20577"/>
        <pc:sldMkLst>
          <pc:docMk/>
          <pc:sldMk cId="2473597483" sldId="2147470393"/>
        </pc:sldMkLst>
        <pc:spChg chg="mod ord">
          <ac:chgData name="Kate Mun (KYOUNGRAN)" userId="d8a93241-9b9d-4c25-8457-87ffab4b96e2" providerId="ADAL" clId="{D0392E92-C1C8-4E77-96D0-D493DA4AC621}" dt="2022-10-19T01:49:48.299" v="31251" actId="255"/>
          <ac:spMkLst>
            <pc:docMk/>
            <pc:sldMk cId="2473597483" sldId="2147470393"/>
            <ac:spMk id="3" creationId="{98C9B3AE-F3DE-1806-9652-9C48C1C3D3E5}"/>
          </ac:spMkLst>
        </pc:spChg>
        <pc:spChg chg="mod ord">
          <ac:chgData name="Kate Mun (KYOUNGRAN)" userId="d8a93241-9b9d-4c25-8457-87ffab4b96e2" providerId="ADAL" clId="{D0392E92-C1C8-4E77-96D0-D493DA4AC621}" dt="2022-10-20T06:53:12.773" v="34637" actId="20577"/>
          <ac:spMkLst>
            <pc:docMk/>
            <pc:sldMk cId="2473597483" sldId="2147470393"/>
            <ac:spMk id="4" creationId="{091BC75E-D3D4-DBAE-B75F-348AAF79AD20}"/>
          </ac:spMkLst>
        </pc:spChg>
        <pc:picChg chg="mod">
          <ac:chgData name="Kate Mun (KYOUNGRAN)" userId="d8a93241-9b9d-4c25-8457-87ffab4b96e2" providerId="ADAL" clId="{D0392E92-C1C8-4E77-96D0-D493DA4AC621}" dt="2022-10-19T01:53:18.002" v="31310" actId="1076"/>
          <ac:picMkLst>
            <pc:docMk/>
            <pc:sldMk cId="2473597483" sldId="2147470393"/>
            <ac:picMk id="8" creationId="{F34B25AE-09C7-5569-58F3-3E4D28E9E457}"/>
          </ac:picMkLst>
        </pc:picChg>
      </pc:sldChg>
      <pc:sldChg chg="addSp delSp modSp add mod ord chgLayout">
        <pc:chgData name="Kate Mun (KYOUNGRAN)" userId="d8a93241-9b9d-4c25-8457-87ffab4b96e2" providerId="ADAL" clId="{D0392E92-C1C8-4E77-96D0-D493DA4AC621}" dt="2022-10-19T01:53:28.399" v="31311" actId="255"/>
        <pc:sldMkLst>
          <pc:docMk/>
          <pc:sldMk cId="2510038588" sldId="2147470394"/>
        </pc:sldMkLst>
        <pc:spChg chg="add mod ord">
          <ac:chgData name="Kate Mun (KYOUNGRAN)" userId="d8a93241-9b9d-4c25-8457-87ffab4b96e2" providerId="ADAL" clId="{D0392E92-C1C8-4E77-96D0-D493DA4AC621}" dt="2022-10-19T01:34:49.625" v="31213" actId="700"/>
          <ac:spMkLst>
            <pc:docMk/>
            <pc:sldMk cId="2510038588" sldId="2147470394"/>
            <ac:spMk id="2" creationId="{07C9CB26-5B34-8A11-39C2-A5515DC96810}"/>
          </ac:spMkLst>
        </pc:spChg>
        <pc:spChg chg="mod ord">
          <ac:chgData name="Kate Mun (KYOUNGRAN)" userId="d8a93241-9b9d-4c25-8457-87ffab4b96e2" providerId="ADAL" clId="{D0392E92-C1C8-4E77-96D0-D493DA4AC621}" dt="2022-10-19T01:53:28.399" v="31311" actId="255"/>
          <ac:spMkLst>
            <pc:docMk/>
            <pc:sldMk cId="2510038588" sldId="2147470394"/>
            <ac:spMk id="3" creationId="{98C9B3AE-F3DE-1806-9652-9C48C1C3D3E5}"/>
          </ac:spMkLst>
        </pc:spChg>
        <pc:graphicFrameChg chg="add del mod">
          <ac:chgData name="Kate Mun (KYOUNGRAN)" userId="d8a93241-9b9d-4c25-8457-87ffab4b96e2" providerId="ADAL" clId="{D0392E92-C1C8-4E77-96D0-D493DA4AC621}" dt="2022-10-12T06:30:02.524" v="30243" actId="478"/>
          <ac:graphicFrameMkLst>
            <pc:docMk/>
            <pc:sldMk cId="2510038588" sldId="2147470394"/>
            <ac:graphicFrameMk id="2" creationId="{C3EA1C8B-6563-946B-E3C8-D08624D501A9}"/>
          </ac:graphicFrameMkLst>
        </pc:graphicFrameChg>
        <pc:graphicFrameChg chg="add mod modGraphic">
          <ac:chgData name="Kate Mun (KYOUNGRAN)" userId="d8a93241-9b9d-4c25-8457-87ffab4b96e2" providerId="ADAL" clId="{D0392E92-C1C8-4E77-96D0-D493DA4AC621}" dt="2022-10-12T06:52:58.393" v="30633"/>
          <ac:graphicFrameMkLst>
            <pc:docMk/>
            <pc:sldMk cId="2510038588" sldId="2147470394"/>
            <ac:graphicFrameMk id="4" creationId="{3DA591FA-725A-BFD8-640C-5603BEBCF8F5}"/>
          </ac:graphicFrameMkLst>
        </pc:graphicFrameChg>
        <pc:graphicFrameChg chg="del">
          <ac:chgData name="Kate Mun (KYOUNGRAN)" userId="d8a93241-9b9d-4c25-8457-87ffab4b96e2" providerId="ADAL" clId="{D0392E92-C1C8-4E77-96D0-D493DA4AC621}" dt="2022-10-12T06:29:12.086" v="30240" actId="478"/>
          <ac:graphicFrameMkLst>
            <pc:docMk/>
            <pc:sldMk cId="2510038588" sldId="2147470394"/>
            <ac:graphicFrameMk id="15" creationId="{39EBBEDB-148A-2DA8-1EFD-E0446029C34A}"/>
          </ac:graphicFrameMkLst>
        </pc:graphicFrameChg>
      </pc:sldChg>
      <pc:sldChg chg="modSp add mod chgLayout">
        <pc:chgData name="Kate Mun (KYOUNGRAN)" userId="d8a93241-9b9d-4c25-8457-87ffab4b96e2" providerId="ADAL" clId="{D0392E92-C1C8-4E77-96D0-D493DA4AC621}" dt="2022-10-19T05:57:02.432" v="33186" actId="20577"/>
        <pc:sldMkLst>
          <pc:docMk/>
          <pc:sldMk cId="4013704811" sldId="2147470395"/>
        </pc:sldMkLst>
        <pc:spChg chg="mod ord">
          <ac:chgData name="Kate Mun (KYOUNGRAN)" userId="d8a93241-9b9d-4c25-8457-87ffab4b96e2" providerId="ADAL" clId="{D0392E92-C1C8-4E77-96D0-D493DA4AC621}" dt="2022-10-19T01:57:15.002" v="31338" actId="207"/>
          <ac:spMkLst>
            <pc:docMk/>
            <pc:sldMk cId="4013704811" sldId="2147470395"/>
            <ac:spMk id="2" creationId="{C9355748-2E5A-FF43-B041-EDECD4D2DAAD}"/>
          </ac:spMkLst>
        </pc:spChg>
        <pc:spChg chg="mod ord">
          <ac:chgData name="Kate Mun (KYOUNGRAN)" userId="d8a93241-9b9d-4c25-8457-87ffab4b96e2" providerId="ADAL" clId="{D0392E92-C1C8-4E77-96D0-D493DA4AC621}" dt="2022-10-19T05:57:02.432" v="33186" actId="20577"/>
          <ac:spMkLst>
            <pc:docMk/>
            <pc:sldMk cId="4013704811" sldId="2147470395"/>
            <ac:spMk id="5" creationId="{0F85905A-5E01-8F50-E18C-9D227C507F1C}"/>
          </ac:spMkLst>
        </pc:spChg>
      </pc:sldChg>
      <pc:sldChg chg="new del">
        <pc:chgData name="Kate Mun (KYOUNGRAN)" userId="d8a93241-9b9d-4c25-8457-87ffab4b96e2" providerId="ADAL" clId="{D0392E92-C1C8-4E77-96D0-D493DA4AC621}" dt="2022-10-19T02:32:12.210" v="31796" actId="680"/>
        <pc:sldMkLst>
          <pc:docMk/>
          <pc:sldMk cId="2936659786" sldId="2147470396"/>
        </pc:sldMkLst>
      </pc:sldChg>
      <pc:sldChg chg="modSp add mod">
        <pc:chgData name="Kate Mun (KYOUNGRAN)" userId="d8a93241-9b9d-4c25-8457-87ffab4b96e2" providerId="ADAL" clId="{D0392E92-C1C8-4E77-96D0-D493DA4AC621}" dt="2022-10-19T06:03:33.982" v="33341" actId="20577"/>
        <pc:sldMkLst>
          <pc:docMk/>
          <pc:sldMk cId="611288164" sldId="2147470397"/>
        </pc:sldMkLst>
        <pc:spChg chg="mod">
          <ac:chgData name="Kate Mun (KYOUNGRAN)" userId="d8a93241-9b9d-4c25-8457-87ffab4b96e2" providerId="ADAL" clId="{D0392E92-C1C8-4E77-96D0-D493DA4AC621}" dt="2022-10-19T06:03:33.982" v="33341" actId="20577"/>
          <ac:spMkLst>
            <pc:docMk/>
            <pc:sldMk cId="611288164" sldId="2147470397"/>
            <ac:spMk id="4" creationId="{478E6F04-597A-5048-C40E-E4626BBD9733}"/>
          </ac:spMkLst>
        </pc:spChg>
      </pc:sldChg>
      <pc:sldChg chg="add del">
        <pc:chgData name="Kate Mun (KYOUNGRAN)" userId="d8a93241-9b9d-4c25-8457-87ffab4b96e2" providerId="ADAL" clId="{D0392E92-C1C8-4E77-96D0-D493DA4AC621}" dt="2022-10-19T06:03:21.184" v="33322"/>
        <pc:sldMkLst>
          <pc:docMk/>
          <pc:sldMk cId="1222133862" sldId="2147470397"/>
        </pc:sldMkLst>
      </pc:sldChg>
      <pc:sldChg chg="addSp delSp modSp add del mod">
        <pc:chgData name="Kate Mun (KYOUNGRAN)" userId="d8a93241-9b9d-4c25-8457-87ffab4b96e2" providerId="ADAL" clId="{D0392E92-C1C8-4E77-96D0-D493DA4AC621}" dt="2022-10-19T12:28:15.102" v="34053" actId="47"/>
        <pc:sldMkLst>
          <pc:docMk/>
          <pc:sldMk cId="1705994688" sldId="2147470398"/>
        </pc:sldMkLst>
        <pc:spChg chg="del">
          <ac:chgData name="Kate Mun (KYOUNGRAN)" userId="d8a93241-9b9d-4c25-8457-87ffab4b96e2" providerId="ADAL" clId="{D0392E92-C1C8-4E77-96D0-D493DA4AC621}" dt="2022-10-19T10:18:54.253" v="33805" actId="478"/>
          <ac:spMkLst>
            <pc:docMk/>
            <pc:sldMk cId="1705994688" sldId="2147470398"/>
            <ac:spMk id="2" creationId="{E44E453B-1946-1ED0-5EBA-3AD844296E6F}"/>
          </ac:spMkLst>
        </pc:spChg>
        <pc:spChg chg="add del mod">
          <ac:chgData name="Kate Mun (KYOUNGRAN)" userId="d8a93241-9b9d-4c25-8457-87ffab4b96e2" providerId="ADAL" clId="{D0392E92-C1C8-4E77-96D0-D493DA4AC621}" dt="2022-10-19T10:20:26.907" v="33821" actId="478"/>
          <ac:spMkLst>
            <pc:docMk/>
            <pc:sldMk cId="1705994688" sldId="2147470398"/>
            <ac:spMk id="6" creationId="{5315CC3D-0DBA-D926-9807-868359DC0395}"/>
          </ac:spMkLst>
        </pc:spChg>
        <pc:picChg chg="del">
          <ac:chgData name="Kate Mun (KYOUNGRAN)" userId="d8a93241-9b9d-4c25-8457-87ffab4b96e2" providerId="ADAL" clId="{D0392E92-C1C8-4E77-96D0-D493DA4AC621}" dt="2022-10-19T10:18:57.462" v="33808" actId="478"/>
          <ac:picMkLst>
            <pc:docMk/>
            <pc:sldMk cId="1705994688" sldId="2147470398"/>
            <ac:picMk id="5" creationId="{77C314EE-7D15-C77B-3A95-C8A0B730E741}"/>
          </ac:picMkLst>
        </pc:picChg>
        <pc:picChg chg="del">
          <ac:chgData name="Kate Mun (KYOUNGRAN)" userId="d8a93241-9b9d-4c25-8457-87ffab4b96e2" providerId="ADAL" clId="{D0392E92-C1C8-4E77-96D0-D493DA4AC621}" dt="2022-10-19T10:18:55.242" v="33806" actId="478"/>
          <ac:picMkLst>
            <pc:docMk/>
            <pc:sldMk cId="1705994688" sldId="2147470398"/>
            <ac:picMk id="7" creationId="{6835FE14-6D3E-BD7E-D502-97AFB2667BFB}"/>
          </ac:picMkLst>
        </pc:picChg>
        <pc:picChg chg="del">
          <ac:chgData name="Kate Mun (KYOUNGRAN)" userId="d8a93241-9b9d-4c25-8457-87ffab4b96e2" providerId="ADAL" clId="{D0392E92-C1C8-4E77-96D0-D493DA4AC621}" dt="2022-10-19T10:18:55.961" v="33807" actId="478"/>
          <ac:picMkLst>
            <pc:docMk/>
            <pc:sldMk cId="1705994688" sldId="2147470398"/>
            <ac:picMk id="9" creationId="{E0C23720-2FBC-DF4D-EC4B-F1616AD46447}"/>
          </ac:picMkLst>
        </pc:picChg>
        <pc:picChg chg="add del mod">
          <ac:chgData name="Kate Mun (KYOUNGRAN)" userId="d8a93241-9b9d-4c25-8457-87ffab4b96e2" providerId="ADAL" clId="{D0392E92-C1C8-4E77-96D0-D493DA4AC621}" dt="2022-10-19T10:20:04.709" v="33816" actId="478"/>
          <ac:picMkLst>
            <pc:docMk/>
            <pc:sldMk cId="1705994688" sldId="2147470398"/>
            <ac:picMk id="10" creationId="{86048710-4233-D011-989E-442B2E421E3E}"/>
          </ac:picMkLst>
        </pc:picChg>
        <pc:picChg chg="add del mod">
          <ac:chgData name="Kate Mun (KYOUNGRAN)" userId="d8a93241-9b9d-4c25-8457-87ffab4b96e2" providerId="ADAL" clId="{D0392E92-C1C8-4E77-96D0-D493DA4AC621}" dt="2022-10-19T10:20:04.709" v="33816" actId="478"/>
          <ac:picMkLst>
            <pc:docMk/>
            <pc:sldMk cId="1705994688" sldId="2147470398"/>
            <ac:picMk id="12" creationId="{9465F3FA-F796-34CD-B031-A42795704F7B}"/>
          </ac:picMkLst>
        </pc:picChg>
        <pc:picChg chg="add mod">
          <ac:chgData name="Kate Mun (KYOUNGRAN)" userId="d8a93241-9b9d-4c25-8457-87ffab4b96e2" providerId="ADAL" clId="{D0392E92-C1C8-4E77-96D0-D493DA4AC621}" dt="2022-10-19T12:28:05.520" v="34051" actId="1076"/>
          <ac:picMkLst>
            <pc:docMk/>
            <pc:sldMk cId="1705994688" sldId="2147470398"/>
            <ac:picMk id="14" creationId="{EEC4446D-7FC2-4327-F5E5-B408F8DB82BB}"/>
          </ac:picMkLst>
        </pc:picChg>
        <pc:picChg chg="add del mod">
          <ac:chgData name="Kate Mun (KYOUNGRAN)" userId="d8a93241-9b9d-4c25-8457-87ffab4b96e2" providerId="ADAL" clId="{D0392E92-C1C8-4E77-96D0-D493DA4AC621}" dt="2022-10-19T10:22:04.786" v="33828" actId="478"/>
          <ac:picMkLst>
            <pc:docMk/>
            <pc:sldMk cId="1705994688" sldId="2147470398"/>
            <ac:picMk id="16" creationId="{1CF86620-3E8A-B03E-36EC-86969E4A2908}"/>
          </ac:picMkLst>
        </pc:picChg>
        <pc:picChg chg="add mod">
          <ac:chgData name="Kate Mun (KYOUNGRAN)" userId="d8a93241-9b9d-4c25-8457-87ffab4b96e2" providerId="ADAL" clId="{D0392E92-C1C8-4E77-96D0-D493DA4AC621}" dt="2022-10-19T12:28:08.993" v="34052" actId="1076"/>
          <ac:picMkLst>
            <pc:docMk/>
            <pc:sldMk cId="1705994688" sldId="2147470398"/>
            <ac:picMk id="18" creationId="{FC4E4252-CC6C-405E-F96F-34AE0BE5CB65}"/>
          </ac:picMkLst>
        </pc:picChg>
      </pc:sldChg>
      <pc:sldMasterChg chg="delSldLayout modSldLayout">
        <pc:chgData name="Kate Mun (KYOUNGRAN)" userId="d8a93241-9b9d-4c25-8457-87ffab4b96e2" providerId="ADAL" clId="{D0392E92-C1C8-4E77-96D0-D493DA4AC621}" dt="2022-10-19T01:35:58.330" v="31220" actId="255"/>
        <pc:sldMasterMkLst>
          <pc:docMk/>
          <pc:sldMasterMk cId="1790270825" sldId="2147484082"/>
        </pc:sldMasterMkLst>
        <pc:sldLayoutChg chg="modSp">
          <pc:chgData name="Kate Mun (KYOUNGRAN)" userId="d8a93241-9b9d-4c25-8457-87ffab4b96e2" providerId="ADAL" clId="{D0392E92-C1C8-4E77-96D0-D493DA4AC621}" dt="2022-10-19T01:28:35.943" v="31140" actId="2711"/>
          <pc:sldLayoutMkLst>
            <pc:docMk/>
            <pc:sldMasterMk cId="1790270825" sldId="2147484082"/>
            <pc:sldLayoutMk cId="594675651" sldId="2147484170"/>
          </pc:sldLayoutMkLst>
          <pc:spChg chg="mod">
            <ac:chgData name="Kate Mun (KYOUNGRAN)" userId="d8a93241-9b9d-4c25-8457-87ffab4b96e2" providerId="ADAL" clId="{D0392E92-C1C8-4E77-96D0-D493DA4AC621}" dt="2022-10-19T01:28:35.943" v="31140" actId="2711"/>
            <ac:spMkLst>
              <pc:docMk/>
              <pc:sldMasterMk cId="1790270825" sldId="2147484082"/>
              <pc:sldLayoutMk cId="594675651" sldId="2147484170"/>
              <ac:spMk id="9" creationId="{00000000-0000-0000-0000-000000000000}"/>
            </ac:spMkLst>
          </pc:spChg>
        </pc:sldLayoutChg>
        <pc:sldLayoutChg chg="modSp">
          <pc:chgData name="Kate Mun (KYOUNGRAN)" userId="d8a93241-9b9d-4c25-8457-87ffab4b96e2" providerId="ADAL" clId="{D0392E92-C1C8-4E77-96D0-D493DA4AC621}" dt="2022-10-19T01:35:58.330" v="31220" actId="255"/>
          <pc:sldLayoutMkLst>
            <pc:docMk/>
            <pc:sldMasterMk cId="1790270825" sldId="2147484082"/>
            <pc:sldLayoutMk cId="1491165594" sldId="2147484295"/>
          </pc:sldLayoutMkLst>
          <pc:spChg chg="mod">
            <ac:chgData name="Kate Mun (KYOUNGRAN)" userId="d8a93241-9b9d-4c25-8457-87ffab4b96e2" providerId="ADAL" clId="{D0392E92-C1C8-4E77-96D0-D493DA4AC621}" dt="2022-10-19T01:35:58.330" v="31220" actId="255"/>
            <ac:spMkLst>
              <pc:docMk/>
              <pc:sldMasterMk cId="1790270825" sldId="2147484082"/>
              <pc:sldLayoutMk cId="1491165594" sldId="2147484295"/>
              <ac:spMk id="16" creationId="{00000000-0000-0000-0000-000000000000}"/>
            </ac:spMkLst>
          </pc:spChg>
        </pc:sldLayoutChg>
        <pc:sldLayoutChg chg="delSp modSp mod">
          <pc:chgData name="Kate Mun (KYOUNGRAN)" userId="d8a93241-9b9d-4c25-8457-87ffab4b96e2" providerId="ADAL" clId="{D0392E92-C1C8-4E77-96D0-D493DA4AC621}" dt="2022-10-19T01:33:40.281" v="31207" actId="6014"/>
          <pc:sldLayoutMkLst>
            <pc:docMk/>
            <pc:sldMasterMk cId="1790270825" sldId="2147484082"/>
            <pc:sldLayoutMk cId="3136857999" sldId="2147484307"/>
          </pc:sldLayoutMkLst>
          <pc:spChg chg="mod">
            <ac:chgData name="Kate Mun (KYOUNGRAN)" userId="d8a93241-9b9d-4c25-8457-87ffab4b96e2" providerId="ADAL" clId="{D0392E92-C1C8-4E77-96D0-D493DA4AC621}" dt="2022-10-19T01:33:25.204" v="31206" actId="20577"/>
            <ac:spMkLst>
              <pc:docMk/>
              <pc:sldMasterMk cId="1790270825" sldId="2147484082"/>
              <pc:sldLayoutMk cId="3136857999" sldId="2147484307"/>
              <ac:spMk id="2" creationId="{8D876633-3E8D-4CF4-A5D4-D4E9D88A6DE0}"/>
            </ac:spMkLst>
          </pc:spChg>
          <pc:spChg chg="mod">
            <ac:chgData name="Kate Mun (KYOUNGRAN)" userId="d8a93241-9b9d-4c25-8457-87ffab4b96e2" providerId="ADAL" clId="{D0392E92-C1C8-4E77-96D0-D493DA4AC621}" dt="2022-10-19T01:33:19.096" v="31205" actId="2711"/>
            <ac:spMkLst>
              <pc:docMk/>
              <pc:sldMasterMk cId="1790270825" sldId="2147484082"/>
              <pc:sldLayoutMk cId="3136857999" sldId="2147484307"/>
              <ac:spMk id="4" creationId="{00000000-0000-0000-0000-000000000000}"/>
            </ac:spMkLst>
          </pc:spChg>
          <pc:spChg chg="del">
            <ac:chgData name="Kate Mun (KYOUNGRAN)" userId="d8a93241-9b9d-4c25-8457-87ffab4b96e2" providerId="ADAL" clId="{D0392E92-C1C8-4E77-96D0-D493DA4AC621}" dt="2022-10-19T01:32:54.108" v="31202" actId="478"/>
            <ac:spMkLst>
              <pc:docMk/>
              <pc:sldMasterMk cId="1790270825" sldId="2147484082"/>
              <pc:sldLayoutMk cId="3136857999" sldId="2147484307"/>
              <ac:spMk id="6" creationId="{8E9CDCB4-03E1-4763-B83E-A1334BCDB0C0}"/>
            </ac:spMkLst>
          </pc:spChg>
        </pc:sldLayoutChg>
        <pc:sldLayoutChg chg="del">
          <pc:chgData name="Kate Mun (KYOUNGRAN)" userId="d8a93241-9b9d-4c25-8457-87ffab4b96e2" providerId="ADAL" clId="{D0392E92-C1C8-4E77-96D0-D493DA4AC621}" dt="2022-10-04T05:37:17.610" v="16318" actId="47"/>
          <pc:sldLayoutMkLst>
            <pc:docMk/>
            <pc:sldMasterMk cId="1790270825" sldId="2147484082"/>
            <pc:sldLayoutMk cId="2434360057" sldId="2147484308"/>
          </pc:sldLayoutMkLst>
        </pc:sldLayoutChg>
        <pc:sldLayoutChg chg="del">
          <pc:chgData name="Kate Mun (KYOUNGRAN)" userId="d8a93241-9b9d-4c25-8457-87ffab4b96e2" providerId="ADAL" clId="{D0392E92-C1C8-4E77-96D0-D493DA4AC621}" dt="2022-10-04T05:37:38.643" v="16323" actId="47"/>
          <pc:sldLayoutMkLst>
            <pc:docMk/>
            <pc:sldMasterMk cId="1790270825" sldId="2147484082"/>
            <pc:sldLayoutMk cId="2632462894" sldId="2147484308"/>
          </pc:sldLayoutMkLst>
        </pc:sldLayoutChg>
        <pc:sldLayoutChg chg="del">
          <pc:chgData name="Kate Mun (KYOUNGRAN)" userId="d8a93241-9b9d-4c25-8457-87ffab4b96e2" providerId="ADAL" clId="{D0392E92-C1C8-4E77-96D0-D493DA4AC621}" dt="2022-10-04T05:37:38.643" v="16323" actId="47"/>
          <pc:sldLayoutMkLst>
            <pc:docMk/>
            <pc:sldMasterMk cId="1790270825" sldId="2147484082"/>
            <pc:sldLayoutMk cId="905043233" sldId="2147484309"/>
          </pc:sldLayoutMkLst>
        </pc:sldLayoutChg>
        <pc:sldLayoutChg chg="del">
          <pc:chgData name="Kate Mun (KYOUNGRAN)" userId="d8a93241-9b9d-4c25-8457-87ffab4b96e2" providerId="ADAL" clId="{D0392E92-C1C8-4E77-96D0-D493DA4AC621}" dt="2022-10-04T05:37:17.610" v="16318" actId="47"/>
          <pc:sldLayoutMkLst>
            <pc:docMk/>
            <pc:sldMasterMk cId="1790270825" sldId="2147484082"/>
            <pc:sldLayoutMk cId="2965781177" sldId="2147484309"/>
          </pc:sldLayoutMkLst>
        </pc:sldLayoutChg>
        <pc:sldLayoutChg chg="del">
          <pc:chgData name="Kate Mun (KYOUNGRAN)" userId="d8a93241-9b9d-4c25-8457-87ffab4b96e2" providerId="ADAL" clId="{D0392E92-C1C8-4E77-96D0-D493DA4AC621}" dt="2022-10-04T05:37:17.610" v="16318" actId="47"/>
          <pc:sldLayoutMkLst>
            <pc:docMk/>
            <pc:sldMasterMk cId="1790270825" sldId="2147484082"/>
            <pc:sldLayoutMk cId="1176877686" sldId="2147484310"/>
          </pc:sldLayoutMkLst>
        </pc:sldLayoutChg>
        <pc:sldLayoutChg chg="del">
          <pc:chgData name="Kate Mun (KYOUNGRAN)" userId="d8a93241-9b9d-4c25-8457-87ffab4b96e2" providerId="ADAL" clId="{D0392E92-C1C8-4E77-96D0-D493DA4AC621}" dt="2022-10-04T05:37:38.643" v="16323" actId="47"/>
          <pc:sldLayoutMkLst>
            <pc:docMk/>
            <pc:sldMasterMk cId="1790270825" sldId="2147484082"/>
            <pc:sldLayoutMk cId="3606046509" sldId="2147484310"/>
          </pc:sldLayoutMkLst>
        </pc:sldLayoutChg>
        <pc:sldLayoutChg chg="del">
          <pc:chgData name="Kate Mun (KYOUNGRAN)" userId="d8a93241-9b9d-4c25-8457-87ffab4b96e2" providerId="ADAL" clId="{D0392E92-C1C8-4E77-96D0-D493DA4AC621}" dt="2022-10-04T05:37:38.643" v="16323" actId="47"/>
          <pc:sldLayoutMkLst>
            <pc:docMk/>
            <pc:sldMasterMk cId="1790270825" sldId="2147484082"/>
            <pc:sldLayoutMk cId="1973685279" sldId="2147484311"/>
          </pc:sldLayoutMkLst>
        </pc:sldLayoutChg>
        <pc:sldLayoutChg chg="del">
          <pc:chgData name="Kate Mun (KYOUNGRAN)" userId="d8a93241-9b9d-4c25-8457-87ffab4b96e2" providerId="ADAL" clId="{D0392E92-C1C8-4E77-96D0-D493DA4AC621}" dt="2022-10-04T05:37:17.610" v="16318" actId="47"/>
          <pc:sldLayoutMkLst>
            <pc:docMk/>
            <pc:sldMasterMk cId="1790270825" sldId="2147484082"/>
            <pc:sldLayoutMk cId="3223545979" sldId="2147484311"/>
          </pc:sldLayoutMkLst>
        </pc:sldLayoutChg>
        <pc:sldLayoutChg chg="del">
          <pc:chgData name="Kate Mun (KYOUNGRAN)" userId="d8a93241-9b9d-4c25-8457-87ffab4b96e2" providerId="ADAL" clId="{D0392E92-C1C8-4E77-96D0-D493DA4AC621}" dt="2022-10-04T05:37:17.610" v="16318" actId="47"/>
          <pc:sldLayoutMkLst>
            <pc:docMk/>
            <pc:sldMasterMk cId="1790270825" sldId="2147484082"/>
            <pc:sldLayoutMk cId="217826247" sldId="2147484312"/>
          </pc:sldLayoutMkLst>
        </pc:sldLayoutChg>
        <pc:sldLayoutChg chg="del">
          <pc:chgData name="Kate Mun (KYOUNGRAN)" userId="d8a93241-9b9d-4c25-8457-87ffab4b96e2" providerId="ADAL" clId="{D0392E92-C1C8-4E77-96D0-D493DA4AC621}" dt="2022-10-04T05:37:38.643" v="16323" actId="47"/>
          <pc:sldLayoutMkLst>
            <pc:docMk/>
            <pc:sldMasterMk cId="1790270825" sldId="2147484082"/>
            <pc:sldLayoutMk cId="667861566" sldId="2147484312"/>
          </pc:sldLayoutMkLst>
        </pc:sldLayoutChg>
        <pc:sldLayoutChg chg="del">
          <pc:chgData name="Kate Mun (KYOUNGRAN)" userId="d8a93241-9b9d-4c25-8457-87ffab4b96e2" providerId="ADAL" clId="{D0392E92-C1C8-4E77-96D0-D493DA4AC621}" dt="2022-10-04T05:37:38.643" v="16323" actId="47"/>
          <pc:sldLayoutMkLst>
            <pc:docMk/>
            <pc:sldMasterMk cId="1790270825" sldId="2147484082"/>
            <pc:sldLayoutMk cId="188768082" sldId="2147484313"/>
          </pc:sldLayoutMkLst>
        </pc:sldLayoutChg>
        <pc:sldLayoutChg chg="del">
          <pc:chgData name="Kate Mun (KYOUNGRAN)" userId="d8a93241-9b9d-4c25-8457-87ffab4b96e2" providerId="ADAL" clId="{D0392E92-C1C8-4E77-96D0-D493DA4AC621}" dt="2022-10-04T05:37:17.610" v="16318" actId="47"/>
          <pc:sldLayoutMkLst>
            <pc:docMk/>
            <pc:sldMasterMk cId="1790270825" sldId="2147484082"/>
            <pc:sldLayoutMk cId="3110511778" sldId="2147484313"/>
          </pc:sldLayoutMkLst>
        </pc:sldLayoutChg>
        <pc:sldLayoutChg chg="del">
          <pc:chgData name="Kate Mun (KYOUNGRAN)" userId="d8a93241-9b9d-4c25-8457-87ffab4b96e2" providerId="ADAL" clId="{D0392E92-C1C8-4E77-96D0-D493DA4AC621}" dt="2022-10-04T05:37:17.610" v="16318" actId="47"/>
          <pc:sldLayoutMkLst>
            <pc:docMk/>
            <pc:sldMasterMk cId="1790270825" sldId="2147484082"/>
            <pc:sldLayoutMk cId="2662593969" sldId="2147484314"/>
          </pc:sldLayoutMkLst>
        </pc:sldLayoutChg>
        <pc:sldLayoutChg chg="del">
          <pc:chgData name="Kate Mun (KYOUNGRAN)" userId="d8a93241-9b9d-4c25-8457-87ffab4b96e2" providerId="ADAL" clId="{D0392E92-C1C8-4E77-96D0-D493DA4AC621}" dt="2022-10-04T05:37:38.643" v="16323" actId="47"/>
          <pc:sldLayoutMkLst>
            <pc:docMk/>
            <pc:sldMasterMk cId="1790270825" sldId="2147484082"/>
            <pc:sldLayoutMk cId="4194721821" sldId="2147484314"/>
          </pc:sldLayoutMkLst>
        </pc:sldLayoutChg>
        <pc:sldLayoutChg chg="del">
          <pc:chgData name="Kate Mun (KYOUNGRAN)" userId="d8a93241-9b9d-4c25-8457-87ffab4b96e2" providerId="ADAL" clId="{D0392E92-C1C8-4E77-96D0-D493DA4AC621}" dt="2022-10-11T06:29:26.703" v="26685" actId="2696"/>
          <pc:sldLayoutMkLst>
            <pc:docMk/>
            <pc:sldMasterMk cId="1790270825" sldId="2147484082"/>
            <pc:sldLayoutMk cId="2596930197" sldId="2147484315"/>
          </pc:sldLayoutMkLst>
        </pc:sldLayoutChg>
      </pc:sldMasterChg>
      <pc:sldMasterChg chg="modSldLayout">
        <pc:chgData name="Kate Mun (KYOUNGRAN)" userId="d8a93241-9b9d-4c25-8457-87ffab4b96e2" providerId="ADAL" clId="{D0392E92-C1C8-4E77-96D0-D493DA4AC621}" dt="2022-09-20T01:33:48.120" v="184" actId="2711"/>
        <pc:sldMasterMkLst>
          <pc:docMk/>
          <pc:sldMasterMk cId="2425661002" sldId="2147484296"/>
        </pc:sldMasterMkLst>
        <pc:sldLayoutChg chg="modSp mod">
          <pc:chgData name="Kate Mun (KYOUNGRAN)" userId="d8a93241-9b9d-4c25-8457-87ffab4b96e2" providerId="ADAL" clId="{D0392E92-C1C8-4E77-96D0-D493DA4AC621}" dt="2022-09-20T01:33:48.120" v="184" actId="2711"/>
          <pc:sldLayoutMkLst>
            <pc:docMk/>
            <pc:sldMasterMk cId="2425661002" sldId="2147484296"/>
            <pc:sldLayoutMk cId="2790024628" sldId="2147484306"/>
          </pc:sldLayoutMkLst>
          <pc:spChg chg="mod">
            <ac:chgData name="Kate Mun (KYOUNGRAN)" userId="d8a93241-9b9d-4c25-8457-87ffab4b96e2" providerId="ADAL" clId="{D0392E92-C1C8-4E77-96D0-D493DA4AC621}" dt="2022-09-20T01:32:54.160" v="182" actId="255"/>
            <ac:spMkLst>
              <pc:docMk/>
              <pc:sldMasterMk cId="2425661002" sldId="2147484296"/>
              <pc:sldLayoutMk cId="2790024628" sldId="2147484306"/>
              <ac:spMk id="2" creationId="{8D876633-3E8D-4CF4-A5D4-D4E9D88A6DE0}"/>
            </ac:spMkLst>
          </pc:spChg>
          <pc:spChg chg="mod">
            <ac:chgData name="Kate Mun (KYOUNGRAN)" userId="d8a93241-9b9d-4c25-8457-87ffab4b96e2" providerId="ADAL" clId="{D0392E92-C1C8-4E77-96D0-D493DA4AC621}" dt="2022-09-20T01:33:33.310" v="183" actId="2711"/>
            <ac:spMkLst>
              <pc:docMk/>
              <pc:sldMasterMk cId="2425661002" sldId="2147484296"/>
              <pc:sldLayoutMk cId="2790024628" sldId="2147484306"/>
              <ac:spMk id="4" creationId="{00000000-0000-0000-0000-000000000000}"/>
            </ac:spMkLst>
          </pc:spChg>
          <pc:spChg chg="mod">
            <ac:chgData name="Kate Mun (KYOUNGRAN)" userId="d8a93241-9b9d-4c25-8457-87ffab4b96e2" providerId="ADAL" clId="{D0392E92-C1C8-4E77-96D0-D493DA4AC621}" dt="2022-09-20T01:33:48.120" v="184" actId="2711"/>
            <ac:spMkLst>
              <pc:docMk/>
              <pc:sldMasterMk cId="2425661002" sldId="2147484296"/>
              <pc:sldLayoutMk cId="2790024628" sldId="2147484306"/>
              <ac:spMk id="6" creationId="{8E9CDCB4-03E1-4763-B83E-A1334BCDB0C0}"/>
            </ac:spMkLst>
          </pc:spChg>
        </pc:sldLayoutChg>
      </pc:sldMasterChg>
    </pc:docChg>
  </pc:docChgLst>
  <pc:docChgLst>
    <pc:chgData name="Guy Northee" userId="901b33ed-4976-4f02-9f55-f7f12398ad22" providerId="ADAL" clId="{73CA1F54-21D6-49AD-ABBB-76EB32E6790F}"/>
    <pc:docChg chg="delSld modSld">
      <pc:chgData name="Guy Northee" userId="901b33ed-4976-4f02-9f55-f7f12398ad22" providerId="ADAL" clId="{73CA1F54-21D6-49AD-ABBB-76EB32E6790F}" dt="2017-09-12T08:47:26.615" v="13" actId="1036"/>
      <pc:docMkLst>
        <pc:docMk/>
      </pc:docMkLst>
      <pc:sldChg chg="del">
        <pc:chgData name="Guy Northee" userId="901b33ed-4976-4f02-9f55-f7f12398ad22" providerId="ADAL" clId="{73CA1F54-21D6-49AD-ABBB-76EB32E6790F}" dt="2017-09-12T08:46:28.508" v="0" actId="2696"/>
        <pc:sldMkLst>
          <pc:docMk/>
          <pc:sldMk cId="244665617" sldId="319"/>
        </pc:sldMkLst>
      </pc:sldChg>
      <pc:sldChg chg="modSp">
        <pc:chgData name="Guy Northee" userId="901b33ed-4976-4f02-9f55-f7f12398ad22" providerId="ADAL" clId="{73CA1F54-21D6-49AD-ABBB-76EB32E6790F}" dt="2017-09-12T08:47:26.615" v="13" actId="1036"/>
        <pc:sldMkLst>
          <pc:docMk/>
          <pc:sldMk cId="1767576603" sldId="321"/>
        </pc:sldMkLst>
        <pc:picChg chg="mod">
          <ac:chgData name="Guy Northee" userId="901b33ed-4976-4f02-9f55-f7f12398ad22" providerId="ADAL" clId="{73CA1F54-21D6-49AD-ABBB-76EB32E6790F}" dt="2017-09-12T08:47:20.821" v="11" actId="1036"/>
          <ac:picMkLst>
            <pc:docMk/>
            <pc:sldMk cId="1767576603" sldId="321"/>
            <ac:picMk id="5" creationId="{00000000-0000-0000-0000-000000000000}"/>
          </ac:picMkLst>
        </pc:picChg>
        <pc:picChg chg="mod">
          <ac:chgData name="Guy Northee" userId="901b33ed-4976-4f02-9f55-f7f12398ad22" providerId="ADAL" clId="{73CA1F54-21D6-49AD-ABBB-76EB32E6790F}" dt="2017-09-12T08:47:26.615" v="13" actId="1036"/>
          <ac:picMkLst>
            <pc:docMk/>
            <pc:sldMk cId="1767576603" sldId="321"/>
            <ac:picMk id="6" creationId="{00000000-0000-0000-0000-000000000000}"/>
          </ac:picMkLst>
        </pc:picChg>
      </pc:sldChg>
    </pc:docChg>
  </pc:docChgLst>
  <pc:docChgLst>
    <pc:chgData name="Jeung Hoon Park" userId="S::junpark@microsoft.com::beddcffd-ce47-4056-b815-24814e3fbfe9" providerId="AD" clId="Web-{4CE41C85-356D-4DDA-8EDB-3C630C5A42C8}"/>
    <pc:docChg chg="addSld delSld modSld">
      <pc:chgData name="Jeung Hoon Park" userId="S::junpark@microsoft.com::beddcffd-ce47-4056-b815-24814e3fbfe9" providerId="AD" clId="Web-{4CE41C85-356D-4DDA-8EDB-3C630C5A42C8}" dt="2022-09-20T01:12:23.332" v="4"/>
      <pc:docMkLst>
        <pc:docMk/>
      </pc:docMkLst>
      <pc:sldChg chg="addSp delSp modSp">
        <pc:chgData name="Jeung Hoon Park" userId="S::junpark@microsoft.com::beddcffd-ce47-4056-b815-24814e3fbfe9" providerId="AD" clId="Web-{4CE41C85-356D-4DDA-8EDB-3C630C5A42C8}" dt="2022-09-20T01:12:23.332" v="4"/>
        <pc:sldMkLst>
          <pc:docMk/>
          <pc:sldMk cId="2979975711" sldId="625"/>
        </pc:sldMkLst>
        <pc:picChg chg="add del mod">
          <ac:chgData name="Jeung Hoon Park" userId="S::junpark@microsoft.com::beddcffd-ce47-4056-b815-24814e3fbfe9" providerId="AD" clId="Web-{4CE41C85-356D-4DDA-8EDB-3C630C5A42C8}" dt="2022-09-20T01:12:23.332" v="4"/>
          <ac:picMkLst>
            <pc:docMk/>
            <pc:sldMk cId="2979975711" sldId="625"/>
            <ac:picMk id="2" creationId="{50B401B8-94BD-CAE3-5A60-4D83AA14812F}"/>
          </ac:picMkLst>
        </pc:picChg>
      </pc:sldChg>
      <pc:sldChg chg="add del replId">
        <pc:chgData name="Jeung Hoon Park" userId="S::junpark@microsoft.com::beddcffd-ce47-4056-b815-24814e3fbfe9" providerId="AD" clId="Web-{4CE41C85-356D-4DDA-8EDB-3C630C5A42C8}" dt="2022-09-20T01:12:09.738" v="1"/>
        <pc:sldMkLst>
          <pc:docMk/>
          <pc:sldMk cId="835258068" sldId="668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>
          <a:xfrm>
            <a:off x="0" y="-11574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>
              <a:latin typeface="Segoe UI" pitchFamily="34" charset="0"/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D169F5B-6A27-450C-917B-FEA5A9D90751}" type="datetime8">
              <a:rPr lang="en-US" smtClean="0">
                <a:latin typeface="Segoe UI" pitchFamily="34" charset="0"/>
              </a:rPr>
              <a:t>3/21/2023 4:10 PM</a:t>
            </a:fld>
            <a:endParaRPr lang="en-US">
              <a:latin typeface="Segoe UI" pitchFamily="34" charset="0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5795010" cy="3324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marL="398463" defTabSz="914099" eaLnBrk="0" hangingPunct="0"/>
            <a:r>
              <a:rPr lang="en-US" sz="4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3"/>
          </p:nvPr>
        </p:nvSpPr>
        <p:spPr>
          <a:xfrm>
            <a:off x="5783579" y="8685213"/>
            <a:ext cx="107283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C9E9D6-92A0-482B-A603-C9BA7FFB8190}" type="slidenum">
              <a:rPr lang="en-US" smtClean="0">
                <a:latin typeface="Segoe UI" pitchFamily="34" charset="0"/>
              </a:rPr>
              <a:t>‹#›</a:t>
            </a:fld>
            <a:endParaRPr lang="en-US">
              <a:latin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4595630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Header Placeholder 7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Segoe UI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Slide Image Placeholder 8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4"/>
          </p:nvPr>
        </p:nvSpPr>
        <p:spPr>
          <a:xfrm>
            <a:off x="0" y="8686800"/>
            <a:ext cx="5920740" cy="3559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marL="571500" indent="0" algn="l">
              <a:defRPr sz="1200"/>
            </a:lvl1pPr>
          </a:lstStyle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11" name="Date Placeholder 10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101605F0-F4FA-453C-99F4-6D9D6C769866}" type="datetime8">
              <a:rPr lang="en-US" smtClean="0"/>
              <a:t>3/21/2023 4:10 PM</a:t>
            </a:fld>
            <a:endParaRPr lang="en-US"/>
          </a:p>
        </p:txBody>
      </p:sp>
      <p:sp>
        <p:nvSpPr>
          <p:cNvPr id="12" name="Notes Placeholder 11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5"/>
          </p:nvPr>
        </p:nvSpPr>
        <p:spPr>
          <a:xfrm>
            <a:off x="5909309" y="8685213"/>
            <a:ext cx="94710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B4008EB6-D09E-4580-8CD6-DDB14511944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464826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932742" rtl="0" eaLnBrk="1" latinLnBrk="0" hangingPunct="1">
      <a:lnSpc>
        <a:spcPct val="90000"/>
      </a:lnSpc>
      <a:spcAft>
        <a:spcPts val="340"/>
      </a:spcAft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1pPr>
    <a:lvl2pPr marL="217262" indent="-107956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2pPr>
    <a:lvl3pPr marL="334664" indent="-117403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3pPr>
    <a:lvl4pPr marL="492551" indent="-149789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4pPr>
    <a:lvl5pPr marL="627496" indent="-117403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5pPr>
    <a:lvl6pPr marL="2331856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98226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64597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730969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appinsightkorea.azurewebsites.net/Home/Redis" TargetMode="External"/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C246A9EF-3626-460F-A60F-CFEBBFCF0906}" type="datetime8">
              <a:rPr lang="en-US" smtClean="0"/>
              <a:t>3/21/2023 4:10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576074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r>
              <a:rPr lang="ko-KR" altLang="en-US" dirty="0"/>
              <a:t>다음 페이지 호출 후 </a:t>
            </a:r>
            <a:r>
              <a:rPr lang="en-US" altLang="ko-KR" dirty="0"/>
              <a:t>Performance &gt; End to End Transaction</a:t>
            </a:r>
            <a:r>
              <a:rPr lang="ko-KR" altLang="en-US" dirty="0"/>
              <a:t>에서 </a:t>
            </a:r>
            <a:r>
              <a:rPr lang="en-US" altLang="ko-KR" dirty="0"/>
              <a:t>Redis </a:t>
            </a:r>
            <a:r>
              <a:rPr lang="ko-KR" altLang="en-US" dirty="0"/>
              <a:t>캐시에 대한 종속성 확인</a:t>
            </a:r>
            <a:r>
              <a:rPr lang="en-US" altLang="ko-KR" dirty="0"/>
              <a:t>.</a:t>
            </a:r>
          </a:p>
          <a:p>
            <a:pPr marL="0" indent="0">
              <a:buFontTx/>
              <a:buNone/>
            </a:pPr>
            <a:r>
              <a:rPr lang="en-US" dirty="0">
                <a:hlinkClick r:id="rId3"/>
              </a:rPr>
              <a:t>About - DapperV6 (appinsightkorea.azurewebsites.net)</a:t>
            </a:r>
            <a:endParaRPr lang="en-US" dirty="0"/>
          </a:p>
        </p:txBody>
      </p:sp>
      <p:sp>
        <p:nvSpPr>
          <p:cNvPr id="4" name="머리글 개체 틀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날짜 개체 틀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01605F0-F4FA-453C-99F4-6D9D6C769866}" type="datetime8">
              <a:rPr lang="en-US" smtClean="0"/>
              <a:t>3/21/2023 4:10 PM</a:t>
            </a:fld>
            <a:endParaRPr 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164099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C1ADEE8-F611-4D7E-B5CB-3C07A4600A15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643787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 dirty="0"/>
          </a:p>
        </p:txBody>
      </p:sp>
      <p:sp>
        <p:nvSpPr>
          <p:cNvPr id="4" name="머리글 개체 틀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날짜 개체 틀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01605F0-F4FA-453C-99F4-6D9D6C769866}" type="datetime8">
              <a:rPr lang="en-US" smtClean="0"/>
              <a:t>3/21/2023 4:10 PM</a:t>
            </a:fld>
            <a:endParaRPr 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596628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 dirty="0"/>
          </a:p>
        </p:txBody>
      </p:sp>
      <p:sp>
        <p:nvSpPr>
          <p:cNvPr id="4" name="머리글 개체 틀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날짜 개체 틀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01605F0-F4FA-453C-99F4-6D9D6C769866}" type="datetime8">
              <a:rPr lang="en-US" smtClean="0"/>
              <a:t>3/21/2023 4:10 PM</a:t>
            </a:fld>
            <a:endParaRPr 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492233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 dirty="0"/>
          </a:p>
        </p:txBody>
      </p:sp>
      <p:sp>
        <p:nvSpPr>
          <p:cNvPr id="4" name="머리글 개체 틀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날짜 개체 틀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01605F0-F4FA-453C-99F4-6D9D6C769866}" type="datetime8">
              <a:rPr lang="en-US" smtClean="0"/>
              <a:t>3/21/2023 4:10 PM</a:t>
            </a:fld>
            <a:endParaRPr 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964999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 dirty="0"/>
          </a:p>
        </p:txBody>
      </p:sp>
      <p:sp>
        <p:nvSpPr>
          <p:cNvPr id="4" name="머리글 개체 틀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날짜 개체 틀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01605F0-F4FA-453C-99F4-6D9D6C769866}" type="datetime8">
              <a:rPr lang="en-US" smtClean="0"/>
              <a:t>3/21/2023 4:10 PM</a:t>
            </a:fld>
            <a:endParaRPr 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286600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C1ADEE8-F611-4D7E-B5CB-3C07A4600A15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350674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 dirty="0"/>
          </a:p>
        </p:txBody>
      </p:sp>
      <p:sp>
        <p:nvSpPr>
          <p:cNvPr id="4" name="머리글 개체 틀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날짜 개체 틀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01605F0-F4FA-453C-99F4-6D9D6C769866}" type="datetime8">
              <a:rPr lang="en-US" smtClean="0"/>
              <a:t>3/21/2023 4:10 PM</a:t>
            </a:fld>
            <a:endParaRPr 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147310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 dirty="0"/>
          </a:p>
        </p:txBody>
      </p:sp>
      <p:sp>
        <p:nvSpPr>
          <p:cNvPr id="4" name="머리글 개체 틀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날짜 개체 틀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01605F0-F4FA-453C-99F4-6D9D6C769866}" type="datetime8">
              <a:rPr lang="en-US" smtClean="0"/>
              <a:t>3/21/2023 4:10 PM</a:t>
            </a:fld>
            <a:endParaRPr 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860953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 dirty="0"/>
          </a:p>
        </p:txBody>
      </p:sp>
      <p:sp>
        <p:nvSpPr>
          <p:cNvPr id="4" name="머리글 개체 틀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날짜 개체 틀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01605F0-F4FA-453C-99F4-6D9D6C769866}" type="datetime8">
              <a:rPr lang="en-US" smtClean="0"/>
              <a:t>3/21/2023 4:10 PM</a:t>
            </a:fld>
            <a:endParaRPr 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91146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/>
          <a:lstStyle/>
          <a:p>
            <a:fld id="{8B9CCBEB-0220-40F7-B628-428B12AFD516}" type="datetime8">
              <a:rPr lang="en-US" smtClean="0"/>
              <a:t>3/21/2023 4:10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172199" y="8685213"/>
            <a:ext cx="684213" cy="457200"/>
          </a:xfrm>
          <a:prstGeom prst="rect">
            <a:avLst/>
          </a:prstGeom>
        </p:spPr>
        <p:txBody>
          <a:bodyPr/>
          <a:lstStyle/>
          <a:p>
            <a:fld id="{8B263312-38AA-4E1E-B2B5-0F8F122B24FE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9" name="Header Placeholder 8"/>
          <p:cNvSpPr>
            <a:spLocks noGrp="1"/>
          </p:cNvSpPr>
          <p:nvPr>
            <p:ph type="hdr" sz="quarter" idx="1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235486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 dirty="0"/>
          </a:p>
        </p:txBody>
      </p:sp>
      <p:sp>
        <p:nvSpPr>
          <p:cNvPr id="4" name="머리글 개체 틀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날짜 개체 틀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01605F0-F4FA-453C-99F4-6D9D6C769866}" type="datetime8">
              <a:rPr lang="en-US" smtClean="0"/>
              <a:t>3/21/2023 4:10 PM</a:t>
            </a:fld>
            <a:endParaRPr 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508638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 dirty="0"/>
          </a:p>
        </p:txBody>
      </p:sp>
      <p:sp>
        <p:nvSpPr>
          <p:cNvPr id="4" name="머리글 개체 틀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날짜 개체 틀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01605F0-F4FA-453C-99F4-6D9D6C769866}" type="datetime8">
              <a:rPr lang="en-US" smtClean="0"/>
              <a:t>3/21/2023 4:10 PM</a:t>
            </a:fld>
            <a:endParaRPr 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914726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 dirty="0"/>
          </a:p>
        </p:txBody>
      </p:sp>
      <p:sp>
        <p:nvSpPr>
          <p:cNvPr id="4" name="머리글 개체 틀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날짜 개체 틀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01605F0-F4FA-453C-99F4-6D9D6C769866}" type="datetime8">
              <a:rPr lang="en-US" smtClean="0"/>
              <a:t>3/21/2023 4:10 PM</a:t>
            </a:fld>
            <a:endParaRPr 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1421567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 dirty="0"/>
          </a:p>
        </p:txBody>
      </p:sp>
      <p:sp>
        <p:nvSpPr>
          <p:cNvPr id="4" name="머리글 개체 틀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날짜 개체 틀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01605F0-F4FA-453C-99F4-6D9D6C769866}" type="datetime8">
              <a:rPr lang="en-US" smtClean="0"/>
              <a:t>3/21/2023 4:10 PM</a:t>
            </a:fld>
            <a:endParaRPr 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513868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 dirty="0"/>
          </a:p>
        </p:txBody>
      </p:sp>
      <p:sp>
        <p:nvSpPr>
          <p:cNvPr id="4" name="머리글 개체 틀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날짜 개체 틀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01605F0-F4FA-453C-99F4-6D9D6C769866}" type="datetime8">
              <a:rPr lang="en-US" smtClean="0"/>
              <a:t>3/21/2023 4:10 PM</a:t>
            </a:fld>
            <a:endParaRPr 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544386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 dirty="0"/>
          </a:p>
        </p:txBody>
      </p:sp>
      <p:sp>
        <p:nvSpPr>
          <p:cNvPr id="4" name="머리글 개체 틀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날짜 개체 틀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01605F0-F4FA-453C-99F4-6D9D6C769866}" type="datetime8">
              <a:rPr lang="en-US" smtClean="0"/>
              <a:t>3/21/2023 4:10 PM</a:t>
            </a:fld>
            <a:endParaRPr 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5173638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 dirty="0"/>
          </a:p>
        </p:txBody>
      </p:sp>
      <p:sp>
        <p:nvSpPr>
          <p:cNvPr id="4" name="머리글 개체 틀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날짜 개체 틀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01605F0-F4FA-453C-99F4-6D9D6C769866}" type="datetime8">
              <a:rPr lang="en-US" smtClean="0"/>
              <a:t>3/21/2023 4:10 PM</a:t>
            </a:fld>
            <a:endParaRPr 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4660984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14CC677C-75D1-45BC-8FF3-7313E4B8CD7A}" type="datetime8">
              <a:rPr lang="en-US" smtClean="0">
                <a:solidFill>
                  <a:prstClr val="black"/>
                </a:solidFill>
              </a:rPr>
              <a:t>3/21/2023 4:10 PM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EC87E0CF-87F6-4B58-B8B8-DCAB2DAAF3CA}" type="slidenum">
              <a:rPr lang="en-US" smtClean="0">
                <a:solidFill>
                  <a:prstClr val="black"/>
                </a:solidFill>
              </a:rPr>
              <a:pPr/>
              <a:t>27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</p:spTree>
    <p:extLst>
      <p:ext uri="{BB962C8B-B14F-4D97-AF65-F5344CB8AC3E}">
        <p14:creationId xmlns:p14="http://schemas.microsoft.com/office/powerpoint/2010/main" val="150718785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C1ADEE8-F611-4D7E-B5CB-3C07A4600A15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989232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en-US" dirty="0"/>
              <a:t>SQL VM </a:t>
            </a:r>
            <a:r>
              <a:rPr lang="ko-KR" altLang="en-US" dirty="0"/>
              <a:t>시작</a:t>
            </a:r>
            <a:r>
              <a:rPr lang="en-US" altLang="ko-KR" dirty="0"/>
              <a:t>.</a:t>
            </a:r>
          </a:p>
          <a:p>
            <a:pPr marL="171450" indent="-171450">
              <a:buFontTx/>
              <a:buChar char="-"/>
            </a:pPr>
            <a:r>
              <a:rPr lang="en-US" dirty="0"/>
              <a:t>Siege</a:t>
            </a:r>
            <a:r>
              <a:rPr lang="ko-KR" altLang="en-US" dirty="0"/>
              <a:t>로 트래픽 생성</a:t>
            </a:r>
            <a:r>
              <a:rPr lang="en-US" altLang="ko-KR" dirty="0"/>
              <a:t>.</a:t>
            </a:r>
          </a:p>
          <a:p>
            <a:pPr marL="0" indent="0">
              <a:buFontTx/>
              <a:buNone/>
            </a:pPr>
            <a:r>
              <a:rPr lang="en-US" dirty="0"/>
              <a:t>    </a:t>
            </a:r>
            <a:r>
              <a:rPr lang="de-DE" dirty="0"/>
              <a:t>siege -t1M -c 10 https://appinsightkorea.azurewebsites.net/Home/Customer</a:t>
            </a: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    </a:t>
            </a:r>
            <a:r>
              <a:rPr lang="de-DE" dirty="0"/>
              <a:t>siege -t1M -c 10 https://appinsightkorea.azurewebsites.net/Home/Redis</a:t>
            </a:r>
            <a:endParaRPr lang="en-US" dirty="0"/>
          </a:p>
          <a:p>
            <a:pPr marL="0" indent="0">
              <a:buFontTx/>
              <a:buNone/>
            </a:pPr>
            <a:endParaRPr lang="en-US" dirty="0"/>
          </a:p>
          <a:p>
            <a:pPr marL="0" indent="0">
              <a:buFontTx/>
              <a:buNone/>
            </a:pPr>
            <a:endParaRPr lang="en-US" dirty="0"/>
          </a:p>
        </p:txBody>
      </p:sp>
      <p:sp>
        <p:nvSpPr>
          <p:cNvPr id="4" name="머리글 개체 틀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날짜 개체 틀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01605F0-F4FA-453C-99F4-6D9D6C769866}" type="datetime8">
              <a:rPr lang="en-US" smtClean="0"/>
              <a:t>3/21/2023 4:10 PM</a:t>
            </a:fld>
            <a:endParaRPr 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849504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en-US" dirty="0"/>
              <a:t>Siege</a:t>
            </a:r>
            <a:r>
              <a:rPr lang="ko-KR" altLang="en-US" dirty="0"/>
              <a:t>로 트래픽 생성</a:t>
            </a:r>
            <a:r>
              <a:rPr lang="en-US" altLang="ko-KR" dirty="0"/>
              <a:t>.</a:t>
            </a:r>
          </a:p>
          <a:p>
            <a:pPr marL="0" indent="0">
              <a:buFontTx/>
              <a:buNone/>
            </a:pPr>
            <a:r>
              <a:rPr lang="en-US" dirty="0"/>
              <a:t>   </a:t>
            </a:r>
            <a:r>
              <a:rPr lang="de-DE" dirty="0"/>
              <a:t>siege -t3M -c 10 https://appinsightkorea.azurewebsites.net/Home/GetCustomerByState</a:t>
            </a:r>
          </a:p>
          <a:p>
            <a:pPr marL="0" indent="0">
              <a:buFontTx/>
              <a:buNone/>
            </a:pPr>
            <a:r>
              <a:rPr lang="de-DE" dirty="0"/>
              <a:t>   </a:t>
            </a:r>
            <a:r>
              <a:rPr lang="ko-KR" altLang="en-US" dirty="0"/>
              <a:t>일부 요청은 </a:t>
            </a:r>
            <a:r>
              <a:rPr lang="en-US" altLang="ko-KR" dirty="0"/>
              <a:t>primary key </a:t>
            </a:r>
            <a:r>
              <a:rPr lang="ko-KR" altLang="en-US" dirty="0"/>
              <a:t>중복으로 실패</a:t>
            </a:r>
            <a:r>
              <a:rPr lang="en-US" altLang="ko-KR" dirty="0"/>
              <a:t>.</a:t>
            </a:r>
            <a:endParaRPr lang="en-US" dirty="0"/>
          </a:p>
          <a:p>
            <a:pPr marL="0" indent="0">
              <a:buFontTx/>
              <a:buNone/>
            </a:pPr>
            <a:endParaRPr lang="en-US" dirty="0"/>
          </a:p>
        </p:txBody>
      </p:sp>
      <p:sp>
        <p:nvSpPr>
          <p:cNvPr id="4" name="머리글 개체 틀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날짜 개체 틀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01605F0-F4FA-453C-99F4-6D9D6C769866}" type="datetime8">
              <a:rPr lang="en-US" smtClean="0"/>
              <a:t>3/21/2023 4:10 PM</a:t>
            </a:fld>
            <a:endParaRPr 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457126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en-US" dirty="0"/>
              <a:t>Siege</a:t>
            </a:r>
            <a:r>
              <a:rPr lang="ko-KR" altLang="en-US" dirty="0"/>
              <a:t>로 트래픽 생성</a:t>
            </a:r>
            <a:r>
              <a:rPr lang="en-US" altLang="ko-KR" dirty="0"/>
              <a:t>.</a:t>
            </a:r>
          </a:p>
          <a:p>
            <a:pPr marL="0" indent="0">
              <a:buFontTx/>
              <a:buNone/>
            </a:pPr>
            <a:r>
              <a:rPr lang="en-US" dirty="0"/>
              <a:t>   </a:t>
            </a:r>
            <a:r>
              <a:rPr lang="de-DE" dirty="0"/>
              <a:t>siege -t3M -c 10 https://appinsightkorea.azurewebsites.net/Home/GetCustomerByState</a:t>
            </a:r>
          </a:p>
          <a:p>
            <a:pPr marL="0" indent="0">
              <a:buFontTx/>
              <a:buNone/>
            </a:pPr>
            <a:r>
              <a:rPr lang="de-DE" dirty="0"/>
              <a:t>   </a:t>
            </a:r>
            <a:r>
              <a:rPr lang="ko-KR" altLang="en-US" dirty="0"/>
              <a:t>일부 요청은 </a:t>
            </a:r>
            <a:r>
              <a:rPr lang="en-US" altLang="ko-KR" dirty="0"/>
              <a:t>primary key </a:t>
            </a:r>
            <a:r>
              <a:rPr lang="ko-KR" altLang="en-US" dirty="0"/>
              <a:t>중복으로 실패</a:t>
            </a:r>
            <a:r>
              <a:rPr lang="en-US" altLang="ko-KR" dirty="0"/>
              <a:t>.</a:t>
            </a:r>
            <a:endParaRPr lang="en-US" dirty="0"/>
          </a:p>
          <a:p>
            <a:pPr marL="0" indent="0">
              <a:buFontTx/>
              <a:buNone/>
            </a:pPr>
            <a:endParaRPr lang="en-US" dirty="0"/>
          </a:p>
        </p:txBody>
      </p:sp>
      <p:sp>
        <p:nvSpPr>
          <p:cNvPr id="4" name="머리글 개체 틀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날짜 개체 틀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01605F0-F4FA-453C-99F4-6D9D6C769866}" type="datetime8">
              <a:rPr lang="en-US" smtClean="0"/>
              <a:t>3/21/2023 4:10 PM</a:t>
            </a:fld>
            <a:endParaRPr 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041590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 dirty="0"/>
          </a:p>
        </p:txBody>
      </p:sp>
      <p:sp>
        <p:nvSpPr>
          <p:cNvPr id="4" name="머리글 개체 틀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날짜 개체 틀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01605F0-F4FA-453C-99F4-6D9D6C769866}" type="datetime8">
              <a:rPr lang="en-US" smtClean="0"/>
              <a:t>3/21/2023 4:10 PM</a:t>
            </a:fld>
            <a:endParaRPr 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254388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 dirty="0"/>
          </a:p>
        </p:txBody>
      </p:sp>
      <p:sp>
        <p:nvSpPr>
          <p:cNvPr id="4" name="머리글 개체 틀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날짜 개체 틀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01605F0-F4FA-453C-99F4-6D9D6C769866}" type="datetime8">
              <a:rPr lang="en-US" smtClean="0"/>
              <a:t>3/21/2023 4:10 PM</a:t>
            </a:fld>
            <a:endParaRPr 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141921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 dirty="0"/>
          </a:p>
        </p:txBody>
      </p:sp>
      <p:sp>
        <p:nvSpPr>
          <p:cNvPr id="4" name="머리글 개체 틀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날짜 개체 틀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01605F0-F4FA-453C-99F4-6D9D6C769866}" type="datetime8">
              <a:rPr lang="en-US" smtClean="0"/>
              <a:t>3/21/2023 4:10 PM</a:t>
            </a:fld>
            <a:endParaRPr 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94990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9.png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3.svg"/><Relationship Id="rId4" Type="http://schemas.openxmlformats.org/officeDocument/2006/relationships/image" Target="../media/image12.png"/></Relationships>
</file>

<file path=ppt/slideLayouts/_rels/slideLayout8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13" Type="http://schemas.openxmlformats.org/officeDocument/2006/relationships/image" Target="../media/image24.png"/><Relationship Id="rId18" Type="http://schemas.openxmlformats.org/officeDocument/2006/relationships/image" Target="../media/image29.svg"/><Relationship Id="rId3" Type="http://schemas.microsoft.com/office/2007/relationships/hdphoto" Target="../media/hdphoto1.wdp"/><Relationship Id="rId7" Type="http://schemas.openxmlformats.org/officeDocument/2006/relationships/image" Target="../media/image18.png"/><Relationship Id="rId12" Type="http://schemas.openxmlformats.org/officeDocument/2006/relationships/image" Target="../media/image23.svg"/><Relationship Id="rId17" Type="http://schemas.openxmlformats.org/officeDocument/2006/relationships/image" Target="../media/image28.png"/><Relationship Id="rId2" Type="http://schemas.openxmlformats.org/officeDocument/2006/relationships/image" Target="../media/image14.png"/><Relationship Id="rId16" Type="http://schemas.openxmlformats.org/officeDocument/2006/relationships/image" Target="../media/image27.sv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7.svg"/><Relationship Id="rId11" Type="http://schemas.openxmlformats.org/officeDocument/2006/relationships/image" Target="../media/image22.png"/><Relationship Id="rId5" Type="http://schemas.openxmlformats.org/officeDocument/2006/relationships/image" Target="../media/image16.png"/><Relationship Id="rId15" Type="http://schemas.openxmlformats.org/officeDocument/2006/relationships/image" Target="../media/image26.png"/><Relationship Id="rId10" Type="http://schemas.openxmlformats.org/officeDocument/2006/relationships/image" Target="../media/image21.svg"/><Relationship Id="rId19" Type="http://schemas.openxmlformats.org/officeDocument/2006/relationships/image" Target="../media/image30.png"/><Relationship Id="rId4" Type="http://schemas.openxmlformats.org/officeDocument/2006/relationships/image" Target="../media/image15.emf"/><Relationship Id="rId9" Type="http://schemas.openxmlformats.org/officeDocument/2006/relationships/image" Target="../media/image20.png"/><Relationship Id="rId14" Type="http://schemas.openxmlformats.org/officeDocument/2006/relationships/image" Target="../media/image25.svg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svg"/><Relationship Id="rId13" Type="http://schemas.openxmlformats.org/officeDocument/2006/relationships/image" Target="../media/image42.png"/><Relationship Id="rId18" Type="http://schemas.openxmlformats.org/officeDocument/2006/relationships/image" Target="../media/image47.svg"/><Relationship Id="rId3" Type="http://schemas.openxmlformats.org/officeDocument/2006/relationships/image" Target="../media/image32.png"/><Relationship Id="rId7" Type="http://schemas.openxmlformats.org/officeDocument/2006/relationships/image" Target="../media/image36.png"/><Relationship Id="rId12" Type="http://schemas.openxmlformats.org/officeDocument/2006/relationships/image" Target="../media/image41.svg"/><Relationship Id="rId17" Type="http://schemas.openxmlformats.org/officeDocument/2006/relationships/image" Target="../media/image46.png"/><Relationship Id="rId2" Type="http://schemas.openxmlformats.org/officeDocument/2006/relationships/image" Target="../media/image31.png"/><Relationship Id="rId16" Type="http://schemas.openxmlformats.org/officeDocument/2006/relationships/image" Target="../media/image45.sv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35.svg"/><Relationship Id="rId11" Type="http://schemas.openxmlformats.org/officeDocument/2006/relationships/image" Target="../media/image40.png"/><Relationship Id="rId5" Type="http://schemas.openxmlformats.org/officeDocument/2006/relationships/image" Target="../media/image34.png"/><Relationship Id="rId15" Type="http://schemas.openxmlformats.org/officeDocument/2006/relationships/image" Target="../media/image44.png"/><Relationship Id="rId10" Type="http://schemas.openxmlformats.org/officeDocument/2006/relationships/image" Target="../media/image39.svg"/><Relationship Id="rId4" Type="http://schemas.openxmlformats.org/officeDocument/2006/relationships/image" Target="../media/image33.svg"/><Relationship Id="rId9" Type="http://schemas.openxmlformats.org/officeDocument/2006/relationships/image" Target="../media/image38.png"/><Relationship Id="rId14" Type="http://schemas.openxmlformats.org/officeDocument/2006/relationships/image" Target="../media/image43.svg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6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49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48.jpeg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44" t="1853" r="1090"/>
          <a:stretch/>
        </p:blipFill>
        <p:spPr>
          <a:xfrm flipH="1">
            <a:off x="18247" y="0"/>
            <a:ext cx="12434704" cy="6994521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 bwMode="auto">
          <a:xfrm>
            <a:off x="274638" y="2119163"/>
            <a:ext cx="6400800" cy="3664099"/>
          </a:xfrm>
          <a:prstGeom prst="rect">
            <a:avLst/>
          </a:prstGeom>
          <a:solidFill>
            <a:srgbClr val="0078D7">
              <a:alpha val="90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74702" y="2119178"/>
            <a:ext cx="6402388" cy="1828800"/>
          </a:xfrm>
          <a:noFill/>
        </p:spPr>
        <p:txBody>
          <a:bodyPr lIns="146304" tIns="91440" rIns="146304" bIns="91440" anchor="t" anchorCtr="0"/>
          <a:lstStyle>
            <a:lvl1pPr>
              <a:defRPr sz="4800" spc="-100" baseline="0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73050" y="3954463"/>
            <a:ext cx="6402388" cy="1828800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200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57580" y="479425"/>
            <a:ext cx="1828800" cy="391754"/>
          </a:xfrm>
          <a:prstGeom prst="rect">
            <a:avLst/>
          </a:prstGeom>
        </p:spPr>
      </p:pic>
      <p:sp>
        <p:nvSpPr>
          <p:cNvPr id="10" name="Text Placeholder 2"/>
          <p:cNvSpPr txBox="1">
            <a:spLocks/>
          </p:cNvSpPr>
          <p:nvPr userDrawn="1"/>
        </p:nvSpPr>
        <p:spPr bwMode="auto">
          <a:xfrm>
            <a:off x="278781" y="6240432"/>
            <a:ext cx="3017487" cy="548634"/>
          </a:xfrm>
          <a:prstGeom prst="rect">
            <a:avLst/>
          </a:prstGeom>
        </p:spPr>
        <p:txBody>
          <a:bodyPr vert="horz" wrap="square" lIns="146304" tIns="109728" rIns="146304" bIns="109728" rtlCol="0">
            <a:noAutofit/>
          </a:bodyPr>
          <a:lstStyle>
            <a:lvl1pPr marL="0" marR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3200" kern="1200" spc="0" baseline="0">
                <a:gradFill>
                  <a:gsLst>
                    <a:gs pos="4040">
                      <a:srgbClr val="525252"/>
                    </a:gs>
                    <a:gs pos="17000">
                      <a:srgbClr val="525252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8001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b="1"/>
              <a:t>Microsoft Services</a:t>
            </a:r>
            <a:endParaRPr lang="en-US" sz="2400"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594675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49"/>
            <a:ext cx="5486399" cy="2425279"/>
          </a:xfrm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200"/>
            </a:lvl1pPr>
            <a:lvl2pPr marL="531166" indent="-233195">
              <a:defRPr sz="2400"/>
            </a:lvl2pPr>
            <a:lvl3pPr marL="699585" indent="-168419">
              <a:tabLst/>
              <a:defRPr sz="2000"/>
            </a:lvl3pPr>
            <a:lvl4pPr marL="880958" indent="-181374">
              <a:defRPr/>
            </a:lvl4pPr>
            <a:lvl5pPr marL="1049377" indent="-168419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2425279"/>
          </a:xfrm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200"/>
            </a:lvl1pPr>
            <a:lvl2pPr marL="531166" indent="-233195">
              <a:defRPr sz="2400"/>
            </a:lvl2pPr>
            <a:lvl3pPr marL="699585" indent="-168419">
              <a:tabLst/>
              <a:defRPr sz="2000"/>
            </a:lvl3pPr>
            <a:lvl4pPr marL="880958" indent="-181374">
              <a:defRPr/>
            </a:lvl4pPr>
            <a:lvl5pPr marL="1049377" indent="-168419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9362577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11135705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1209973"/>
            <a:ext cx="10056812" cy="2751698"/>
          </a:xfrm>
          <a:noFill/>
        </p:spPr>
        <p:txBody>
          <a:bodyPr tIns="91440" bIns="91440" anchor="t" anchorCtr="0"/>
          <a:lstStyle>
            <a:lvl1pPr>
              <a:defRPr sz="7200" spc="-10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38" y="3954463"/>
            <a:ext cx="10058401" cy="1829593"/>
          </a:xfrm>
          <a:noFill/>
        </p:spPr>
        <p:txBody>
          <a:bodyPr lIns="182880" tIns="146304" rIns="182880" bIns="146304">
            <a:noAutofit/>
          </a:bodyPr>
          <a:lstStyle>
            <a:lvl1pPr marL="0" indent="0">
              <a:spcBef>
                <a:spcPts val="0"/>
              </a:spcBef>
              <a:buNone/>
              <a:defRPr sz="36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29238619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1209973"/>
            <a:ext cx="10056812" cy="2751698"/>
          </a:xfrm>
          <a:noFill/>
        </p:spPr>
        <p:txBody>
          <a:bodyPr tIns="91440" bIns="91440" anchor="t" anchorCtr="0"/>
          <a:lstStyle>
            <a:lvl1pPr>
              <a:defRPr lang="en-US" sz="7200" b="0" kern="1200" cap="none" spc="-10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21594122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40753572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7625369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4722716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89526804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784507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593445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3954457"/>
            <a:ext cx="6399213" cy="1830388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17165"/>
            <a:ext cx="8229535" cy="1828800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3333">
                      <a:schemeClr val="tx2"/>
                    </a:gs>
                    <a:gs pos="3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57580" y="6121924"/>
            <a:ext cx="1828800" cy="391754"/>
          </a:xfrm>
          <a:prstGeom prst="rect">
            <a:avLst/>
          </a:prstGeom>
        </p:spPr>
      </p:pic>
      <p:sp>
        <p:nvSpPr>
          <p:cNvPr id="6" name="Text Placeholder 2"/>
          <p:cNvSpPr txBox="1">
            <a:spLocks/>
          </p:cNvSpPr>
          <p:nvPr userDrawn="1"/>
        </p:nvSpPr>
        <p:spPr bwMode="auto">
          <a:xfrm>
            <a:off x="366141" y="205459"/>
            <a:ext cx="3017487" cy="548634"/>
          </a:xfrm>
          <a:prstGeom prst="rect">
            <a:avLst/>
          </a:prstGeom>
        </p:spPr>
        <p:txBody>
          <a:bodyPr vert="horz" wrap="square" lIns="146304" tIns="109728" rIns="146304" bIns="109728" rtlCol="0">
            <a:noAutofit/>
          </a:bodyPr>
          <a:lstStyle>
            <a:lvl1pPr marL="0" marR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3200" kern="1200" spc="0" baseline="0">
                <a:gradFill>
                  <a:gsLst>
                    <a:gs pos="4040">
                      <a:srgbClr val="525252"/>
                    </a:gs>
                    <a:gs pos="17000">
                      <a:srgbClr val="525252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8001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b="1"/>
              <a:t>Microsoft Services</a:t>
            </a:r>
            <a:endParaRPr lang="en-US" sz="2400"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28860535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969283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212849"/>
            <a:ext cx="12436475" cy="5781676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39" tIns="46639" rIns="46639" bIns="4663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8" y="1221157"/>
            <a:ext cx="11887199" cy="1995931"/>
          </a:xfrm>
        </p:spPr>
        <p:txBody>
          <a:bodyPr/>
          <a:lstStyle>
            <a:lvl1pPr marL="0" indent="0">
              <a:buNone/>
              <a:defRPr sz="3300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62577389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8" y="6292888"/>
            <a:ext cx="11856403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5 Microsoft Corporation. All rights reserved. 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59230" y="3145040"/>
            <a:ext cx="3288506" cy="7044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8358739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3099696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m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/>
          <p:cNvSpPr txBox="1"/>
          <p:nvPr userDrawn="1"/>
        </p:nvSpPr>
        <p:spPr>
          <a:xfrm>
            <a:off x="0" y="1165754"/>
            <a:ext cx="6218238" cy="3823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1836"/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165754"/>
            <a:ext cx="6156055" cy="2331508"/>
          </a:xfrm>
          <a:solidFill>
            <a:srgbClr val="0A5BBA">
              <a:alpha val="90000"/>
            </a:srgbClr>
          </a:solidFill>
        </p:spPr>
        <p:txBody>
          <a:bodyPr lIns="182880" tIns="137160">
            <a:noAutofit/>
          </a:bodyPr>
          <a:lstStyle>
            <a:lvl1pPr marL="58287" indent="0">
              <a:lnSpc>
                <a:spcPct val="100000"/>
              </a:lnSpc>
              <a:buNone/>
              <a:defRPr sz="3600" baseline="0">
                <a:solidFill>
                  <a:schemeClr val="bg1"/>
                </a:solidFill>
                <a:latin typeface="Malgun Gothic" panose="020B0503020000020004" pitchFamily="34" charset="-127"/>
                <a:ea typeface="Malgun Gothic" panose="020B0503020000020004" pitchFamily="34" charset="-127"/>
              </a:defRPr>
            </a:lvl1pPr>
            <a:lvl2pPr>
              <a:defRPr sz="3060">
                <a:latin typeface="+mn-lt"/>
              </a:defRPr>
            </a:lvl2pPr>
            <a:lvl3pPr>
              <a:defRPr sz="3060">
                <a:latin typeface="+mn-lt"/>
              </a:defRPr>
            </a:lvl3pPr>
            <a:lvl4pPr>
              <a:defRPr sz="3060">
                <a:latin typeface="+mn-lt"/>
              </a:defRPr>
            </a:lvl4pPr>
            <a:lvl5pPr>
              <a:defRPr sz="3060">
                <a:latin typeface="+mn-lt"/>
              </a:defRPr>
            </a:lvl5pPr>
          </a:lstStyle>
          <a:p>
            <a:pPr lvl="0"/>
            <a:r>
              <a:rPr lang="en-US"/>
              <a:t>Demonstration: Title of Demo</a:t>
            </a:r>
          </a:p>
        </p:txBody>
      </p:sp>
    </p:spTree>
    <p:extLst>
      <p:ext uri="{BB962C8B-B14F-4D97-AF65-F5344CB8AC3E}">
        <p14:creationId xmlns:p14="http://schemas.microsoft.com/office/powerpoint/2010/main" val="149116559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mplate-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0059" y="466301"/>
            <a:ext cx="11239464" cy="565027"/>
          </a:xfr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Malgun Gothic" panose="020B0503020000020004" pitchFamily="34" charset="-127"/>
                <a:ea typeface="Malgun Gothic" panose="020B0503020000020004" pitchFamily="34" charset="-127"/>
              </a:defRPr>
            </a:lvl1pPr>
          </a:lstStyle>
          <a:p>
            <a:r>
              <a:rPr lang="en-US" altLang="ko-KR"/>
              <a:t>Click to edit Master title styl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95914" y="1463669"/>
            <a:ext cx="11243609" cy="1682523"/>
          </a:xfrm>
        </p:spPr>
        <p:txBody>
          <a:bodyPr wrap="square">
            <a:spAutoFit/>
          </a:bodyPr>
          <a:lstStyle>
            <a:lvl1pPr marL="0" indent="0">
              <a:spcBef>
                <a:spcPts val="1248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56" b="0">
                <a:latin typeface="Malgun Gothic" panose="020B0503020000020004" pitchFamily="34" charset="-127"/>
                <a:ea typeface="Malgun Gothic" panose="020B0503020000020004" pitchFamily="34" charset="-127"/>
                <a:cs typeface="Segoe UI" panose="020B0502040204020203" pitchFamily="34" charset="0"/>
              </a:defRPr>
            </a:lvl1pPr>
            <a:lvl2pPr marL="260674" indent="0">
              <a:buFont typeface="Wingdings" panose="05000000000000000000" pitchFamily="2" charset="2"/>
              <a:buNone/>
              <a:defRPr sz="2040" b="0">
                <a:latin typeface="Malgun Gothic" panose="020B0503020000020004" pitchFamily="34" charset="-127"/>
                <a:ea typeface="Malgun Gothic" panose="020B0503020000020004" pitchFamily="34" charset="-127"/>
              </a:defRPr>
            </a:lvl2pPr>
            <a:lvl3pPr marL="459822" indent="0">
              <a:buFont typeface="Wingdings" panose="05000000000000000000" pitchFamily="2" charset="2"/>
              <a:buNone/>
              <a:tabLst/>
              <a:defRPr sz="1632" b="0">
                <a:latin typeface="Malgun Gothic" panose="020B0503020000020004" pitchFamily="34" charset="-127"/>
                <a:ea typeface="Malgun Gothic" panose="020B0503020000020004" pitchFamily="34" charset="-127"/>
              </a:defRPr>
            </a:lvl3pPr>
            <a:lvl4pPr marL="665446" indent="0">
              <a:buFont typeface="Wingdings" panose="05000000000000000000" pitchFamily="2" charset="2"/>
              <a:buNone/>
              <a:defRPr sz="1428" b="0">
                <a:latin typeface="Malgun Gothic" panose="020B0503020000020004" pitchFamily="34" charset="-127"/>
                <a:ea typeface="Malgun Gothic" panose="020B0503020000020004" pitchFamily="34" charset="-127"/>
              </a:defRPr>
            </a:lvl4pPr>
            <a:lvl5pPr marL="871071" indent="0">
              <a:buFont typeface="Wingdings" panose="05000000000000000000" pitchFamily="2" charset="2"/>
              <a:buNone/>
              <a:tabLst/>
              <a:defRPr sz="1428" b="0">
                <a:latin typeface="Malgun Gothic" panose="020B0503020000020004" pitchFamily="34" charset="-127"/>
                <a:ea typeface="Malgun Gothic" panose="020B0503020000020004" pitchFamily="34" charset="-127"/>
              </a:defRPr>
            </a:lvl5pPr>
          </a:lstStyle>
          <a:p>
            <a:pPr lvl="0"/>
            <a:r>
              <a:rPr lang="en-US" altLang="ko-KR"/>
              <a:t>Click to edit Master text styles</a:t>
            </a:r>
          </a:p>
          <a:p>
            <a:pPr lvl="1"/>
            <a:r>
              <a:rPr lang="en-US" altLang="ko-KR"/>
              <a:t>Second level</a:t>
            </a:r>
          </a:p>
          <a:p>
            <a:pPr lvl="2"/>
            <a:r>
              <a:rPr lang="en-US" altLang="ko-KR"/>
              <a:t>Third level</a:t>
            </a:r>
          </a:p>
          <a:p>
            <a:pPr lvl="3"/>
            <a:r>
              <a:rPr lang="en-US" altLang="ko-KR"/>
              <a:t>Fourth level</a:t>
            </a:r>
          </a:p>
          <a:p>
            <a:pPr lvl="4"/>
            <a:r>
              <a:rPr lang="en-US" altLang="ko-KR"/>
              <a:t>Fifth level</a:t>
            </a:r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161C8D7-A314-D146-8B0F-88DAD8C243A2}"/>
              </a:ext>
            </a:extLst>
          </p:cNvPr>
          <p:cNvCxnSpPr/>
          <p:nvPr userDrawn="1"/>
        </p:nvCxnSpPr>
        <p:spPr>
          <a:xfrm>
            <a:off x="595914" y="1243471"/>
            <a:ext cx="11246266" cy="0"/>
          </a:xfrm>
          <a:prstGeom prst="line">
            <a:avLst/>
          </a:prstGeom>
          <a:ln w="25400">
            <a:solidFill>
              <a:schemeClr val="tx2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685799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3" orient="horz" pos="904">
          <p15:clr>
            <a:srgbClr val="5ACBF0"/>
          </p15:clr>
        </p15:guide>
        <p15:guide id="4" pos="3656">
          <p15:clr>
            <a:srgbClr val="5ACBF0"/>
          </p15:clr>
        </p15:guide>
        <p15:guide id="5" pos="4024">
          <p15:clr>
            <a:srgbClr val="5ACBF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er Line 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0059" y="466301"/>
            <a:ext cx="11239464" cy="565027"/>
          </a:xfrm>
        </p:spPr>
        <p:txBody>
          <a:bodyPr anchor="ctr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altLang="ko-KR"/>
              <a:t>Click to edit Master title styl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95914" y="1463669"/>
            <a:ext cx="5316593" cy="1682523"/>
          </a:xfrm>
        </p:spPr>
        <p:txBody>
          <a:bodyPr wrap="square">
            <a:spAutoFit/>
          </a:bodyPr>
          <a:lstStyle>
            <a:lvl1pPr marL="0" indent="0">
              <a:spcBef>
                <a:spcPts val="1248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56" b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60674" indent="0">
              <a:buFont typeface="Wingdings" panose="05000000000000000000" pitchFamily="2" charset="2"/>
              <a:buNone/>
              <a:defRPr sz="2040" b="0"/>
            </a:lvl2pPr>
            <a:lvl3pPr marL="459822" indent="0">
              <a:buFont typeface="Wingdings" panose="05000000000000000000" pitchFamily="2" charset="2"/>
              <a:buNone/>
              <a:tabLst/>
              <a:defRPr sz="1632" b="0"/>
            </a:lvl3pPr>
            <a:lvl4pPr marL="665446" indent="0">
              <a:buFont typeface="Wingdings" panose="05000000000000000000" pitchFamily="2" charset="2"/>
              <a:buNone/>
              <a:defRPr sz="1428" b="0"/>
            </a:lvl4pPr>
            <a:lvl5pPr marL="871071" indent="0">
              <a:buFont typeface="Wingdings" panose="05000000000000000000" pitchFamily="2" charset="2"/>
              <a:buNone/>
              <a:tabLst/>
              <a:defRPr sz="1428" b="0"/>
            </a:lvl5pPr>
          </a:lstStyle>
          <a:p>
            <a:pPr lvl="0"/>
            <a:r>
              <a:rPr lang="en-US" altLang="ko-KR"/>
              <a:t>Click to edit Master text styles</a:t>
            </a:r>
          </a:p>
          <a:p>
            <a:pPr lvl="1"/>
            <a:r>
              <a:rPr lang="en-US" altLang="ko-KR"/>
              <a:t>Second level</a:t>
            </a:r>
          </a:p>
          <a:p>
            <a:pPr lvl="2"/>
            <a:r>
              <a:rPr lang="en-US" altLang="ko-KR"/>
              <a:t>Third level</a:t>
            </a:r>
          </a:p>
          <a:p>
            <a:pPr lvl="3"/>
            <a:r>
              <a:rPr lang="en-US" altLang="ko-KR"/>
              <a:t>Fourth level</a:t>
            </a:r>
          </a:p>
          <a:p>
            <a:pPr lvl="4"/>
            <a:r>
              <a:rPr lang="en-US" altLang="ko-KR"/>
              <a:t>Fifth level</a:t>
            </a:r>
            <a:endParaRPr lang="en-US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9CDCB4-03E1-4763-B83E-A1334BCDB0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525448" y="1463669"/>
            <a:ext cx="5316593" cy="1682523"/>
          </a:xfrm>
        </p:spPr>
        <p:txBody>
          <a:bodyPr wrap="square">
            <a:spAutoFit/>
          </a:bodyPr>
          <a:lstStyle>
            <a:lvl1pPr marL="0" indent="0">
              <a:spcBef>
                <a:spcPts val="1248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56" b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60674" indent="0">
              <a:buFont typeface="Wingdings" panose="05000000000000000000" pitchFamily="2" charset="2"/>
              <a:buNone/>
              <a:defRPr sz="2040" b="0"/>
            </a:lvl2pPr>
            <a:lvl3pPr marL="459822" indent="0">
              <a:buFont typeface="Wingdings" panose="05000000000000000000" pitchFamily="2" charset="2"/>
              <a:buNone/>
              <a:tabLst/>
              <a:defRPr sz="1632" b="0"/>
            </a:lvl3pPr>
            <a:lvl4pPr marL="665446" indent="0">
              <a:buFont typeface="Wingdings" panose="05000000000000000000" pitchFamily="2" charset="2"/>
              <a:buNone/>
              <a:defRPr sz="1428" b="0"/>
            </a:lvl4pPr>
            <a:lvl5pPr marL="871071" indent="0">
              <a:buFont typeface="Wingdings" panose="05000000000000000000" pitchFamily="2" charset="2"/>
              <a:buNone/>
              <a:tabLst/>
              <a:defRPr sz="1428" b="0"/>
            </a:lvl5pPr>
          </a:lstStyle>
          <a:p>
            <a:pPr lvl="0"/>
            <a:r>
              <a:rPr lang="en-US" altLang="ko-KR"/>
              <a:t>Click to edit Master text styles</a:t>
            </a:r>
          </a:p>
          <a:p>
            <a:pPr lvl="1"/>
            <a:r>
              <a:rPr lang="en-US" altLang="ko-KR"/>
              <a:t>Second level</a:t>
            </a:r>
          </a:p>
          <a:p>
            <a:pPr lvl="2"/>
            <a:r>
              <a:rPr lang="en-US" altLang="ko-KR"/>
              <a:t>Third level</a:t>
            </a:r>
          </a:p>
          <a:p>
            <a:pPr lvl="3"/>
            <a:r>
              <a:rPr lang="en-US" altLang="ko-KR"/>
              <a:t>Fourth level</a:t>
            </a:r>
          </a:p>
          <a:p>
            <a:pPr lvl="4"/>
            <a:r>
              <a:rPr lang="en-US" altLang="ko-KR"/>
              <a:t>Fifth level</a:t>
            </a:r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161C8D7-A314-D146-8B0F-88DAD8C243A2}"/>
              </a:ext>
            </a:extLst>
          </p:cNvPr>
          <p:cNvCxnSpPr/>
          <p:nvPr userDrawn="1"/>
        </p:nvCxnSpPr>
        <p:spPr>
          <a:xfrm>
            <a:off x="595914" y="1243471"/>
            <a:ext cx="11246266" cy="0"/>
          </a:xfrm>
          <a:prstGeom prst="line">
            <a:avLst/>
          </a:prstGeom>
          <a:ln w="25400">
            <a:solidFill>
              <a:schemeClr val="tx2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4412498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3" orient="horz" pos="904">
          <p15:clr>
            <a:srgbClr val="5ACBF0"/>
          </p15:clr>
        </p15:guide>
        <p15:guide id="4" pos="3656">
          <p15:clr>
            <a:srgbClr val="5ACBF0"/>
          </p15:clr>
        </p15:guide>
        <p15:guide id="5" pos="4024">
          <p15:clr>
            <a:srgbClr val="5ACBF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itle">
            <a:extLst>
              <a:ext uri="{FF2B5EF4-FFF2-40B4-BE49-F238E27FC236}">
                <a16:creationId xmlns:a16="http://schemas.microsoft.com/office/drawing/2014/main" id="{BA75DCF9-2114-4543-8491-DC0390D875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8786" y="326411"/>
            <a:ext cx="11098906" cy="470856"/>
          </a:xfrm>
          <a:solidFill>
            <a:schemeClr val="bg1"/>
          </a:solidFill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7" name="3 Content Placeholder">
            <a:extLst>
              <a:ext uri="{FF2B5EF4-FFF2-40B4-BE49-F238E27FC236}">
                <a16:creationId xmlns:a16="http://schemas.microsoft.com/office/drawing/2014/main" id="{67FFA91E-2F74-4D40-9DCA-2240811B5980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68785" y="1436146"/>
            <a:ext cx="11098907" cy="18779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48"/>
            </a:lvl1pPr>
            <a:lvl2pPr marL="317083" indent="0">
              <a:buNone/>
              <a:defRPr/>
            </a:lvl2pPr>
            <a:lvl3pPr marL="634166" indent="0">
              <a:buNone/>
              <a:defRPr/>
            </a:lvl3pPr>
            <a:lvl4pPr marL="951248" indent="0">
              <a:buNone/>
              <a:defRPr/>
            </a:lvl4pPr>
            <a:lvl5pPr marL="1249679" indent="0"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37556261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887">
          <p15:clr>
            <a:srgbClr val="547EBF"/>
          </p15:clr>
        </p15:guide>
        <p15:guide id="2" orient="horz" pos="3923">
          <p15:clr>
            <a:srgbClr val="547EBF"/>
          </p15:clr>
        </p15:guide>
        <p15:guide id="3" orient="horz" pos="789">
          <p15:clr>
            <a:srgbClr val="547EBF"/>
          </p15:clr>
        </p15:guide>
        <p15:guide id="4" orient="horz" pos="202">
          <p15:clr>
            <a:srgbClr val="547EBF"/>
          </p15:clr>
        </p15:guide>
        <p15:guide id="5" orient="horz" pos="495">
          <p15:clr>
            <a:srgbClr val="547EBF"/>
          </p15:clr>
        </p15:guide>
        <p15:guide id="6" pos="384">
          <p15:clr>
            <a:srgbClr val="547EBF"/>
          </p15:clr>
        </p15:guide>
        <p15:guide id="7" pos="7267">
          <p15:clr>
            <a:srgbClr val="547EBF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itle">
            <a:extLst>
              <a:ext uri="{FF2B5EF4-FFF2-40B4-BE49-F238E27FC236}">
                <a16:creationId xmlns:a16="http://schemas.microsoft.com/office/drawing/2014/main" id="{BA75DCF9-2114-4543-8491-DC0390D875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8786" y="326411"/>
            <a:ext cx="11098906" cy="470856"/>
          </a:xfrm>
          <a:solidFill>
            <a:schemeClr val="bg1"/>
          </a:solidFill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7" name="3 Content Placeholder">
            <a:extLst>
              <a:ext uri="{FF2B5EF4-FFF2-40B4-BE49-F238E27FC236}">
                <a16:creationId xmlns:a16="http://schemas.microsoft.com/office/drawing/2014/main" id="{67FFA91E-2F74-4D40-9DCA-2240811B5980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68785" y="1436146"/>
            <a:ext cx="11098907" cy="1877950"/>
          </a:xfrm>
          <a:prstGeom prst="rect">
            <a:avLst/>
          </a:prstGeom>
        </p:spPr>
        <p:txBody>
          <a:bodyPr/>
          <a:lstStyle>
            <a:lvl1pPr>
              <a:defRPr sz="2448"/>
            </a:lvl1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06117405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880">
          <p15:clr>
            <a:srgbClr val="547EBF"/>
          </p15:clr>
        </p15:guide>
        <p15:guide id="2" orient="horz" pos="3923">
          <p15:clr>
            <a:srgbClr val="547EBF"/>
          </p15:clr>
        </p15:guide>
        <p15:guide id="3" orient="horz" pos="789">
          <p15:clr>
            <a:srgbClr val="547EBF"/>
          </p15:clr>
        </p15:guide>
        <p15:guide id="4" orient="horz" pos="202">
          <p15:clr>
            <a:srgbClr val="547EBF"/>
          </p15:clr>
        </p15:guide>
        <p15:guide id="5" orient="horz" pos="495">
          <p15:clr>
            <a:srgbClr val="547EBF"/>
          </p15:clr>
        </p15:guide>
        <p15:guide id="6" pos="384">
          <p15:clr>
            <a:srgbClr val="547EBF"/>
          </p15:clr>
        </p15:guide>
        <p15:guide id="7" pos="7267">
          <p15:clr>
            <a:srgbClr val="547EBF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itle">
            <a:extLst>
              <a:ext uri="{FF2B5EF4-FFF2-40B4-BE49-F238E27FC236}">
                <a16:creationId xmlns:a16="http://schemas.microsoft.com/office/drawing/2014/main" id="{0D75157F-D103-4B72-869F-2D01AFADEC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8" name="3 Content Placeholder left">
            <a:extLst>
              <a:ext uri="{FF2B5EF4-FFF2-40B4-BE49-F238E27FC236}">
                <a16:creationId xmlns:a16="http://schemas.microsoft.com/office/drawing/2014/main" id="{DA942A9C-8106-42F7-9928-B8F912CDD29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68785" y="1436145"/>
            <a:ext cx="5390758" cy="1877950"/>
          </a:xfrm>
        </p:spPr>
        <p:txBody>
          <a:bodyPr/>
          <a:lstStyle>
            <a:lvl1pPr marL="0" indent="0">
              <a:buNone/>
              <a:defRPr sz="2448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4 Content Placeholder right">
            <a:extLst>
              <a:ext uri="{FF2B5EF4-FFF2-40B4-BE49-F238E27FC236}">
                <a16:creationId xmlns:a16="http://schemas.microsoft.com/office/drawing/2014/main" id="{9405EA7B-7E1D-4443-AC76-BECBECB0EC78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376934" y="1436145"/>
            <a:ext cx="5390756" cy="1877950"/>
          </a:xfrm>
        </p:spPr>
        <p:txBody>
          <a:bodyPr/>
          <a:lstStyle>
            <a:lvl1pPr marL="0" indent="0">
              <a:buNone/>
              <a:defRPr sz="2448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79881642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0" pos="413">
          <p15:clr>
            <a:srgbClr val="547EBF"/>
          </p15:clr>
        </p15:guide>
        <p15:guide id="11" orient="horz" pos="789">
          <p15:clr>
            <a:srgbClr val="547EBF"/>
          </p15:clr>
        </p15:guide>
        <p15:guide id="12" orient="horz" pos="887">
          <p15:clr>
            <a:srgbClr val="547EBF"/>
          </p15:clr>
        </p15:guide>
        <p15:guide id="13" pos="3742">
          <p15:clr>
            <a:srgbClr val="547EBF"/>
          </p15:clr>
        </p15:guide>
        <p15:guide id="14" pos="3938">
          <p15:clr>
            <a:srgbClr val="547EBF"/>
          </p15:clr>
        </p15:guide>
        <p15:guide id="15" pos="7267">
          <p15:clr>
            <a:srgbClr val="547EBF"/>
          </p15:clr>
        </p15:guide>
        <p15:guide id="16" orient="horz" pos="495">
          <p15:clr>
            <a:srgbClr val="547EBF"/>
          </p15:clr>
        </p15:guide>
        <p15:guide id="17" orient="horz" pos="202">
          <p15:clr>
            <a:srgbClr val="547EBF"/>
          </p15:clr>
        </p15:guide>
        <p15:guide id="18" orient="horz" pos="3923">
          <p15:clr>
            <a:srgbClr val="547EBF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25170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8600" indent="0">
              <a:buNone/>
              <a:defRPr/>
            </a:lvl3pPr>
            <a:lvl4pPr marL="457200" indent="0">
              <a:buNone/>
              <a:defRPr/>
            </a:lvl4pPr>
            <a:lvl5pPr marL="685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74816850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itle">
            <a:extLst>
              <a:ext uri="{FF2B5EF4-FFF2-40B4-BE49-F238E27FC236}">
                <a16:creationId xmlns:a16="http://schemas.microsoft.com/office/drawing/2014/main" id="{BA75DCF9-2114-4543-8491-DC0390D875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8786" y="326411"/>
            <a:ext cx="11098906" cy="470856"/>
          </a:xfrm>
          <a:solidFill>
            <a:schemeClr val="bg1"/>
          </a:solidFill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7" name="3 Content Placeholder">
            <a:extLst>
              <a:ext uri="{FF2B5EF4-FFF2-40B4-BE49-F238E27FC236}">
                <a16:creationId xmlns:a16="http://schemas.microsoft.com/office/drawing/2014/main" id="{67FFA91E-2F74-4D40-9DCA-2240811B5980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68785" y="1436146"/>
            <a:ext cx="11098907" cy="1877950"/>
          </a:xfrm>
          <a:prstGeom prst="rect">
            <a:avLst/>
          </a:prstGeom>
        </p:spPr>
        <p:txBody>
          <a:bodyPr/>
          <a:lstStyle>
            <a:lvl1pPr>
              <a:defRPr sz="2448"/>
            </a:lvl1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09105215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880">
          <p15:clr>
            <a:srgbClr val="547EBF"/>
          </p15:clr>
        </p15:guide>
        <p15:guide id="2" orient="horz" pos="3923">
          <p15:clr>
            <a:srgbClr val="547EBF"/>
          </p15:clr>
        </p15:guide>
        <p15:guide id="3" orient="horz" pos="789">
          <p15:clr>
            <a:srgbClr val="547EBF"/>
          </p15:clr>
        </p15:guide>
        <p15:guide id="4" orient="horz" pos="202">
          <p15:clr>
            <a:srgbClr val="547EBF"/>
          </p15:clr>
        </p15:guide>
        <p15:guide id="5" orient="horz" pos="495">
          <p15:clr>
            <a:srgbClr val="547EBF"/>
          </p15:clr>
        </p15:guide>
        <p15:guide id="6" pos="384">
          <p15:clr>
            <a:srgbClr val="547EBF"/>
          </p15:clr>
        </p15:guide>
        <p15:guide id="7" pos="7267">
          <p15:clr>
            <a:srgbClr val="547EBF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itle">
            <a:extLst>
              <a:ext uri="{FF2B5EF4-FFF2-40B4-BE49-F238E27FC236}">
                <a16:creationId xmlns:a16="http://schemas.microsoft.com/office/drawing/2014/main" id="{0D75157F-D103-4B72-869F-2D01AFADEC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8" name="3 Content Placeholder left">
            <a:extLst>
              <a:ext uri="{FF2B5EF4-FFF2-40B4-BE49-F238E27FC236}">
                <a16:creationId xmlns:a16="http://schemas.microsoft.com/office/drawing/2014/main" id="{DA942A9C-8106-42F7-9928-B8F912CDD29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68785" y="1436145"/>
            <a:ext cx="5390758" cy="1877950"/>
          </a:xfrm>
        </p:spPr>
        <p:txBody>
          <a:bodyPr/>
          <a:lstStyle>
            <a:lvl1pPr marL="0" indent="0">
              <a:buNone/>
              <a:defRPr sz="2448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4 Content Placeholder right">
            <a:extLst>
              <a:ext uri="{FF2B5EF4-FFF2-40B4-BE49-F238E27FC236}">
                <a16:creationId xmlns:a16="http://schemas.microsoft.com/office/drawing/2014/main" id="{9405EA7B-7E1D-4443-AC76-BECBECB0EC78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376934" y="1436145"/>
            <a:ext cx="5390756" cy="1877950"/>
          </a:xfrm>
        </p:spPr>
        <p:txBody>
          <a:bodyPr/>
          <a:lstStyle>
            <a:lvl1pPr marL="0" indent="0">
              <a:buNone/>
              <a:defRPr sz="2448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35448148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0" pos="413">
          <p15:clr>
            <a:srgbClr val="547EBF"/>
          </p15:clr>
        </p15:guide>
        <p15:guide id="11" orient="horz" pos="789">
          <p15:clr>
            <a:srgbClr val="547EBF"/>
          </p15:clr>
        </p15:guide>
        <p15:guide id="12" orient="horz" pos="887">
          <p15:clr>
            <a:srgbClr val="547EBF"/>
          </p15:clr>
        </p15:guide>
        <p15:guide id="13" pos="3742">
          <p15:clr>
            <a:srgbClr val="547EBF"/>
          </p15:clr>
        </p15:guide>
        <p15:guide id="14" pos="3938">
          <p15:clr>
            <a:srgbClr val="547EBF"/>
          </p15:clr>
        </p15:guide>
        <p15:guide id="15" pos="7267">
          <p15:clr>
            <a:srgbClr val="547EBF"/>
          </p15:clr>
        </p15:guide>
        <p15:guide id="16" orient="horz" pos="495">
          <p15:clr>
            <a:srgbClr val="547EBF"/>
          </p15:clr>
        </p15:guide>
        <p15:guide id="17" orient="horz" pos="202">
          <p15:clr>
            <a:srgbClr val="547EBF"/>
          </p15:clr>
        </p15:guide>
        <p15:guide id="18" orient="horz" pos="3923">
          <p15:clr>
            <a:srgbClr val="547EBF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-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itle">
            <a:extLst>
              <a:ext uri="{FF2B5EF4-FFF2-40B4-BE49-F238E27FC236}">
                <a16:creationId xmlns:a16="http://schemas.microsoft.com/office/drawing/2014/main" id="{BA75DCF9-2114-4543-8491-DC0390D875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8786" y="326411"/>
            <a:ext cx="11098906" cy="470856"/>
          </a:xfrm>
          <a:solidFill>
            <a:schemeClr val="bg1"/>
          </a:solidFill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2 Subtitle">
            <a:extLst>
              <a:ext uri="{FF2B5EF4-FFF2-40B4-BE49-F238E27FC236}">
                <a16:creationId xmlns:a16="http://schemas.microsoft.com/office/drawing/2014/main" id="{C7C3AFAE-72AD-4B70-BB9C-37420C66D45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68785" y="802038"/>
            <a:ext cx="11098906" cy="47085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951248">
              <a:lnSpc>
                <a:spcPct val="100000"/>
              </a:lnSpc>
              <a:spcBef>
                <a:spcPts val="685"/>
              </a:spcBef>
              <a:buFontTx/>
              <a:buNone/>
              <a:defRPr sz="2040" baseline="0">
                <a:solidFill>
                  <a:schemeClr val="tx1"/>
                </a:solidFill>
              </a:defRPr>
            </a:lvl1pPr>
            <a:lvl2pPr marL="0" indent="0" algn="l" defTabSz="951248">
              <a:lnSpc>
                <a:spcPct val="100000"/>
              </a:lnSpc>
              <a:spcBef>
                <a:spcPts val="685"/>
              </a:spcBef>
              <a:buFontTx/>
              <a:buNone/>
              <a:defRPr sz="2244" baseline="0">
                <a:solidFill>
                  <a:schemeClr val="tx1"/>
                </a:solidFill>
              </a:defRPr>
            </a:lvl2pPr>
            <a:lvl3pPr marL="0" indent="0" algn="l" defTabSz="951248">
              <a:lnSpc>
                <a:spcPct val="100000"/>
              </a:lnSpc>
              <a:spcBef>
                <a:spcPts val="685"/>
              </a:spcBef>
              <a:buFontTx/>
              <a:buNone/>
              <a:defRPr sz="2244" baseline="0">
                <a:solidFill>
                  <a:schemeClr val="tx1"/>
                </a:solidFill>
              </a:defRPr>
            </a:lvl3pPr>
            <a:lvl4pPr marL="0" indent="0" algn="l" defTabSz="951248">
              <a:lnSpc>
                <a:spcPct val="100000"/>
              </a:lnSpc>
              <a:spcBef>
                <a:spcPts val="685"/>
              </a:spcBef>
              <a:buFontTx/>
              <a:buNone/>
              <a:defRPr sz="2244" baseline="0">
                <a:solidFill>
                  <a:schemeClr val="tx1"/>
                </a:solidFill>
              </a:defRPr>
            </a:lvl4pPr>
            <a:lvl5pPr marL="0" indent="0" algn="l">
              <a:lnSpc>
                <a:spcPct val="110000"/>
              </a:lnSpc>
              <a:buNone/>
              <a:defRPr sz="2244" baseline="0">
                <a:solidFill>
                  <a:schemeClr val="tx1"/>
                </a:solidFill>
              </a:defRPr>
            </a:lvl5pPr>
            <a:lvl6pPr marL="0" indent="0" algn="l" defTabSz="951248">
              <a:lnSpc>
                <a:spcPct val="100000"/>
              </a:lnSpc>
              <a:spcBef>
                <a:spcPts val="685"/>
              </a:spcBef>
              <a:buFontTx/>
              <a:buNone/>
              <a:defRPr sz="2244" baseline="0">
                <a:solidFill>
                  <a:schemeClr val="tx1"/>
                </a:solidFill>
              </a:defRPr>
            </a:lvl6pPr>
            <a:lvl7pPr marL="0" indent="0" algn="l" defTabSz="951248">
              <a:lnSpc>
                <a:spcPct val="100000"/>
              </a:lnSpc>
              <a:spcBef>
                <a:spcPts val="685"/>
              </a:spcBef>
              <a:buFontTx/>
              <a:buNone/>
              <a:defRPr sz="2244" baseline="0">
                <a:solidFill>
                  <a:schemeClr val="tx1"/>
                </a:solidFill>
              </a:defRPr>
            </a:lvl7pPr>
            <a:lvl8pPr marL="0" indent="0" algn="l" defTabSz="951248">
              <a:lnSpc>
                <a:spcPct val="100000"/>
              </a:lnSpc>
              <a:spcBef>
                <a:spcPts val="685"/>
              </a:spcBef>
              <a:buFontTx/>
              <a:buNone/>
              <a:defRPr sz="2244" baseline="0">
                <a:solidFill>
                  <a:schemeClr val="tx1"/>
                </a:solidFill>
              </a:defRPr>
            </a:lvl8pPr>
            <a:lvl9pPr marL="0" indent="0" algn="l" defTabSz="951248">
              <a:lnSpc>
                <a:spcPct val="100000"/>
              </a:lnSpc>
              <a:spcBef>
                <a:spcPts val="685"/>
              </a:spcBef>
              <a:buFontTx/>
              <a:buNone/>
              <a:defRPr sz="2244" baseline="0">
                <a:solidFill>
                  <a:schemeClr val="tx1"/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7" name="3 Content Placeholder">
            <a:extLst>
              <a:ext uri="{FF2B5EF4-FFF2-40B4-BE49-F238E27FC236}">
                <a16:creationId xmlns:a16="http://schemas.microsoft.com/office/drawing/2014/main" id="{67FFA91E-2F74-4D40-9DCA-2240811B5980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68785" y="1436146"/>
            <a:ext cx="11098907" cy="1877950"/>
          </a:xfrm>
          <a:prstGeom prst="rect">
            <a:avLst/>
          </a:prstGeom>
        </p:spPr>
        <p:txBody>
          <a:bodyPr/>
          <a:lstStyle>
            <a:lvl1pPr>
              <a:defRPr sz="2448"/>
            </a:lvl1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29296875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880">
          <p15:clr>
            <a:srgbClr val="547EBF"/>
          </p15:clr>
        </p15:guide>
        <p15:guide id="2" orient="horz" pos="3923">
          <p15:clr>
            <a:srgbClr val="547EBF"/>
          </p15:clr>
        </p15:guide>
        <p15:guide id="3" orient="horz" pos="789">
          <p15:clr>
            <a:srgbClr val="547EBF"/>
          </p15:clr>
        </p15:guide>
        <p15:guide id="4" orient="horz" pos="202">
          <p15:clr>
            <a:srgbClr val="547EBF"/>
          </p15:clr>
        </p15:guide>
        <p15:guide id="5" orient="horz" pos="495">
          <p15:clr>
            <a:srgbClr val="547EBF"/>
          </p15:clr>
        </p15:guide>
        <p15:guide id="6" pos="384">
          <p15:clr>
            <a:srgbClr val="547EBF"/>
          </p15:clr>
        </p15:guide>
        <p15:guide id="7" pos="7267">
          <p15:clr>
            <a:srgbClr val="547EBF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itle">
            <a:extLst>
              <a:ext uri="{FF2B5EF4-FFF2-40B4-BE49-F238E27FC236}">
                <a16:creationId xmlns:a16="http://schemas.microsoft.com/office/drawing/2014/main" id="{BA75DCF9-2114-4543-8491-DC0390D875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8786" y="326411"/>
            <a:ext cx="11098906" cy="470856"/>
          </a:xfrm>
          <a:solidFill>
            <a:schemeClr val="bg1"/>
          </a:solidFill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7" name="3 Content Placeholder">
            <a:extLst>
              <a:ext uri="{FF2B5EF4-FFF2-40B4-BE49-F238E27FC236}">
                <a16:creationId xmlns:a16="http://schemas.microsoft.com/office/drawing/2014/main" id="{67FFA91E-2F74-4D40-9DCA-2240811B5980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68785" y="1436146"/>
            <a:ext cx="11098907" cy="1877950"/>
          </a:xfrm>
          <a:prstGeom prst="rect">
            <a:avLst/>
          </a:prstGeom>
        </p:spPr>
        <p:txBody>
          <a:bodyPr/>
          <a:lstStyle>
            <a:lvl1pPr>
              <a:defRPr sz="2448"/>
            </a:lvl1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05894534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880">
          <p15:clr>
            <a:srgbClr val="547EBF"/>
          </p15:clr>
        </p15:guide>
        <p15:guide id="2" orient="horz" pos="3923">
          <p15:clr>
            <a:srgbClr val="547EBF"/>
          </p15:clr>
        </p15:guide>
        <p15:guide id="3" orient="horz" pos="789">
          <p15:clr>
            <a:srgbClr val="547EBF"/>
          </p15:clr>
        </p15:guide>
        <p15:guide id="4" orient="horz" pos="202">
          <p15:clr>
            <a:srgbClr val="547EBF"/>
          </p15:clr>
        </p15:guide>
        <p15:guide id="5" orient="horz" pos="495">
          <p15:clr>
            <a:srgbClr val="547EBF"/>
          </p15:clr>
        </p15:guide>
        <p15:guide id="6" pos="384">
          <p15:clr>
            <a:srgbClr val="547EBF"/>
          </p15:clr>
        </p15:guide>
        <p15:guide id="7" pos="7267">
          <p15:clr>
            <a:srgbClr val="547EBF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veloper Code Layout full pag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82D46E0-16CE-40B0-8623-F82D5D41095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auto">
          <a:xfrm>
            <a:off x="0" y="0"/>
            <a:ext cx="12436475" cy="6994525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51028" fontAlgn="base">
              <a:spcBef>
                <a:spcPct val="0"/>
              </a:spcBef>
              <a:spcAft>
                <a:spcPct val="0"/>
              </a:spcAft>
            </a:pPr>
            <a:endParaRPr lang="en-US" sz="2040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44977AB6-1D7E-4858-A2EA-BF86577C39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0"/>
            <a:ext cx="3864322" cy="476415"/>
          </a:xfrm>
          <a:gradFill flip="none" rotWithShape="1">
            <a:gsLst>
              <a:gs pos="0">
                <a:srgbClr val="000000"/>
              </a:gs>
              <a:gs pos="99000">
                <a:srgbClr val="000000"/>
              </a:gs>
              <a:gs pos="99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585216" tIns="91440" rIns="0" bIns="91440" rtlCol="0">
            <a:spAutoFit/>
          </a:bodyPr>
          <a:lstStyle>
            <a:lvl1pPr marL="0" indent="0">
              <a:buNone/>
              <a:defRPr lang="en-US" sz="2039" dirty="0">
                <a:solidFill>
                  <a:srgbClr val="FFFFFF"/>
                </a:solidFill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Click to enter title</a:t>
            </a:r>
          </a:p>
        </p:txBody>
      </p:sp>
      <p:sp>
        <p:nvSpPr>
          <p:cNvPr id="5" name="Text Placeholder 4" descr="This layout should only be used for developer code. The font used is a monospace font which is ideal for showing code.">
            <a:extLst>
              <a:ext uri="{FF2B5EF4-FFF2-40B4-BE49-F238E27FC236}">
                <a16:creationId xmlns:a16="http://schemas.microsoft.com/office/drawing/2014/main" id="{BA9F61CF-FF79-485A-A6C8-A1952EFD58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3298" y="724386"/>
            <a:ext cx="11239464" cy="523733"/>
          </a:xfrm>
        </p:spPr>
        <p:txBody>
          <a:bodyPr/>
          <a:lstStyle>
            <a:lvl1pPr marL="0" indent="0">
              <a:buNone/>
              <a:tabLst/>
              <a:defRPr sz="2448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53449" indent="0">
              <a:buNone/>
              <a:tabLst>
                <a:tab pos="351343" algn="l"/>
              </a:tabLst>
              <a:defRPr sz="2448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96241" indent="0">
              <a:buNone/>
              <a:tabLst>
                <a:tab pos="581254" algn="l"/>
              </a:tabLst>
              <a:defRPr sz="2448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30773" indent="0">
              <a:buNone/>
              <a:tabLst>
                <a:tab pos="816022" algn="l"/>
              </a:tabLst>
              <a:defRPr sz="2448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71912" indent="0">
              <a:buNone/>
              <a:tabLst>
                <a:tab pos="1049171" algn="l"/>
              </a:tabLst>
              <a:defRPr sz="2448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</p:spTree>
    <p:extLst>
      <p:ext uri="{BB962C8B-B14F-4D97-AF65-F5344CB8AC3E}">
        <p14:creationId xmlns:p14="http://schemas.microsoft.com/office/powerpoint/2010/main" val="20907407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orient="horz" pos="438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44" t="1853" r="1090"/>
          <a:stretch/>
        </p:blipFill>
        <p:spPr>
          <a:xfrm flipH="1">
            <a:off x="0" y="2"/>
            <a:ext cx="12434704" cy="6994521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 bwMode="auto">
          <a:xfrm>
            <a:off x="274638" y="2119163"/>
            <a:ext cx="6400800" cy="3664099"/>
          </a:xfrm>
          <a:prstGeom prst="rect">
            <a:avLst/>
          </a:prstGeom>
          <a:solidFill>
            <a:srgbClr val="0078D7">
              <a:alpha val="90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74702" y="2119178"/>
            <a:ext cx="6402388" cy="1828800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73050" y="3954463"/>
            <a:ext cx="6402388" cy="1828800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200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57580" y="479425"/>
            <a:ext cx="1828800" cy="391754"/>
          </a:xfrm>
          <a:prstGeom prst="rect">
            <a:avLst/>
          </a:prstGeom>
        </p:spPr>
      </p:pic>
      <p:sp>
        <p:nvSpPr>
          <p:cNvPr id="7" name="Text Placeholder 2"/>
          <p:cNvSpPr txBox="1">
            <a:spLocks/>
          </p:cNvSpPr>
          <p:nvPr userDrawn="1"/>
        </p:nvSpPr>
        <p:spPr bwMode="auto">
          <a:xfrm>
            <a:off x="278781" y="6240432"/>
            <a:ext cx="3017487" cy="548634"/>
          </a:xfrm>
          <a:prstGeom prst="rect">
            <a:avLst/>
          </a:prstGeom>
        </p:spPr>
        <p:txBody>
          <a:bodyPr vert="horz" wrap="square" lIns="146304" tIns="109728" rIns="146304" bIns="109728" rtlCol="0">
            <a:noAutofit/>
          </a:bodyPr>
          <a:lstStyle>
            <a:lvl1pPr marL="0" marR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3200" kern="1200" spc="0" baseline="0">
                <a:gradFill>
                  <a:gsLst>
                    <a:gs pos="4040">
                      <a:srgbClr val="525252"/>
                    </a:gs>
                    <a:gs pos="17000">
                      <a:srgbClr val="525252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8001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b="1"/>
              <a:t>Microsoft Services</a:t>
            </a:r>
            <a:endParaRPr lang="en-US" sz="2400"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1368165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25678"/>
            <a:ext cx="9143936" cy="1828786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1" y="3955786"/>
            <a:ext cx="7315137" cy="1828007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57580" y="6120853"/>
            <a:ext cx="1828800" cy="393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8231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25170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8600" indent="0">
              <a:buNone/>
              <a:defRPr/>
            </a:lvl3pPr>
            <a:lvl4pPr marL="457200" indent="0">
              <a:buNone/>
              <a:defRPr/>
            </a:lvl4pPr>
            <a:lvl5pPr marL="685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31337368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25170"/>
          </a:xfrm>
        </p:spPr>
        <p:txBody>
          <a:bodyPr>
            <a:spAutoFit/>
          </a:bodyPr>
          <a:lstStyle>
            <a:lvl1pPr>
              <a:defRPr sz="36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03268474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200"/>
            </a:lvl1pPr>
            <a:lvl2pPr marL="0" indent="0">
              <a:buNone/>
              <a:defRPr sz="2000"/>
            </a:lvl2pPr>
            <a:lvl3pPr marL="231775" indent="0">
              <a:buNone/>
              <a:tabLst/>
              <a:defRPr sz="2000"/>
            </a:lvl3pPr>
            <a:lvl4pPr marL="460375" indent="0">
              <a:buNone/>
              <a:defRPr/>
            </a:lvl4pPr>
            <a:lvl5pPr marL="685800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200"/>
            </a:lvl1pPr>
            <a:lvl2pPr marL="0" indent="0">
              <a:buNone/>
              <a:defRPr sz="2000"/>
            </a:lvl2pPr>
            <a:lvl3pPr marL="231775" indent="0">
              <a:buNone/>
              <a:tabLst/>
              <a:defRPr sz="2000"/>
            </a:lvl3pPr>
            <a:lvl4pPr marL="460375" indent="0">
              <a:buNone/>
              <a:defRPr/>
            </a:lvl4pPr>
            <a:lvl5pPr marL="685800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7959926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25170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8600" indent="0">
              <a:buNone/>
              <a:defRPr/>
            </a:lvl3pPr>
            <a:lvl4pPr marL="457200" indent="0">
              <a:buNone/>
              <a:defRPr/>
            </a:lvl4pPr>
            <a:lvl5pPr marL="685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43985228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49"/>
            <a:ext cx="5486399" cy="2425279"/>
          </a:xfrm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200"/>
            </a:lvl1pPr>
            <a:lvl2pPr marL="531166" indent="-233195">
              <a:defRPr sz="2400"/>
            </a:lvl2pPr>
            <a:lvl3pPr marL="699585" indent="-168419">
              <a:tabLst/>
              <a:defRPr sz="2000"/>
            </a:lvl3pPr>
            <a:lvl4pPr marL="880958" indent="-181374">
              <a:defRPr/>
            </a:lvl4pPr>
            <a:lvl5pPr marL="1049377" indent="-168419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2425279"/>
          </a:xfrm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200"/>
            </a:lvl1pPr>
            <a:lvl2pPr marL="531166" indent="-233195">
              <a:defRPr sz="2400"/>
            </a:lvl2pPr>
            <a:lvl3pPr marL="699585" indent="-168419">
              <a:tabLst/>
              <a:defRPr sz="2000"/>
            </a:lvl3pPr>
            <a:lvl4pPr marL="880958" indent="-181374">
              <a:defRPr/>
            </a:lvl4pPr>
            <a:lvl5pPr marL="1049377" indent="-168419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79946700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89335521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1209973"/>
            <a:ext cx="10056812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38" y="3954463"/>
            <a:ext cx="10058401" cy="794064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6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897602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1209973"/>
            <a:ext cx="10056812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200" b="0" kern="1200" cap="none" spc="-10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20258259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728849011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68934554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908698505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266291156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-50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1241426"/>
            <a:ext cx="5486399" cy="2012859"/>
          </a:xfrm>
        </p:spPr>
        <p:txBody>
          <a:bodyPr>
            <a:spAutoFit/>
          </a:bodyPr>
          <a:lstStyle>
            <a:lvl1pPr>
              <a:defRPr sz="660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50/50 photo layout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ltGray">
          <a:xfrm>
            <a:off x="6219825" y="0"/>
            <a:ext cx="6216650" cy="6992587"/>
          </a:xfr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600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366974557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11556723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25170"/>
          </a:xfrm>
        </p:spPr>
        <p:txBody>
          <a:bodyPr>
            <a:spAutoFit/>
          </a:bodyPr>
          <a:lstStyle>
            <a:lvl1pPr>
              <a:defRPr sz="360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29941979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25675349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50159915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32390786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212849"/>
            <a:ext cx="12436475" cy="5781676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39" tIns="46639" rIns="46639" bIns="4663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8" y="1221157"/>
            <a:ext cx="11887199" cy="1995931"/>
          </a:xfrm>
        </p:spPr>
        <p:txBody>
          <a:bodyPr/>
          <a:lstStyle>
            <a:lvl1pPr marL="0" indent="0">
              <a:buNone/>
              <a:defRPr sz="3300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29962453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8" y="6294476"/>
            <a:ext cx="11887199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5 Microsoft Corporation. All rights reserved. 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59230" y="3145040"/>
            <a:ext cx="3288506" cy="704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93980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82969643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44" t="1853" r="1090"/>
          <a:stretch/>
        </p:blipFill>
        <p:spPr>
          <a:xfrm flipH="1">
            <a:off x="18247" y="0"/>
            <a:ext cx="12434704" cy="6994521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 bwMode="auto">
          <a:xfrm>
            <a:off x="274638" y="2119163"/>
            <a:ext cx="6400800" cy="3664099"/>
          </a:xfrm>
          <a:prstGeom prst="rect">
            <a:avLst/>
          </a:prstGeom>
          <a:solidFill>
            <a:srgbClr val="0078D7">
              <a:alpha val="90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74702" y="2119178"/>
            <a:ext cx="6402388" cy="1828800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73050" y="3954463"/>
            <a:ext cx="6402388" cy="1828800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200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57580" y="479425"/>
            <a:ext cx="1828800" cy="391754"/>
          </a:xfrm>
          <a:prstGeom prst="rect">
            <a:avLst/>
          </a:prstGeom>
        </p:spPr>
      </p:pic>
      <p:sp>
        <p:nvSpPr>
          <p:cNvPr id="10" name="Text Placeholder 2"/>
          <p:cNvSpPr txBox="1">
            <a:spLocks/>
          </p:cNvSpPr>
          <p:nvPr userDrawn="1"/>
        </p:nvSpPr>
        <p:spPr bwMode="auto">
          <a:xfrm>
            <a:off x="278781" y="6240432"/>
            <a:ext cx="3017487" cy="548634"/>
          </a:xfrm>
          <a:prstGeom prst="rect">
            <a:avLst/>
          </a:prstGeom>
        </p:spPr>
        <p:txBody>
          <a:bodyPr vert="horz" wrap="square" lIns="146304" tIns="109728" rIns="146304" bIns="109728" rtlCol="0">
            <a:noAutofit/>
          </a:bodyPr>
          <a:lstStyle>
            <a:lvl1pPr marL="0" marR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3200" kern="1200" spc="0" baseline="0">
                <a:gradFill>
                  <a:gsLst>
                    <a:gs pos="4040">
                      <a:srgbClr val="525252"/>
                    </a:gs>
                    <a:gs pos="17000">
                      <a:srgbClr val="525252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8001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b="1"/>
              <a:t>Microsoft Services</a:t>
            </a:r>
            <a:endParaRPr lang="en-US" sz="2400"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1845973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3954457"/>
            <a:ext cx="6399213" cy="1830388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17165"/>
            <a:ext cx="8229535" cy="1828800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3333">
                      <a:schemeClr val="tx2"/>
                    </a:gs>
                    <a:gs pos="3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57580" y="6121924"/>
            <a:ext cx="1828800" cy="391754"/>
          </a:xfrm>
          <a:prstGeom prst="rect">
            <a:avLst/>
          </a:prstGeom>
        </p:spPr>
      </p:pic>
      <p:sp>
        <p:nvSpPr>
          <p:cNvPr id="6" name="Text Placeholder 2"/>
          <p:cNvSpPr txBox="1">
            <a:spLocks/>
          </p:cNvSpPr>
          <p:nvPr userDrawn="1"/>
        </p:nvSpPr>
        <p:spPr bwMode="auto">
          <a:xfrm>
            <a:off x="366141" y="205459"/>
            <a:ext cx="3017487" cy="548634"/>
          </a:xfrm>
          <a:prstGeom prst="rect">
            <a:avLst/>
          </a:prstGeom>
        </p:spPr>
        <p:txBody>
          <a:bodyPr vert="horz" wrap="square" lIns="146304" tIns="109728" rIns="146304" bIns="109728" rtlCol="0">
            <a:noAutofit/>
          </a:bodyPr>
          <a:lstStyle>
            <a:lvl1pPr marL="0" marR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3200" kern="1200" spc="0" baseline="0">
                <a:gradFill>
                  <a:gsLst>
                    <a:gs pos="4040">
                      <a:srgbClr val="525252"/>
                    </a:gs>
                    <a:gs pos="17000">
                      <a:srgbClr val="525252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8001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b="1"/>
              <a:t>Microsoft Services</a:t>
            </a:r>
            <a:endParaRPr lang="en-US" sz="2400"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6919604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25170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8600" indent="0">
              <a:buNone/>
              <a:defRPr/>
            </a:lvl3pPr>
            <a:lvl4pPr marL="457200" indent="0">
              <a:buNone/>
              <a:defRPr/>
            </a:lvl4pPr>
            <a:lvl5pPr marL="685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21297129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25170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8600" indent="0">
              <a:buNone/>
              <a:defRPr/>
            </a:lvl3pPr>
            <a:lvl4pPr marL="457200" indent="0">
              <a:buNone/>
              <a:defRPr/>
            </a:lvl4pPr>
            <a:lvl5pPr marL="685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4095379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25170"/>
          </a:xfrm>
        </p:spPr>
        <p:txBody>
          <a:bodyPr>
            <a:spAutoFit/>
          </a:bodyPr>
          <a:lstStyle>
            <a:lvl1pPr>
              <a:defRPr sz="36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53196831"/>
      </p:ext>
    </p:extLst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25170"/>
          </a:xfrm>
        </p:spPr>
        <p:txBody>
          <a:bodyPr>
            <a:spAutoFit/>
          </a:bodyPr>
          <a:lstStyle>
            <a:lvl1pPr>
              <a:defRPr sz="360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48941952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25170"/>
          </a:xfrm>
        </p:spPr>
        <p:txBody>
          <a:bodyPr>
            <a:spAutoFit/>
          </a:bodyPr>
          <a:lstStyle>
            <a:lvl1pPr>
              <a:defRPr sz="36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6493346"/>
      </p:ext>
    </p:extLst>
  </p:cSld>
  <p:clrMapOvr>
    <a:masterClrMapping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49"/>
            <a:ext cx="5486399" cy="2468368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60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2000"/>
            </a:lvl2pPr>
            <a:lvl3pPr marL="231775" indent="0">
              <a:buNone/>
              <a:tabLst/>
              <a:defRPr sz="2000"/>
            </a:lvl3pPr>
            <a:lvl4pPr marL="460375" indent="0">
              <a:buNone/>
              <a:defRPr/>
            </a:lvl4pPr>
            <a:lvl5pPr marL="68580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2468368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60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2000"/>
            </a:lvl2pPr>
            <a:lvl3pPr marL="231775" indent="0">
              <a:buNone/>
              <a:tabLst/>
              <a:defRPr sz="2000"/>
            </a:lvl3pPr>
            <a:lvl4pPr marL="460375" indent="0">
              <a:buNone/>
              <a:defRPr/>
            </a:lvl4pPr>
            <a:lvl5pPr marL="68580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39017355"/>
      </p:ext>
    </p:extLst>
  </p:cSld>
  <p:clrMapOvr>
    <a:masterClrMapping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49"/>
            <a:ext cx="5486399" cy="2468368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600"/>
            </a:lvl1pPr>
            <a:lvl2pPr marL="0" indent="0">
              <a:buNone/>
              <a:defRPr sz="2000"/>
            </a:lvl2pPr>
            <a:lvl3pPr marL="231775" indent="0">
              <a:buNone/>
              <a:tabLst/>
              <a:defRPr sz="2000"/>
            </a:lvl3pPr>
            <a:lvl4pPr marL="460375" indent="0">
              <a:buNone/>
              <a:defRPr/>
            </a:lvl4pPr>
            <a:lvl5pPr marL="68580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2468368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600"/>
            </a:lvl1pPr>
            <a:lvl2pPr marL="0" indent="0">
              <a:buNone/>
              <a:defRPr sz="2000"/>
            </a:lvl2pPr>
            <a:lvl3pPr marL="231775" indent="0">
              <a:buNone/>
              <a:tabLst/>
              <a:defRPr sz="2000"/>
            </a:lvl3pPr>
            <a:lvl4pPr marL="460375" indent="0">
              <a:buNone/>
              <a:defRPr/>
            </a:lvl4pPr>
            <a:lvl5pPr marL="68580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96858837"/>
      </p:ext>
    </p:extLst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49"/>
            <a:ext cx="5486399" cy="2425279"/>
          </a:xfrm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2"/>
              </a:buClr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31166" indent="-233195">
              <a:defRPr sz="2400"/>
            </a:lvl2pPr>
            <a:lvl3pPr marL="699585" indent="-168419">
              <a:tabLst/>
              <a:defRPr sz="2000"/>
            </a:lvl3pPr>
            <a:lvl4pPr marL="880958" indent="-181374">
              <a:defRPr/>
            </a:lvl4pPr>
            <a:lvl5pPr marL="1049377" indent="-168419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2425279"/>
          </a:xfrm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2"/>
              </a:buClr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31166" indent="-233195">
              <a:defRPr sz="2400"/>
            </a:lvl2pPr>
            <a:lvl3pPr marL="699585" indent="-168419">
              <a:tabLst/>
              <a:defRPr sz="2000"/>
            </a:lvl3pPr>
            <a:lvl4pPr marL="880958" indent="-181374">
              <a:defRPr/>
            </a:lvl4pPr>
            <a:lvl5pPr marL="1049377" indent="-168419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90956690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49"/>
            <a:ext cx="5486399" cy="2425279"/>
          </a:xfrm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200"/>
            </a:lvl1pPr>
            <a:lvl2pPr marL="531166" indent="-233195">
              <a:defRPr sz="2400"/>
            </a:lvl2pPr>
            <a:lvl3pPr marL="699585" indent="-168419">
              <a:tabLst/>
              <a:defRPr sz="2000"/>
            </a:lvl3pPr>
            <a:lvl4pPr marL="880958" indent="-181374">
              <a:defRPr/>
            </a:lvl4pPr>
            <a:lvl5pPr marL="1049377" indent="-168419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2425279"/>
          </a:xfrm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200"/>
            </a:lvl1pPr>
            <a:lvl2pPr marL="531166" indent="-233195">
              <a:defRPr sz="2400"/>
            </a:lvl2pPr>
            <a:lvl3pPr marL="699585" indent="-168419">
              <a:tabLst/>
              <a:defRPr sz="2000"/>
            </a:lvl3pPr>
            <a:lvl4pPr marL="880958" indent="-181374">
              <a:defRPr/>
            </a:lvl4pPr>
            <a:lvl5pPr marL="1049377" indent="-168419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16326664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49844354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1209973"/>
            <a:ext cx="10056812" cy="2751698"/>
          </a:xfrm>
          <a:noFill/>
        </p:spPr>
        <p:txBody>
          <a:bodyPr tIns="91440" bIns="91440" anchor="t" anchorCtr="0"/>
          <a:lstStyle>
            <a:lvl1pPr>
              <a:defRPr sz="7200" spc="-10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38" y="3954463"/>
            <a:ext cx="10058401" cy="1829593"/>
          </a:xfrm>
          <a:noFill/>
        </p:spPr>
        <p:txBody>
          <a:bodyPr lIns="182880" tIns="146304" rIns="182880" bIns="146304">
            <a:noAutofit/>
          </a:bodyPr>
          <a:lstStyle>
            <a:lvl1pPr marL="0" indent="0">
              <a:spcBef>
                <a:spcPts val="0"/>
              </a:spcBef>
              <a:buNone/>
              <a:defRPr sz="36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291512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1209973"/>
            <a:ext cx="10056812" cy="2751698"/>
          </a:xfrm>
          <a:noFill/>
        </p:spPr>
        <p:txBody>
          <a:bodyPr tIns="91440" bIns="91440" anchor="t" anchorCtr="0"/>
          <a:lstStyle>
            <a:lvl1pPr>
              <a:defRPr lang="en-US" sz="7200" b="0" kern="1200" cap="none" spc="-10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123014075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411538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49"/>
            <a:ext cx="5486399" cy="2468368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60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2000"/>
            </a:lvl2pPr>
            <a:lvl3pPr marL="231775" indent="0">
              <a:buNone/>
              <a:tabLst/>
              <a:defRPr sz="2000"/>
            </a:lvl3pPr>
            <a:lvl4pPr marL="460375" indent="0">
              <a:buNone/>
              <a:defRPr/>
            </a:lvl4pPr>
            <a:lvl5pPr marL="68580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2468368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60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2000"/>
            </a:lvl2pPr>
            <a:lvl3pPr marL="231775" indent="0">
              <a:buNone/>
              <a:tabLst/>
              <a:defRPr sz="2000"/>
            </a:lvl3pPr>
            <a:lvl4pPr marL="460375" indent="0">
              <a:buNone/>
              <a:defRPr/>
            </a:lvl4pPr>
            <a:lvl5pPr marL="68580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68534032"/>
      </p:ext>
    </p:extLst>
  </p:cSld>
  <p:clrMapOvr>
    <a:masterClrMapping/>
  </p:clrMapOvr>
  <p:transition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1178780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074256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11720812"/>
      </p:ext>
    </p:extLst>
  </p:cSld>
  <p:clrMapOvr>
    <a:masterClrMapping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242072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583635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599498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212849"/>
            <a:ext cx="12436475" cy="5781676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39" tIns="46639" rIns="46639" bIns="4663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8" y="1221157"/>
            <a:ext cx="11887199" cy="1995931"/>
          </a:xfrm>
        </p:spPr>
        <p:txBody>
          <a:bodyPr/>
          <a:lstStyle>
            <a:lvl1pPr marL="0" indent="0">
              <a:buNone/>
              <a:defRPr sz="3300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91202193"/>
      </p:ext>
    </p:extLst>
  </p:cSld>
  <p:clrMapOvr>
    <a:masterClrMapping/>
  </p:clrMapOvr>
  <p:transition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8" y="6292888"/>
            <a:ext cx="11856403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5 Microsoft Corporation. All rights reserved. 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59230" y="3145040"/>
            <a:ext cx="3288506" cy="7044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2752118"/>
      </p:ext>
    </p:extLst>
  </p:cSld>
  <p:clrMapOvr>
    <a:masterClrMapping/>
  </p:clrMapOvr>
  <p:transition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661593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0-50 Right Photo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1241426"/>
            <a:ext cx="5486399" cy="2012859"/>
          </a:xfrm>
        </p:spPr>
        <p:txBody>
          <a:bodyPr>
            <a:spAutoFit/>
          </a:bodyPr>
          <a:lstStyle>
            <a:lvl1pPr>
              <a:defRPr sz="660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50/50 photo layout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ltGray">
          <a:xfrm>
            <a:off x="6219825" y="0"/>
            <a:ext cx="6216650" cy="6992587"/>
          </a:xfr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600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647654507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49"/>
            <a:ext cx="5486399" cy="2468368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600"/>
            </a:lvl1pPr>
            <a:lvl2pPr marL="0" indent="0">
              <a:buNone/>
              <a:defRPr sz="2000"/>
            </a:lvl2pPr>
            <a:lvl3pPr marL="231775" indent="0">
              <a:buNone/>
              <a:tabLst/>
              <a:defRPr sz="2000"/>
            </a:lvl3pPr>
            <a:lvl4pPr marL="460375" indent="0">
              <a:buNone/>
              <a:defRPr/>
            </a:lvl4pPr>
            <a:lvl5pPr marL="68580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2468368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600"/>
            </a:lvl1pPr>
            <a:lvl2pPr marL="0" indent="0">
              <a:buNone/>
              <a:defRPr sz="2000"/>
            </a:lvl2pPr>
            <a:lvl3pPr marL="231775" indent="0">
              <a:buNone/>
              <a:tabLst/>
              <a:defRPr sz="2000"/>
            </a:lvl3pPr>
            <a:lvl4pPr marL="460375" indent="0">
              <a:buNone/>
              <a:defRPr/>
            </a:lvl4pPr>
            <a:lvl5pPr marL="68580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18839873"/>
      </p:ext>
    </p:extLst>
  </p:cSld>
  <p:clrMapOvr>
    <a:masterClrMapping/>
  </p:clrMapOvr>
  <p:transition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슬라이드 제목1">
            <a:extLst>
              <a:ext uri="{FF2B5EF4-FFF2-40B4-BE49-F238E27FC236}">
                <a16:creationId xmlns:a16="http://schemas.microsoft.com/office/drawing/2014/main" id="{542530BD-539A-4761-B9CC-4BD3511C97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7620" y="472229"/>
            <a:ext cx="11361238" cy="38420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kumimoji="1" lang="ko-KR" altLang="en-US" sz="2448" b="1" i="0" u="none" strike="noStrike" kern="0" cap="none" spc="-68" normalizeH="0" baseline="0" dirty="0">
                <a:ln>
                  <a:solidFill>
                    <a:srgbClr val="0078D4"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</a:lstStyle>
          <a:p>
            <a:pPr marL="0" marR="0" lvl="0" indent="0" defTabSz="1243431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r>
              <a:rPr lang="ko-KR" altLang="en-US"/>
              <a:t>마스터 제목 스타일 편집</a:t>
            </a:r>
          </a:p>
        </p:txBody>
      </p:sp>
      <p:cxnSp>
        <p:nvCxnSpPr>
          <p:cNvPr id="2" name="직선 연결선 47">
            <a:extLst>
              <a:ext uri="{FF2B5EF4-FFF2-40B4-BE49-F238E27FC236}">
                <a16:creationId xmlns:a16="http://schemas.microsoft.com/office/drawing/2014/main" id="{A2A29842-A3F0-4EED-B17C-49F2F8204F35}"/>
              </a:ext>
            </a:extLst>
          </p:cNvPr>
          <p:cNvCxnSpPr>
            <a:cxnSpLocks/>
          </p:cNvCxnSpPr>
          <p:nvPr userDrawn="1"/>
        </p:nvCxnSpPr>
        <p:spPr>
          <a:xfrm flipH="1">
            <a:off x="538588" y="927198"/>
            <a:ext cx="11359300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그룹 26">
            <a:extLst>
              <a:ext uri="{FF2B5EF4-FFF2-40B4-BE49-F238E27FC236}">
                <a16:creationId xmlns:a16="http://schemas.microsoft.com/office/drawing/2014/main" id="{84E08ABF-0E46-4523-8B52-6911E6A85098}"/>
              </a:ext>
            </a:extLst>
          </p:cNvPr>
          <p:cNvGrpSpPr/>
          <p:nvPr userDrawn="1"/>
        </p:nvGrpSpPr>
        <p:grpSpPr>
          <a:xfrm>
            <a:off x="0" y="0"/>
            <a:ext cx="12436475" cy="48956"/>
            <a:chOff x="0" y="0"/>
            <a:chExt cx="9906000" cy="66675"/>
          </a:xfrm>
        </p:grpSpPr>
        <p:sp>
          <p:nvSpPr>
            <p:cNvPr id="7" name="직사각형 30">
              <a:extLst>
                <a:ext uri="{FF2B5EF4-FFF2-40B4-BE49-F238E27FC236}">
                  <a16:creationId xmlns:a16="http://schemas.microsoft.com/office/drawing/2014/main" id="{5E1B6F39-0BB4-44EB-9D85-A0A6B3606EC9}"/>
                </a:ext>
              </a:extLst>
            </p:cNvPr>
            <p:cNvSpPr/>
            <p:nvPr userDrawn="1"/>
          </p:nvSpPr>
          <p:spPr>
            <a:xfrm>
              <a:off x="0" y="0"/>
              <a:ext cx="907256" cy="66675"/>
            </a:xfrm>
            <a:prstGeom prst="rect">
              <a:avLst/>
            </a:prstGeom>
            <a:solidFill>
              <a:srgbClr val="EA002C"/>
            </a:solidFill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lIns="0" tIns="0" rIns="0" bIns="0" anchor="ctr"/>
            <a:lstStyle/>
            <a:p>
              <a:pPr lvl="0" indent="-246096" algn="ctr" defTabSz="1542050" fontAlgn="auto">
                <a:spcBef>
                  <a:spcPts val="0"/>
                </a:spcBef>
                <a:spcAft>
                  <a:spcPts val="0"/>
                </a:spcAft>
                <a:buClr>
                  <a:prstClr val="black">
                    <a:lumMod val="65000"/>
                    <a:lumOff val="35000"/>
                  </a:prstClr>
                </a:buClr>
                <a:buSzPct val="100000"/>
                <a:tabLst>
                  <a:tab pos="3661214" algn="l"/>
                  <a:tab pos="7680777" algn="l"/>
                </a:tabLst>
              </a:pPr>
              <a:endParaRPr kumimoji="0" lang="ko-KR" altLang="en-US" sz="1428" spc="-28" baseline="0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8" name="직사각형 36">
              <a:extLst>
                <a:ext uri="{FF2B5EF4-FFF2-40B4-BE49-F238E27FC236}">
                  <a16:creationId xmlns:a16="http://schemas.microsoft.com/office/drawing/2014/main" id="{91276571-B929-478D-AA7D-2A66D14CB88A}"/>
                </a:ext>
              </a:extLst>
            </p:cNvPr>
            <p:cNvSpPr/>
            <p:nvPr userDrawn="1"/>
          </p:nvSpPr>
          <p:spPr>
            <a:xfrm>
              <a:off x="2278856" y="0"/>
              <a:ext cx="7627144" cy="66675"/>
            </a:xfrm>
            <a:prstGeom prst="rect">
              <a:avLst/>
            </a:prstGeom>
            <a:solidFill>
              <a:srgbClr val="DDDDD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latinLnBrk="0"/>
              <a:endParaRPr lang="ko-KR" altLang="en-US" sz="2448" spc="-28" baseline="0">
                <a:solidFill>
                  <a:prstClr val="white"/>
                </a:solidFill>
              </a:endParaRPr>
            </a:p>
          </p:txBody>
        </p:sp>
        <p:sp>
          <p:nvSpPr>
            <p:cNvPr id="9" name="자유형 23">
              <a:extLst>
                <a:ext uri="{FF2B5EF4-FFF2-40B4-BE49-F238E27FC236}">
                  <a16:creationId xmlns:a16="http://schemas.microsoft.com/office/drawing/2014/main" id="{7B627D54-A8C9-4636-A66D-FCC38AF9966A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21949" y="0"/>
              <a:ext cx="1548107" cy="66675"/>
            </a:xfrm>
            <a:custGeom>
              <a:avLst/>
              <a:gdLst>
                <a:gd name="connsiteX0" fmla="*/ 6738247 w 6738296"/>
                <a:gd name="connsiteY0" fmla="*/ 0 h 297718"/>
                <a:gd name="connsiteX1" fmla="*/ 6327086 w 6738296"/>
                <a:gd name="connsiteY1" fmla="*/ 0 h 297718"/>
                <a:gd name="connsiteX2" fmla="*/ 411210 w 6738296"/>
                <a:gd name="connsiteY2" fmla="*/ 0 h 297718"/>
                <a:gd name="connsiteX3" fmla="*/ 49 w 6738296"/>
                <a:gd name="connsiteY3" fmla="*/ 0 h 297718"/>
                <a:gd name="connsiteX4" fmla="*/ 281036 w 6738296"/>
                <a:gd name="connsiteY4" fmla="*/ 297718 h 297718"/>
                <a:gd name="connsiteX5" fmla="*/ 3369148 w 6738296"/>
                <a:gd name="connsiteY5" fmla="*/ 295285 h 297718"/>
                <a:gd name="connsiteX6" fmla="*/ 6457260 w 6738296"/>
                <a:gd name="connsiteY6" fmla="*/ 297718 h 297718"/>
                <a:gd name="connsiteX7" fmla="*/ 6738247 w 6738296"/>
                <a:gd name="connsiteY7" fmla="*/ 0 h 2977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738296" h="297718">
                  <a:moveTo>
                    <a:pt x="6738247" y="0"/>
                  </a:moveTo>
                  <a:lnTo>
                    <a:pt x="6327086" y="0"/>
                  </a:lnTo>
                  <a:lnTo>
                    <a:pt x="411210" y="0"/>
                  </a:lnTo>
                  <a:lnTo>
                    <a:pt x="49" y="0"/>
                  </a:lnTo>
                  <a:cubicBezTo>
                    <a:pt x="-3126" y="165914"/>
                    <a:pt x="146098" y="293729"/>
                    <a:pt x="281036" y="297718"/>
                  </a:cubicBezTo>
                  <a:lnTo>
                    <a:pt x="3369148" y="295285"/>
                  </a:lnTo>
                  <a:lnTo>
                    <a:pt x="6457260" y="297718"/>
                  </a:lnTo>
                  <a:cubicBezTo>
                    <a:pt x="6592198" y="293729"/>
                    <a:pt x="6741422" y="165914"/>
                    <a:pt x="6738247" y="0"/>
                  </a:cubicBezTo>
                  <a:close/>
                </a:path>
              </a:pathLst>
            </a:custGeom>
            <a:solidFill>
              <a:srgbClr val="BFBFB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latinLnBrk="0"/>
              <a:endParaRPr lang="ko-KR" altLang="en-US" sz="2448" spc="-28" baseline="0">
                <a:solidFill>
                  <a:prstClr val="white"/>
                </a:solidFill>
              </a:endParaRPr>
            </a:p>
          </p:txBody>
        </p:sp>
      </p:grpSp>
      <p:sp>
        <p:nvSpPr>
          <p:cNvPr id="5" name="슬라이드 번호 개체 틀 5">
            <a:extLst>
              <a:ext uri="{FF2B5EF4-FFF2-40B4-BE49-F238E27FC236}">
                <a16:creationId xmlns:a16="http://schemas.microsoft.com/office/drawing/2014/main" id="{BF4C3E89-6967-4522-9931-FE6A525AA3F8}"/>
              </a:ext>
            </a:extLst>
          </p:cNvPr>
          <p:cNvSpPr txBox="1">
            <a:spLocks/>
          </p:cNvSpPr>
          <p:nvPr userDrawn="1"/>
        </p:nvSpPr>
        <p:spPr>
          <a:xfrm>
            <a:off x="6138116" y="6688816"/>
            <a:ext cx="160244" cy="14943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ko-KR"/>
            </a:defPPr>
            <a:lvl1pPr algn="ctr" defTabSz="685800" fontAlgn="base" latinLnBrk="1">
              <a:spcBef>
                <a:spcPct val="0"/>
              </a:spcBef>
              <a:spcAft>
                <a:spcPct val="0"/>
              </a:spcAft>
              <a:tabLst>
                <a:tab pos="447675" algn="l"/>
              </a:tabLst>
              <a:defRPr kumimoji="1" sz="700" b="1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defRPr>
            </a:lvl1pPr>
            <a:lvl2pPr marL="457200" defTabSz="685800" fontAlgn="base" latinLnBrk="1">
              <a:spcBef>
                <a:spcPct val="0"/>
              </a:spcBef>
              <a:spcAft>
                <a:spcPct val="0"/>
              </a:spcAft>
              <a:defRPr kumimoji="1" sz="1350">
                <a:latin typeface="굴림" charset="-127"/>
                <a:ea typeface="굴림" charset="-127"/>
              </a:defRPr>
            </a:lvl2pPr>
            <a:lvl3pPr marL="914400" defTabSz="685800" fontAlgn="base" latinLnBrk="1">
              <a:spcBef>
                <a:spcPct val="0"/>
              </a:spcBef>
              <a:spcAft>
                <a:spcPct val="0"/>
              </a:spcAft>
              <a:defRPr kumimoji="1" sz="1350">
                <a:latin typeface="굴림" charset="-127"/>
                <a:ea typeface="굴림" charset="-127"/>
              </a:defRPr>
            </a:lvl3pPr>
            <a:lvl4pPr marL="1371600" defTabSz="685800" fontAlgn="base" latinLnBrk="1">
              <a:spcBef>
                <a:spcPct val="0"/>
              </a:spcBef>
              <a:spcAft>
                <a:spcPct val="0"/>
              </a:spcAft>
              <a:defRPr kumimoji="1" sz="1350">
                <a:latin typeface="굴림" charset="-127"/>
                <a:ea typeface="굴림" charset="-127"/>
              </a:defRPr>
            </a:lvl4pPr>
            <a:lvl5pPr marL="1828800" defTabSz="685800" fontAlgn="base" latinLnBrk="1">
              <a:spcBef>
                <a:spcPct val="0"/>
              </a:spcBef>
              <a:spcAft>
                <a:spcPct val="0"/>
              </a:spcAft>
              <a:defRPr kumimoji="1" sz="1350">
                <a:latin typeface="굴림" charset="-127"/>
                <a:ea typeface="굴림" charset="-127"/>
              </a:defRPr>
            </a:lvl5pPr>
            <a:lvl6pPr marL="2286000" defTabSz="914400" latinLnBrk="1">
              <a:defRPr kumimoji="1" sz="1350">
                <a:latin typeface="굴림" charset="-127"/>
                <a:ea typeface="굴림" charset="-127"/>
              </a:defRPr>
            </a:lvl6pPr>
            <a:lvl7pPr marL="2743200" defTabSz="914400" latinLnBrk="1">
              <a:defRPr kumimoji="1" sz="1350">
                <a:latin typeface="굴림" charset="-127"/>
                <a:ea typeface="굴림" charset="-127"/>
              </a:defRPr>
            </a:lvl7pPr>
            <a:lvl8pPr marL="3200400" defTabSz="914400" latinLnBrk="1">
              <a:defRPr kumimoji="1" sz="1350">
                <a:latin typeface="굴림" charset="-127"/>
                <a:ea typeface="굴림" charset="-127"/>
              </a:defRPr>
            </a:lvl8pPr>
            <a:lvl9pPr marL="3657600" defTabSz="914400" latinLnBrk="1">
              <a:defRPr kumimoji="1" sz="1350">
                <a:latin typeface="굴림" charset="-127"/>
                <a:ea typeface="굴림" charset="-127"/>
              </a:defRPr>
            </a:lvl9pPr>
          </a:lstStyle>
          <a:p>
            <a:pPr lvl="0" algn="ctr"/>
            <a:fld id="{567E9EC0-8CF6-4578-9DC6-EEFE9EDFA1F8}" type="slidenum">
              <a:rPr lang="ko-KR" altLang="en-US" sz="952" smtClean="0"/>
              <a:pPr lvl="0" algn="ctr"/>
              <a:t>‹#›</a:t>
            </a:fld>
            <a:endParaRPr lang="ko-KR" altLang="en-US" sz="952"/>
          </a:p>
        </p:txBody>
      </p:sp>
      <p:pic>
        <p:nvPicPr>
          <p:cNvPr id="11" name="그래픽 23">
            <a:extLst>
              <a:ext uri="{FF2B5EF4-FFF2-40B4-BE49-F238E27FC236}">
                <a16:creationId xmlns:a16="http://schemas.microsoft.com/office/drawing/2014/main" id="{6F74AC88-60A1-468E-8F18-C5578036FA5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071725" y="6737487"/>
            <a:ext cx="827133" cy="177218"/>
          </a:xfrm>
          <a:prstGeom prst="rect">
            <a:avLst/>
          </a:prstGeom>
        </p:spPr>
      </p:pic>
      <p:pic>
        <p:nvPicPr>
          <p:cNvPr id="4" name="Picture 2" descr="Portfolio - 텍스트리">
            <a:extLst>
              <a:ext uri="{FF2B5EF4-FFF2-40B4-BE49-F238E27FC236}">
                <a16:creationId xmlns:a16="http://schemas.microsoft.com/office/drawing/2014/main" id="{084D1CCC-3EA1-425A-9F01-AD134581478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3380" y="6255727"/>
            <a:ext cx="1128958" cy="11068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461744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92">
          <p15:clr>
            <a:srgbClr val="FBAE40"/>
          </p15:clr>
        </p15:guide>
        <p15:guide id="2" orient="horz" pos="1620">
          <p15:clr>
            <a:srgbClr val="FBAE40"/>
          </p15:clr>
        </p15:guide>
        <p15:guide id="3" orient="horz" pos="708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본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슬라이드 제목1">
            <a:extLst>
              <a:ext uri="{FF2B5EF4-FFF2-40B4-BE49-F238E27FC236}">
                <a16:creationId xmlns:a16="http://schemas.microsoft.com/office/drawing/2014/main" id="{542530BD-539A-4761-B9CC-4BD3511C97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7620" y="473067"/>
            <a:ext cx="11361238" cy="38420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kumimoji="1" lang="ko-KR" altLang="en-US" sz="2448" b="1" i="0" u="none" strike="noStrike" kern="0" cap="none" spc="-68" normalizeH="0" baseline="0" dirty="0">
                <a:ln>
                  <a:solidFill>
                    <a:srgbClr val="0078D4"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</a:lstStyle>
          <a:p>
            <a:pPr marL="0" marR="0" lvl="0" indent="0" defTabSz="1243431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r>
              <a:rPr lang="ko-KR" altLang="en-US"/>
              <a:t>마스터 제목 스타일 편집</a:t>
            </a:r>
          </a:p>
        </p:txBody>
      </p:sp>
      <p:cxnSp>
        <p:nvCxnSpPr>
          <p:cNvPr id="2" name="직선 연결선 16">
            <a:extLst>
              <a:ext uri="{FF2B5EF4-FFF2-40B4-BE49-F238E27FC236}">
                <a16:creationId xmlns:a16="http://schemas.microsoft.com/office/drawing/2014/main" id="{D8A2BD05-C6F7-489F-A35C-EBC994D2C61E}"/>
              </a:ext>
            </a:extLst>
          </p:cNvPr>
          <p:cNvCxnSpPr>
            <a:cxnSpLocks/>
          </p:cNvCxnSpPr>
          <p:nvPr userDrawn="1"/>
        </p:nvCxnSpPr>
        <p:spPr>
          <a:xfrm flipH="1">
            <a:off x="538588" y="927198"/>
            <a:ext cx="11359300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85703807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48">
            <a:extLst>
              <a:ext uri="{FF2B5EF4-FFF2-40B4-BE49-F238E27FC236}">
                <a16:creationId xmlns:a16="http://schemas.microsoft.com/office/drawing/2014/main" id="{08B70E76-8150-41B4-8BCC-1494D04A8FAD}"/>
              </a:ext>
            </a:extLst>
          </p:cNvPr>
          <p:cNvPicPr preferRelativeResize="0">
            <a:picLocks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846882" y="1756403"/>
            <a:ext cx="3589593" cy="5238122"/>
          </a:xfrm>
          <a:prstGeom prst="rect">
            <a:avLst/>
          </a:prstGeom>
        </p:spPr>
      </p:pic>
      <p:pic>
        <p:nvPicPr>
          <p:cNvPr id="5" name="그림 11">
            <a:extLst>
              <a:ext uri="{FF2B5EF4-FFF2-40B4-BE49-F238E27FC236}">
                <a16:creationId xmlns:a16="http://schemas.microsoft.com/office/drawing/2014/main" id="{72176241-AC17-4AF6-B596-187A6494349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2"/>
            <a:ext cx="12436475" cy="2844441"/>
          </a:xfrm>
          <a:prstGeom prst="rect">
            <a:avLst/>
          </a:prstGeom>
        </p:spPr>
      </p:pic>
      <p:sp>
        <p:nvSpPr>
          <p:cNvPr id="7" name="직사각형 14">
            <a:extLst>
              <a:ext uri="{FF2B5EF4-FFF2-40B4-BE49-F238E27FC236}">
                <a16:creationId xmlns:a16="http://schemas.microsoft.com/office/drawing/2014/main" id="{70F594BC-1DA1-4DDF-B050-CF512887AE6E}"/>
              </a:ext>
            </a:extLst>
          </p:cNvPr>
          <p:cNvSpPr/>
          <p:nvPr userDrawn="1"/>
        </p:nvSpPr>
        <p:spPr>
          <a:xfrm>
            <a:off x="0" y="1"/>
            <a:ext cx="12436475" cy="2758250"/>
          </a:xfrm>
          <a:prstGeom prst="rect">
            <a:avLst/>
          </a:prstGeom>
          <a:solidFill>
            <a:schemeClr val="tx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4347" tIns="62174" rIns="124347" bIns="6217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1904" spc="-68">
              <a:ln>
                <a:solidFill>
                  <a:schemeClr val="bg1">
                    <a:lumMod val="75000"/>
                    <a:alpha val="0"/>
                  </a:schemeClr>
                </a:solidFill>
              </a:ln>
              <a:solidFill>
                <a:schemeClr val="bg1"/>
              </a:solidFill>
              <a:latin typeface="KoPubDotum Bold" panose="02020603020101020101" pitchFamily="18" charset="-127"/>
              <a:ea typeface="KoPubDotum Bold" panose="02020603020101020101" pitchFamily="18" charset="-127"/>
            </a:endParaRPr>
          </a:p>
        </p:txBody>
      </p:sp>
      <p:pic>
        <p:nvPicPr>
          <p:cNvPr id="9" name="그래픽 38">
            <a:extLst>
              <a:ext uri="{FF2B5EF4-FFF2-40B4-BE49-F238E27FC236}">
                <a16:creationId xmlns:a16="http://schemas.microsoft.com/office/drawing/2014/main" id="{99AF80C7-8125-48B0-AC43-E5E08993011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37620" y="597449"/>
            <a:ext cx="1393798" cy="298629"/>
          </a:xfrm>
          <a:prstGeom prst="rect">
            <a:avLst/>
          </a:prstGeom>
        </p:spPr>
      </p:pic>
      <p:sp>
        <p:nvSpPr>
          <p:cNvPr id="11" name="직사각형 1">
            <a:extLst>
              <a:ext uri="{FF2B5EF4-FFF2-40B4-BE49-F238E27FC236}">
                <a16:creationId xmlns:a16="http://schemas.microsoft.com/office/drawing/2014/main" id="{80F23944-F8AB-4E33-872B-E5AEF2A8A1D4}"/>
              </a:ext>
            </a:extLst>
          </p:cNvPr>
          <p:cNvSpPr/>
          <p:nvPr userDrawn="1"/>
        </p:nvSpPr>
        <p:spPr>
          <a:xfrm>
            <a:off x="1798107" y="2570587"/>
            <a:ext cx="10638368" cy="994777"/>
          </a:xfrm>
          <a:prstGeom prst="rect">
            <a:avLst/>
          </a:prstGeom>
          <a:solidFill>
            <a:srgbClr val="DDDD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4347" tIns="62174" rIns="124347" bIns="6217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1904" spc="-68">
              <a:ln>
                <a:solidFill>
                  <a:schemeClr val="bg1">
                    <a:lumMod val="75000"/>
                    <a:alpha val="0"/>
                  </a:schemeClr>
                </a:solidFill>
              </a:ln>
              <a:solidFill>
                <a:schemeClr val="bg1"/>
              </a:solidFill>
              <a:latin typeface="KoPubDotum Bold" panose="02020603020101020101" pitchFamily="18" charset="-127"/>
              <a:ea typeface="KoPubDotum Bold" panose="02020603020101020101" pitchFamily="18" charset="-127"/>
            </a:endParaRPr>
          </a:p>
        </p:txBody>
      </p:sp>
      <p:sp>
        <p:nvSpPr>
          <p:cNvPr id="13" name="자유형: 도형 44">
            <a:extLst>
              <a:ext uri="{FF2B5EF4-FFF2-40B4-BE49-F238E27FC236}">
                <a16:creationId xmlns:a16="http://schemas.microsoft.com/office/drawing/2014/main" id="{04F4AFD1-FAC2-45D1-9F88-0C33F979F459}"/>
              </a:ext>
            </a:extLst>
          </p:cNvPr>
          <p:cNvSpPr/>
          <p:nvPr userDrawn="1"/>
        </p:nvSpPr>
        <p:spPr>
          <a:xfrm rot="16200000" flipH="1" flipV="1">
            <a:off x="738282" y="1380807"/>
            <a:ext cx="1446279" cy="2922838"/>
          </a:xfrm>
          <a:custGeom>
            <a:avLst/>
            <a:gdLst>
              <a:gd name="connsiteX0" fmla="*/ 0 w 1063537"/>
              <a:gd name="connsiteY0" fmla="*/ 2149036 h 2149036"/>
              <a:gd name="connsiteX1" fmla="*/ 0 w 1063537"/>
              <a:gd name="connsiteY1" fmla="*/ 1325185 h 2149036"/>
              <a:gd name="connsiteX2" fmla="*/ 1 w 1063537"/>
              <a:gd name="connsiteY2" fmla="*/ 1325184 h 2149036"/>
              <a:gd name="connsiteX3" fmla="*/ 1 w 1063537"/>
              <a:gd name="connsiteY3" fmla="*/ 504587 h 2149036"/>
              <a:gd name="connsiteX4" fmla="*/ 1063537 w 1063537"/>
              <a:gd name="connsiteY4" fmla="*/ 0 h 2149036"/>
              <a:gd name="connsiteX5" fmla="*/ 1063536 w 1063537"/>
              <a:gd name="connsiteY5" fmla="*/ 1889931 h 2149036"/>
              <a:gd name="connsiteX6" fmla="*/ 1063536 w 1063537"/>
              <a:gd name="connsiteY6" fmla="*/ 1889931 h 2149036"/>
              <a:gd name="connsiteX7" fmla="*/ 1063536 w 1063537"/>
              <a:gd name="connsiteY7" fmla="*/ 2149036 h 21490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63537" h="2149036">
                <a:moveTo>
                  <a:pt x="0" y="2149036"/>
                </a:moveTo>
                <a:lnTo>
                  <a:pt x="0" y="1325185"/>
                </a:lnTo>
                <a:lnTo>
                  <a:pt x="1" y="1325184"/>
                </a:lnTo>
                <a:lnTo>
                  <a:pt x="1" y="504587"/>
                </a:lnTo>
                <a:lnTo>
                  <a:pt x="1063537" y="0"/>
                </a:lnTo>
                <a:lnTo>
                  <a:pt x="1063536" y="1889931"/>
                </a:lnTo>
                <a:lnTo>
                  <a:pt x="1063536" y="1889931"/>
                </a:lnTo>
                <a:lnTo>
                  <a:pt x="1063536" y="2149036"/>
                </a:lnTo>
                <a:close/>
              </a:path>
            </a:pathLst>
          </a:custGeom>
          <a:solidFill>
            <a:srgbClr val="EA00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4347" tIns="62174" rIns="124347" bIns="6217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1904" spc="-68">
              <a:ln>
                <a:solidFill>
                  <a:schemeClr val="bg1">
                    <a:lumMod val="75000"/>
                    <a:alpha val="0"/>
                  </a:schemeClr>
                </a:solidFill>
              </a:ln>
              <a:solidFill>
                <a:schemeClr val="bg1"/>
              </a:solidFill>
              <a:latin typeface="KoPubDotum Bold" panose="02020603020101020101" pitchFamily="18" charset="-127"/>
              <a:ea typeface="KoPubDotum Bold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664712498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자유형: 도형 83">
            <a:extLst>
              <a:ext uri="{FF2B5EF4-FFF2-40B4-BE49-F238E27FC236}">
                <a16:creationId xmlns:a16="http://schemas.microsoft.com/office/drawing/2014/main" id="{91470081-6541-4270-B50D-CE98CEB6D32E}"/>
              </a:ext>
            </a:extLst>
          </p:cNvPr>
          <p:cNvSpPr/>
          <p:nvPr userDrawn="1"/>
        </p:nvSpPr>
        <p:spPr>
          <a:xfrm>
            <a:off x="2" y="1796498"/>
            <a:ext cx="9794100" cy="4104708"/>
          </a:xfrm>
          <a:custGeom>
            <a:avLst/>
            <a:gdLst>
              <a:gd name="connsiteX0" fmla="*/ 0 w 7201177"/>
              <a:gd name="connsiteY0" fmla="*/ 0 h 3018442"/>
              <a:gd name="connsiteX1" fmla="*/ 395288 w 7201177"/>
              <a:gd name="connsiteY1" fmla="*/ 0 h 3018442"/>
              <a:gd name="connsiteX2" fmla="*/ 2637222 w 7201177"/>
              <a:gd name="connsiteY2" fmla="*/ 0 h 3018442"/>
              <a:gd name="connsiteX3" fmla="*/ 7201177 w 7201177"/>
              <a:gd name="connsiteY3" fmla="*/ 0 h 3018442"/>
              <a:gd name="connsiteX4" fmla="*/ 6095537 w 7201177"/>
              <a:gd name="connsiteY4" fmla="*/ 3018442 h 3018442"/>
              <a:gd name="connsiteX5" fmla="*/ 2637222 w 7201177"/>
              <a:gd name="connsiteY5" fmla="*/ 3018442 h 3018442"/>
              <a:gd name="connsiteX6" fmla="*/ 395288 w 7201177"/>
              <a:gd name="connsiteY6" fmla="*/ 3018442 h 3018442"/>
              <a:gd name="connsiteX7" fmla="*/ 0 w 7201177"/>
              <a:gd name="connsiteY7" fmla="*/ 3018442 h 30184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201177" h="3018442">
                <a:moveTo>
                  <a:pt x="0" y="0"/>
                </a:moveTo>
                <a:lnTo>
                  <a:pt x="395288" y="0"/>
                </a:lnTo>
                <a:lnTo>
                  <a:pt x="2637222" y="0"/>
                </a:lnTo>
                <a:lnTo>
                  <a:pt x="7201177" y="0"/>
                </a:lnTo>
                <a:lnTo>
                  <a:pt x="6095537" y="3018442"/>
                </a:lnTo>
                <a:lnTo>
                  <a:pt x="2637222" y="3018442"/>
                </a:lnTo>
                <a:lnTo>
                  <a:pt x="395288" y="3018442"/>
                </a:lnTo>
                <a:lnTo>
                  <a:pt x="0" y="3018442"/>
                </a:lnTo>
                <a:close/>
              </a:path>
            </a:pathLst>
          </a:custGeom>
          <a:blipFill>
            <a:blip r:embed="rId2" cstate="print">
              <a:grayscl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rightnessContrast bright="35000" contrast="1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4347" tIns="62174" rIns="124347" bIns="6217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1904" spc="-68">
              <a:ln>
                <a:solidFill>
                  <a:schemeClr val="bg1">
                    <a:lumMod val="75000"/>
                    <a:alpha val="0"/>
                  </a:schemeClr>
                </a:solidFill>
              </a:ln>
              <a:solidFill>
                <a:schemeClr val="bg1"/>
              </a:solidFill>
              <a:latin typeface="KoPubDotum Bold" panose="02020603020101020101" pitchFamily="18" charset="-127"/>
              <a:ea typeface="KoPubDotum Bold" panose="02020603020101020101" pitchFamily="18" charset="-127"/>
            </a:endParaRPr>
          </a:p>
        </p:txBody>
      </p:sp>
      <p:sp>
        <p:nvSpPr>
          <p:cNvPr id="3" name="자유형: 도형 91">
            <a:extLst>
              <a:ext uri="{FF2B5EF4-FFF2-40B4-BE49-F238E27FC236}">
                <a16:creationId xmlns:a16="http://schemas.microsoft.com/office/drawing/2014/main" id="{78D30DF6-F0C0-4105-A9C3-97E7B9A61A2C}"/>
              </a:ext>
            </a:extLst>
          </p:cNvPr>
          <p:cNvSpPr/>
          <p:nvPr userDrawn="1"/>
        </p:nvSpPr>
        <p:spPr>
          <a:xfrm>
            <a:off x="2" y="6024302"/>
            <a:ext cx="8265450" cy="508241"/>
          </a:xfrm>
          <a:custGeom>
            <a:avLst/>
            <a:gdLst>
              <a:gd name="connsiteX0" fmla="*/ 0 w 6077227"/>
              <a:gd name="connsiteY0" fmla="*/ 0 h 373741"/>
              <a:gd name="connsiteX1" fmla="*/ 395288 w 6077227"/>
              <a:gd name="connsiteY1" fmla="*/ 0 h 373741"/>
              <a:gd name="connsiteX2" fmla="*/ 5681939 w 6077227"/>
              <a:gd name="connsiteY2" fmla="*/ 0 h 373741"/>
              <a:gd name="connsiteX3" fmla="*/ 6077227 w 6077227"/>
              <a:gd name="connsiteY3" fmla="*/ 0 h 373741"/>
              <a:gd name="connsiteX4" fmla="*/ 5940328 w 6077227"/>
              <a:gd name="connsiteY4" fmla="*/ 373741 h 373741"/>
              <a:gd name="connsiteX5" fmla="*/ 0 w 6077227"/>
              <a:gd name="connsiteY5" fmla="*/ 373741 h 3737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77227" h="373741">
                <a:moveTo>
                  <a:pt x="0" y="0"/>
                </a:moveTo>
                <a:lnTo>
                  <a:pt x="395288" y="0"/>
                </a:lnTo>
                <a:lnTo>
                  <a:pt x="5681939" y="0"/>
                </a:lnTo>
                <a:lnTo>
                  <a:pt x="6077227" y="0"/>
                </a:lnTo>
                <a:lnTo>
                  <a:pt x="5940328" y="373741"/>
                </a:lnTo>
                <a:lnTo>
                  <a:pt x="0" y="373741"/>
                </a:lnTo>
                <a:close/>
              </a:path>
            </a:pathLst>
          </a:custGeom>
          <a:solidFill>
            <a:srgbClr val="EA00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21716"/>
            <a:endParaRPr lang="ko-KR" altLang="en-US" sz="2448">
              <a:solidFill>
                <a:prstClr val="white"/>
              </a:solidFill>
              <a:ea typeface="맑은 고딕" panose="020B0503020000020004" pitchFamily="50" charset="-127"/>
            </a:endParaRPr>
          </a:p>
        </p:txBody>
      </p:sp>
      <p:sp>
        <p:nvSpPr>
          <p:cNvPr id="4" name="직사각형 50">
            <a:extLst>
              <a:ext uri="{FF2B5EF4-FFF2-40B4-BE49-F238E27FC236}">
                <a16:creationId xmlns:a16="http://schemas.microsoft.com/office/drawing/2014/main" id="{F9E7D83E-C933-4B33-8EEC-2EA3F81988E6}"/>
              </a:ext>
            </a:extLst>
          </p:cNvPr>
          <p:cNvSpPr/>
          <p:nvPr userDrawn="1"/>
        </p:nvSpPr>
        <p:spPr>
          <a:xfrm>
            <a:off x="2" y="1808215"/>
            <a:ext cx="6455739" cy="4092991"/>
          </a:xfrm>
          <a:prstGeom prst="rect">
            <a:avLst/>
          </a:prstGeom>
          <a:gradFill>
            <a:gsLst>
              <a:gs pos="0">
                <a:schemeClr val="tx1">
                  <a:alpha val="75000"/>
                </a:schemeClr>
              </a:gs>
              <a:gs pos="100000">
                <a:schemeClr val="tx1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4347" tIns="62174" rIns="124347" bIns="6217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1904" spc="-68">
              <a:ln>
                <a:solidFill>
                  <a:schemeClr val="bg1">
                    <a:lumMod val="75000"/>
                    <a:alpha val="0"/>
                  </a:schemeClr>
                </a:solidFill>
              </a:ln>
              <a:solidFill>
                <a:schemeClr val="bg1"/>
              </a:solidFill>
              <a:latin typeface="KoPubDotum Bold" panose="02020603020101020101" pitchFamily="18" charset="-127"/>
              <a:ea typeface="KoPubDotum Bold" panose="02020603020101020101" pitchFamily="18" charset="-127"/>
            </a:endParaRPr>
          </a:p>
        </p:txBody>
      </p:sp>
      <p:pic>
        <p:nvPicPr>
          <p:cNvPr id="5" name="그림 24">
            <a:extLst>
              <a:ext uri="{FF2B5EF4-FFF2-40B4-BE49-F238E27FC236}">
                <a16:creationId xmlns:a16="http://schemas.microsoft.com/office/drawing/2014/main" id="{7BA6F0BD-31B9-4492-B60A-9C0DB4309F7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alphaModFix amt="8000"/>
            <a:grayscl/>
            <a:lum bright="-10000" contrast="1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7650" t="-1" r="4055" b="-2397"/>
          <a:stretch/>
        </p:blipFill>
        <p:spPr>
          <a:xfrm flipH="1">
            <a:off x="8685324" y="4423503"/>
            <a:ext cx="3751152" cy="2120497"/>
          </a:xfrm>
          <a:prstGeom prst="rect">
            <a:avLst/>
          </a:prstGeom>
        </p:spPr>
      </p:pic>
      <p:grpSp>
        <p:nvGrpSpPr>
          <p:cNvPr id="6" name="그룹 92">
            <a:extLst>
              <a:ext uri="{FF2B5EF4-FFF2-40B4-BE49-F238E27FC236}">
                <a16:creationId xmlns:a16="http://schemas.microsoft.com/office/drawing/2014/main" id="{74AE1F99-21CF-419C-90E3-6792ABA0CED9}"/>
              </a:ext>
            </a:extLst>
          </p:cNvPr>
          <p:cNvGrpSpPr/>
          <p:nvPr userDrawn="1"/>
        </p:nvGrpSpPr>
        <p:grpSpPr>
          <a:xfrm>
            <a:off x="1575231" y="6144064"/>
            <a:ext cx="5114991" cy="310439"/>
            <a:chOff x="607312" y="4518104"/>
            <a:chExt cx="3760831" cy="228285"/>
          </a:xfrm>
        </p:grpSpPr>
        <p:pic>
          <p:nvPicPr>
            <p:cNvPr id="7" name="그래픽 64">
              <a:extLst>
                <a:ext uri="{FF2B5EF4-FFF2-40B4-BE49-F238E27FC236}">
                  <a16:creationId xmlns:a16="http://schemas.microsoft.com/office/drawing/2014/main" id="{DDB570A0-EC58-4528-925B-C9B59F955B1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607312" y="4557431"/>
              <a:ext cx="97586" cy="149631"/>
            </a:xfrm>
            <a:prstGeom prst="rect">
              <a:avLst/>
            </a:prstGeom>
          </p:spPr>
        </p:pic>
        <p:pic>
          <p:nvPicPr>
            <p:cNvPr id="8" name="그래픽 65">
              <a:extLst>
                <a:ext uri="{FF2B5EF4-FFF2-40B4-BE49-F238E27FC236}">
                  <a16:creationId xmlns:a16="http://schemas.microsoft.com/office/drawing/2014/main" id="{8C83133D-3A80-4EE7-BB8A-876931B8568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234140" y="4557431"/>
              <a:ext cx="208182" cy="149631"/>
            </a:xfrm>
            <a:prstGeom prst="rect">
              <a:avLst/>
            </a:prstGeom>
          </p:spPr>
        </p:pic>
        <p:pic>
          <p:nvPicPr>
            <p:cNvPr id="9" name="그래픽 73">
              <a:extLst>
                <a:ext uri="{FF2B5EF4-FFF2-40B4-BE49-F238E27FC236}">
                  <a16:creationId xmlns:a16="http://schemas.microsoft.com/office/drawing/2014/main" id="{9F2FB0F1-E678-49A0-8DE5-26BE88A55834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1971564" y="4554178"/>
              <a:ext cx="234205" cy="156136"/>
            </a:xfrm>
            <a:prstGeom prst="rect">
              <a:avLst/>
            </a:prstGeom>
          </p:spPr>
        </p:pic>
        <p:pic>
          <p:nvPicPr>
            <p:cNvPr id="10" name="그래픽 74">
              <a:extLst>
                <a:ext uri="{FF2B5EF4-FFF2-40B4-BE49-F238E27FC236}">
                  <a16:creationId xmlns:a16="http://schemas.microsoft.com/office/drawing/2014/main" id="{52DAF524-BCB2-4D49-9C89-F4E34197B89C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2735011" y="4529912"/>
              <a:ext cx="188926" cy="204669"/>
            </a:xfrm>
            <a:prstGeom prst="rect">
              <a:avLst/>
            </a:prstGeom>
          </p:spPr>
        </p:pic>
        <p:pic>
          <p:nvPicPr>
            <p:cNvPr id="11" name="그래픽 75">
              <a:extLst>
                <a:ext uri="{FF2B5EF4-FFF2-40B4-BE49-F238E27FC236}">
                  <a16:creationId xmlns:a16="http://schemas.microsoft.com/office/drawing/2014/main" id="{D3F0DBA6-2920-41C2-A840-F91C39E7E60B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3453179" y="4557463"/>
              <a:ext cx="149566" cy="149566"/>
            </a:xfrm>
            <a:prstGeom prst="rect">
              <a:avLst/>
            </a:prstGeom>
          </p:spPr>
        </p:pic>
        <p:pic>
          <p:nvPicPr>
            <p:cNvPr id="12" name="그래픽 76">
              <a:extLst>
                <a:ext uri="{FF2B5EF4-FFF2-40B4-BE49-F238E27FC236}">
                  <a16:creationId xmlns:a16="http://schemas.microsoft.com/office/drawing/2014/main" id="{159D61B1-D1D4-444D-90FB-0515D67260A2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4131986" y="4518104"/>
              <a:ext cx="236157" cy="228285"/>
            </a:xfrm>
            <a:prstGeom prst="rect">
              <a:avLst/>
            </a:prstGeom>
          </p:spPr>
        </p:pic>
      </p:grpSp>
      <p:pic>
        <p:nvPicPr>
          <p:cNvPr id="13" name="그래픽 77">
            <a:extLst>
              <a:ext uri="{FF2B5EF4-FFF2-40B4-BE49-F238E27FC236}">
                <a16:creationId xmlns:a16="http://schemas.microsoft.com/office/drawing/2014/main" id="{C6A62B6D-2E19-420E-A899-542FEBFA35D8}"/>
              </a:ext>
            </a:extLst>
          </p:cNvPr>
          <p:cNvPicPr>
            <a:picLocks noChangeAspect="1"/>
          </p:cNvPicPr>
          <p:nvPr userDrawn="1"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 flipH="1" flipV="1">
            <a:off x="537620" y="2316240"/>
            <a:ext cx="2163428" cy="1619103"/>
          </a:xfrm>
          <a:prstGeom prst="rect">
            <a:avLst/>
          </a:prstGeom>
        </p:spPr>
      </p:pic>
      <p:sp>
        <p:nvSpPr>
          <p:cNvPr id="14" name="자유형: 도형 79">
            <a:extLst>
              <a:ext uri="{FF2B5EF4-FFF2-40B4-BE49-F238E27FC236}">
                <a16:creationId xmlns:a16="http://schemas.microsoft.com/office/drawing/2014/main" id="{CD388EE5-D707-419D-9BE7-1288DB479056}"/>
              </a:ext>
            </a:extLst>
          </p:cNvPr>
          <p:cNvSpPr/>
          <p:nvPr userDrawn="1"/>
        </p:nvSpPr>
        <p:spPr>
          <a:xfrm>
            <a:off x="9196292" y="0"/>
            <a:ext cx="3240183" cy="3841164"/>
          </a:xfrm>
          <a:custGeom>
            <a:avLst/>
            <a:gdLst>
              <a:gd name="connsiteX0" fmla="*/ 914483 w 2105668"/>
              <a:gd name="connsiteY0" fmla="*/ 0 h 2496576"/>
              <a:gd name="connsiteX1" fmla="*/ 2105668 w 2105668"/>
              <a:gd name="connsiteY1" fmla="*/ 0 h 2496576"/>
              <a:gd name="connsiteX2" fmla="*/ 2105668 w 2105668"/>
              <a:gd name="connsiteY2" fmla="*/ 2496576 h 2496576"/>
              <a:gd name="connsiteX3" fmla="*/ 0 w 2105668"/>
              <a:gd name="connsiteY3" fmla="*/ 2496576 h 24965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05668" h="2496576">
                <a:moveTo>
                  <a:pt x="914483" y="0"/>
                </a:moveTo>
                <a:lnTo>
                  <a:pt x="2105668" y="0"/>
                </a:lnTo>
                <a:lnTo>
                  <a:pt x="2105668" y="2496576"/>
                </a:lnTo>
                <a:lnTo>
                  <a:pt x="0" y="249657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21716"/>
            <a:endParaRPr lang="ko-KR" altLang="en-US" sz="2448">
              <a:solidFill>
                <a:prstClr val="white"/>
              </a:solidFill>
              <a:ea typeface="맑은 고딕" panose="020B0503020000020004" pitchFamily="50" charset="-127"/>
            </a:endParaRPr>
          </a:p>
        </p:txBody>
      </p:sp>
      <p:pic>
        <p:nvPicPr>
          <p:cNvPr id="16" name="그림 94">
            <a:extLst>
              <a:ext uri="{FF2B5EF4-FFF2-40B4-BE49-F238E27FC236}">
                <a16:creationId xmlns:a16="http://schemas.microsoft.com/office/drawing/2014/main" id="{FD6CFC7B-4F8F-470C-9EC1-5E22744AFFC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622823" y="1"/>
            <a:ext cx="1813654" cy="3841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2444090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직사각형 62">
            <a:extLst>
              <a:ext uri="{FF2B5EF4-FFF2-40B4-BE49-F238E27FC236}">
                <a16:creationId xmlns:a16="http://schemas.microsoft.com/office/drawing/2014/main" id="{274DCB06-5411-4563-AED0-6E7655C2AC98}"/>
              </a:ext>
            </a:extLst>
          </p:cNvPr>
          <p:cNvSpPr/>
          <p:nvPr userDrawn="1"/>
        </p:nvSpPr>
        <p:spPr>
          <a:xfrm>
            <a:off x="1" y="1244121"/>
            <a:ext cx="2005426" cy="5748895"/>
          </a:xfrm>
          <a:prstGeom prst="rect">
            <a:avLst/>
          </a:prstGeom>
          <a:solidFill>
            <a:srgbClr val="EAEAEA"/>
          </a:solidFill>
          <a:ln w="63500" cap="sq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5298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904" b="1" i="0" u="none" strike="noStrike" kern="1200" cap="none" spc="-41" normalizeH="0" baseline="0" noProof="0">
              <a:ln>
                <a:solidFill>
                  <a:srgbClr val="010202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" name="직사각형 3">
            <a:extLst>
              <a:ext uri="{FF2B5EF4-FFF2-40B4-BE49-F238E27FC236}">
                <a16:creationId xmlns:a16="http://schemas.microsoft.com/office/drawing/2014/main" id="{6CFF0643-7FD7-408F-A3A8-E6AC20CF0FCE}"/>
              </a:ext>
            </a:extLst>
          </p:cNvPr>
          <p:cNvSpPr/>
          <p:nvPr userDrawn="1"/>
        </p:nvSpPr>
        <p:spPr>
          <a:xfrm>
            <a:off x="2161110" y="1244121"/>
            <a:ext cx="10275365" cy="543369"/>
          </a:xfrm>
          <a:prstGeom prst="rect">
            <a:avLst/>
          </a:prstGeom>
          <a:solidFill>
            <a:srgbClr val="EA00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4347" tIns="62174" rIns="124347" bIns="6217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1904" spc="-68">
              <a:ln>
                <a:solidFill>
                  <a:schemeClr val="bg1">
                    <a:lumMod val="75000"/>
                    <a:alpha val="0"/>
                  </a:schemeClr>
                </a:solidFill>
              </a:ln>
              <a:solidFill>
                <a:schemeClr val="bg1"/>
              </a:solidFill>
              <a:latin typeface="KoPubDotum Bold" panose="02020603020101020101" pitchFamily="18" charset="-127"/>
              <a:ea typeface="KoPubDotum Bold" panose="02020603020101020101" pitchFamily="18" charset="-127"/>
            </a:endParaRPr>
          </a:p>
        </p:txBody>
      </p:sp>
      <p:sp>
        <p:nvSpPr>
          <p:cNvPr id="7" name="직사각형 55">
            <a:extLst>
              <a:ext uri="{FF2B5EF4-FFF2-40B4-BE49-F238E27FC236}">
                <a16:creationId xmlns:a16="http://schemas.microsoft.com/office/drawing/2014/main" id="{ACB1D073-FBA9-4042-A0AF-EAC23D927BAE}"/>
              </a:ext>
            </a:extLst>
          </p:cNvPr>
          <p:cNvSpPr/>
          <p:nvPr userDrawn="1"/>
        </p:nvSpPr>
        <p:spPr>
          <a:xfrm>
            <a:off x="1" y="1245630"/>
            <a:ext cx="2005426" cy="34269"/>
          </a:xfrm>
          <a:prstGeom prst="rect">
            <a:avLst/>
          </a:prstGeom>
          <a:solidFill>
            <a:srgbClr val="EA002C"/>
          </a:solidFill>
          <a:ln w="63500" cap="sq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5298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904" b="1" i="0" u="none" strike="noStrike" kern="1200" cap="none" spc="-41" normalizeH="0" baseline="0" noProof="0">
              <a:ln>
                <a:solidFill>
                  <a:srgbClr val="010202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AA786B0-C98A-4690-B187-ED8074404883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10197910" y="1268209"/>
            <a:ext cx="1734825" cy="51231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defPPr>
              <a:defRPr lang="en-US"/>
            </a:defPPr>
            <a:lvl1pPr lvl="0" indent="0" defTabSz="1030882" latinLnBrk="1">
              <a:spcBef>
                <a:spcPct val="20000"/>
              </a:spcBef>
              <a:buFont typeface="Arial" pitchFamily="34" charset="0"/>
              <a:buNone/>
              <a:defRPr sz="2100" b="1" spc="-3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latin typeface="맑은 고딕" panose="020B0503020000020004" pitchFamily="50" charset="-127"/>
                <a:cs typeface="KoPubWorld돋움체 Bold" panose="00000800000000000000" pitchFamily="2" charset="-127"/>
              </a:defRPr>
            </a:lvl1pPr>
            <a:lvl2pPr marL="837591" indent="-322151" defTabSz="1030882" latinLnBrk="1">
              <a:spcBef>
                <a:spcPct val="20000"/>
              </a:spcBef>
              <a:buFont typeface="Arial" pitchFamily="34" charset="0"/>
              <a:buChar char="–"/>
              <a:defRPr sz="3199"/>
            </a:lvl2pPr>
            <a:lvl3pPr marL="1288604" indent="-257719" defTabSz="1030882" latinLnBrk="1">
              <a:spcBef>
                <a:spcPct val="20000"/>
              </a:spcBef>
              <a:buFont typeface="Arial" pitchFamily="34" charset="0"/>
              <a:buChar char="•"/>
              <a:defRPr sz="2532"/>
            </a:lvl3pPr>
            <a:lvl4pPr marL="1804043" indent="-257719" defTabSz="1030882" latinLnBrk="1">
              <a:spcBef>
                <a:spcPct val="20000"/>
              </a:spcBef>
              <a:buFont typeface="Arial" pitchFamily="34" charset="0"/>
              <a:buChar char="–"/>
              <a:defRPr sz="2265"/>
            </a:lvl4pPr>
            <a:lvl5pPr marL="2319486" indent="-257719" defTabSz="1030882" latinLnBrk="1">
              <a:spcBef>
                <a:spcPct val="20000"/>
              </a:spcBef>
              <a:buFont typeface="Arial" pitchFamily="34" charset="0"/>
              <a:buChar char="»"/>
              <a:defRPr sz="2265"/>
            </a:lvl5pPr>
            <a:lvl6pPr marL="2834926" indent="-257719" defTabSz="1030882" latinLnBrk="1">
              <a:spcBef>
                <a:spcPct val="20000"/>
              </a:spcBef>
              <a:buFont typeface="Arial" pitchFamily="34" charset="0"/>
              <a:buChar char="•"/>
              <a:defRPr sz="2265"/>
            </a:lvl6pPr>
            <a:lvl7pPr marL="3350368" indent="-257719" defTabSz="1030882" latinLnBrk="1">
              <a:spcBef>
                <a:spcPct val="20000"/>
              </a:spcBef>
              <a:buFont typeface="Arial" pitchFamily="34" charset="0"/>
              <a:buChar char="•"/>
              <a:defRPr sz="2265"/>
            </a:lvl7pPr>
            <a:lvl8pPr marL="3865810" indent="-257719" defTabSz="1030882" latinLnBrk="1">
              <a:spcBef>
                <a:spcPct val="20000"/>
              </a:spcBef>
              <a:buFont typeface="Arial" pitchFamily="34" charset="0"/>
              <a:buChar char="•"/>
              <a:defRPr sz="2265"/>
            </a:lvl8pPr>
            <a:lvl9pPr marL="4381252" indent="-257719" defTabSz="1030882" latinLnBrk="1">
              <a:spcBef>
                <a:spcPct val="20000"/>
              </a:spcBef>
              <a:buFont typeface="Arial" pitchFamily="34" charset="0"/>
              <a:buChar char="•"/>
              <a:defRPr sz="2265"/>
            </a:lvl9pPr>
          </a:lstStyle>
          <a:p>
            <a:pPr lvl="0" algn="ctr" latinLnBrk="0">
              <a:spcBef>
                <a:spcPts val="680"/>
              </a:spcBef>
              <a:defRPr/>
            </a:pPr>
            <a:r>
              <a:rPr lang="en-US" altLang="ko-KR" sz="3264" b="0" spc="-136">
                <a:solidFill>
                  <a:schemeClr val="bg1"/>
                </a:solidFill>
                <a:latin typeface="Century Gothic" panose="020B0502020202020204" pitchFamily="34" charset="0"/>
              </a:rPr>
              <a:t>Contents</a:t>
            </a:r>
            <a:endParaRPr lang="ko-KR" altLang="en-US" sz="3264" b="0" spc="-136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pic>
        <p:nvPicPr>
          <p:cNvPr id="11" name="그래픽 72">
            <a:extLst>
              <a:ext uri="{FF2B5EF4-FFF2-40B4-BE49-F238E27FC236}">
                <a16:creationId xmlns:a16="http://schemas.microsoft.com/office/drawing/2014/main" id="{E39A4AE4-8BC8-4B8C-AAD3-B500AE780C1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37620" y="597449"/>
            <a:ext cx="1393798" cy="298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842820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CE176FCB-CF8B-4982-8A20-3036115E94CA}"/>
              </a:ext>
            </a:extLst>
          </p:cNvPr>
          <p:cNvSpPr/>
          <p:nvPr userDrawn="1"/>
        </p:nvSpPr>
        <p:spPr>
          <a:xfrm>
            <a:off x="4529697" y="2769475"/>
            <a:ext cx="3377082" cy="145557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4347" tIns="62174" rIns="124347" bIns="6217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4352" spc="-68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Dotum Bold" panose="02020603020101020101" pitchFamily="18" charset="-127"/>
                <a:ea typeface="KoPubDotum Bold" panose="02020603020101020101" pitchFamily="18" charset="-127"/>
              </a:rPr>
              <a:t>감사합니다</a:t>
            </a:r>
            <a:endParaRPr lang="en-US" altLang="ko-KR" sz="4352" spc="-68">
              <a:ln>
                <a:solidFill>
                  <a:schemeClr val="bg1">
                    <a:lumMod val="75000"/>
                    <a:alpha val="0"/>
                  </a:schemeClr>
                </a:solidFill>
              </a:ln>
              <a:solidFill>
                <a:schemeClr val="bg1"/>
              </a:solidFill>
              <a:latin typeface="KoPubDotum Bold" panose="02020603020101020101" pitchFamily="18" charset="-127"/>
              <a:ea typeface="KoPubDotum Bold" panose="02020603020101020101" pitchFamily="18" charset="-127"/>
            </a:endParaRPr>
          </a:p>
        </p:txBody>
      </p:sp>
      <p:sp>
        <p:nvSpPr>
          <p:cNvPr id="3" name="Title 3">
            <a:extLst>
              <a:ext uri="{FF2B5EF4-FFF2-40B4-BE49-F238E27FC236}">
                <a16:creationId xmlns:a16="http://schemas.microsoft.com/office/drawing/2014/main" id="{4787FFAE-F6A7-419E-ABE0-74E7D35897F1}"/>
              </a:ext>
            </a:extLst>
          </p:cNvPr>
          <p:cNvSpPr txBox="1">
            <a:spLocks/>
          </p:cNvSpPr>
          <p:nvPr userDrawn="1"/>
        </p:nvSpPr>
        <p:spPr>
          <a:xfrm>
            <a:off x="4120023" y="2647355"/>
            <a:ext cx="4196441" cy="102443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 lvl="0" indent="0" defTabSz="1030882" latinLnBrk="1">
              <a:spcBef>
                <a:spcPct val="20000"/>
              </a:spcBef>
              <a:buFont typeface="Arial" pitchFamily="34" charset="0"/>
              <a:buNone/>
              <a:defRPr sz="1000" b="1" spc="-3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prstClr val="black"/>
                </a:solidFill>
                <a:latin typeface="맑은 고딕" panose="020B0503020000020004" pitchFamily="50" charset="-127"/>
                <a:cs typeface="KoPubWorld돋움체 Bold" panose="00000800000000000000" pitchFamily="2" charset="-127"/>
              </a:defRPr>
            </a:lvl1pPr>
            <a:lvl2pPr marL="837591" indent="-322151" defTabSz="1030882" latinLnBrk="1">
              <a:spcBef>
                <a:spcPct val="20000"/>
              </a:spcBef>
              <a:buFont typeface="Arial" pitchFamily="34" charset="0"/>
              <a:buChar char="–"/>
              <a:defRPr sz="3199"/>
            </a:lvl2pPr>
            <a:lvl3pPr marL="1288604" indent="-257719" defTabSz="1030882" latinLnBrk="1">
              <a:spcBef>
                <a:spcPct val="20000"/>
              </a:spcBef>
              <a:buFont typeface="Arial" pitchFamily="34" charset="0"/>
              <a:buChar char="•"/>
              <a:defRPr sz="2532"/>
            </a:lvl3pPr>
            <a:lvl4pPr marL="1804043" indent="-257719" defTabSz="1030882" latinLnBrk="1">
              <a:spcBef>
                <a:spcPct val="20000"/>
              </a:spcBef>
              <a:buFont typeface="Arial" pitchFamily="34" charset="0"/>
              <a:buChar char="–"/>
              <a:defRPr sz="2265"/>
            </a:lvl4pPr>
            <a:lvl5pPr marL="2319486" indent="-257719" defTabSz="1030882" latinLnBrk="1">
              <a:spcBef>
                <a:spcPct val="20000"/>
              </a:spcBef>
              <a:buFont typeface="Arial" pitchFamily="34" charset="0"/>
              <a:buChar char="»"/>
              <a:defRPr sz="2265"/>
            </a:lvl5pPr>
            <a:lvl6pPr marL="2834926" indent="-257719" defTabSz="1030882" latinLnBrk="1">
              <a:spcBef>
                <a:spcPct val="20000"/>
              </a:spcBef>
              <a:buFont typeface="Arial" pitchFamily="34" charset="0"/>
              <a:buChar char="•"/>
              <a:defRPr sz="2265"/>
            </a:lvl6pPr>
            <a:lvl7pPr marL="3350368" indent="-257719" defTabSz="1030882" latinLnBrk="1">
              <a:spcBef>
                <a:spcPct val="20000"/>
              </a:spcBef>
              <a:buFont typeface="Arial" pitchFamily="34" charset="0"/>
              <a:buChar char="•"/>
              <a:defRPr sz="2265"/>
            </a:lvl7pPr>
            <a:lvl8pPr marL="3865810" indent="-257719" defTabSz="1030882" latinLnBrk="1">
              <a:spcBef>
                <a:spcPct val="20000"/>
              </a:spcBef>
              <a:buFont typeface="Arial" pitchFamily="34" charset="0"/>
              <a:buChar char="•"/>
              <a:defRPr sz="2265"/>
            </a:lvl8pPr>
            <a:lvl9pPr marL="4381252" indent="-257719" defTabSz="1030882" latinLnBrk="1">
              <a:spcBef>
                <a:spcPct val="20000"/>
              </a:spcBef>
              <a:buFont typeface="Arial" pitchFamily="34" charset="0"/>
              <a:buChar char="•"/>
              <a:defRPr sz="2265"/>
            </a:lvl9pPr>
          </a:lstStyle>
          <a:p>
            <a:pPr algn="ctr" latinLnBrk="0">
              <a:spcBef>
                <a:spcPts val="0"/>
              </a:spcBef>
            </a:pPr>
            <a:r>
              <a:rPr lang="ko-KR" altLang="en-US" sz="6527" spc="-109">
                <a:solidFill>
                  <a:schemeClr val="tx1"/>
                </a:solidFill>
              </a:rPr>
              <a:t>감사합니다</a:t>
            </a:r>
            <a:endParaRPr lang="en-US" altLang="ko-KR" sz="6527" spc="-109">
              <a:solidFill>
                <a:schemeClr val="tx1"/>
              </a:solidFill>
            </a:endParaRPr>
          </a:p>
        </p:txBody>
      </p:sp>
      <p:grpSp>
        <p:nvGrpSpPr>
          <p:cNvPr id="4" name="그룹 653">
            <a:extLst>
              <a:ext uri="{FF2B5EF4-FFF2-40B4-BE49-F238E27FC236}">
                <a16:creationId xmlns:a16="http://schemas.microsoft.com/office/drawing/2014/main" id="{E4168A53-4C6A-4614-9143-E63850DB6737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418331" y="977374"/>
            <a:ext cx="1797416" cy="540714"/>
            <a:chOff x="7864715" y="485439"/>
            <a:chExt cx="1092200" cy="328612"/>
          </a:xfrm>
          <a:solidFill>
            <a:schemeClr val="bg1">
              <a:lumMod val="75000"/>
            </a:schemeClr>
          </a:solidFill>
        </p:grpSpPr>
        <p:sp>
          <p:nvSpPr>
            <p:cNvPr id="5" name="Freeform 10">
              <a:extLst>
                <a:ext uri="{FF2B5EF4-FFF2-40B4-BE49-F238E27FC236}">
                  <a16:creationId xmlns:a16="http://schemas.microsoft.com/office/drawing/2014/main" id="{44210530-98D4-4D19-8392-5E4C8DB25E50}"/>
                </a:ext>
              </a:extLst>
            </p:cNvPr>
            <p:cNvSpPr>
              <a:spLocks/>
            </p:cNvSpPr>
            <p:nvPr/>
          </p:nvSpPr>
          <p:spPr bwMode="auto">
            <a:xfrm>
              <a:off x="7864715" y="802939"/>
              <a:ext cx="11113" cy="11112"/>
            </a:xfrm>
            <a:custGeom>
              <a:avLst/>
              <a:gdLst>
                <a:gd name="T0" fmla="*/ 90 w 110"/>
                <a:gd name="T1" fmla="*/ 90 h 110"/>
                <a:gd name="T2" fmla="*/ 19 w 110"/>
                <a:gd name="T3" fmla="*/ 90 h 110"/>
                <a:gd name="T4" fmla="*/ 19 w 110"/>
                <a:gd name="T5" fmla="*/ 19 h 110"/>
                <a:gd name="T6" fmla="*/ 90 w 110"/>
                <a:gd name="T7" fmla="*/ 19 h 110"/>
                <a:gd name="T8" fmla="*/ 90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0"/>
                  </a:moveTo>
                  <a:cubicBezTo>
                    <a:pt x="71" y="110"/>
                    <a:pt x="39" y="110"/>
                    <a:pt x="19" y="90"/>
                  </a:cubicBezTo>
                  <a:cubicBezTo>
                    <a:pt x="0" y="71"/>
                    <a:pt x="0" y="39"/>
                    <a:pt x="19" y="19"/>
                  </a:cubicBezTo>
                  <a:cubicBezTo>
                    <a:pt x="39" y="0"/>
                    <a:pt x="71" y="0"/>
                    <a:pt x="90" y="19"/>
                  </a:cubicBezTo>
                  <a:cubicBezTo>
                    <a:pt x="110" y="39"/>
                    <a:pt x="110" y="71"/>
                    <a:pt x="90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6" name="Freeform 11">
              <a:extLst>
                <a:ext uri="{FF2B5EF4-FFF2-40B4-BE49-F238E27FC236}">
                  <a16:creationId xmlns:a16="http://schemas.microsoft.com/office/drawing/2014/main" id="{4530D387-6C88-494D-8129-05920295BA18}"/>
                </a:ext>
              </a:extLst>
            </p:cNvPr>
            <p:cNvSpPr>
              <a:spLocks/>
            </p:cNvSpPr>
            <p:nvPr/>
          </p:nvSpPr>
          <p:spPr bwMode="auto">
            <a:xfrm>
              <a:off x="7864715" y="802939"/>
              <a:ext cx="11113" cy="11112"/>
            </a:xfrm>
            <a:custGeom>
              <a:avLst/>
              <a:gdLst>
                <a:gd name="T0" fmla="*/ 90 w 110"/>
                <a:gd name="T1" fmla="*/ 90 h 110"/>
                <a:gd name="T2" fmla="*/ 19 w 110"/>
                <a:gd name="T3" fmla="*/ 90 h 110"/>
                <a:gd name="T4" fmla="*/ 19 w 110"/>
                <a:gd name="T5" fmla="*/ 19 h 110"/>
                <a:gd name="T6" fmla="*/ 90 w 110"/>
                <a:gd name="T7" fmla="*/ 19 h 110"/>
                <a:gd name="T8" fmla="*/ 90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0"/>
                  </a:moveTo>
                  <a:cubicBezTo>
                    <a:pt x="71" y="110"/>
                    <a:pt x="39" y="110"/>
                    <a:pt x="19" y="90"/>
                  </a:cubicBezTo>
                  <a:cubicBezTo>
                    <a:pt x="0" y="71"/>
                    <a:pt x="0" y="39"/>
                    <a:pt x="19" y="19"/>
                  </a:cubicBezTo>
                  <a:cubicBezTo>
                    <a:pt x="39" y="0"/>
                    <a:pt x="71" y="0"/>
                    <a:pt x="90" y="19"/>
                  </a:cubicBezTo>
                  <a:cubicBezTo>
                    <a:pt x="110" y="39"/>
                    <a:pt x="110" y="71"/>
                    <a:pt x="90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7" name="Freeform 12">
              <a:extLst>
                <a:ext uri="{FF2B5EF4-FFF2-40B4-BE49-F238E27FC236}">
                  <a16:creationId xmlns:a16="http://schemas.microsoft.com/office/drawing/2014/main" id="{D0C91023-5882-48CD-AF4D-0D5212E44E7A}"/>
                </a:ext>
              </a:extLst>
            </p:cNvPr>
            <p:cNvSpPr>
              <a:spLocks/>
            </p:cNvSpPr>
            <p:nvPr/>
          </p:nvSpPr>
          <p:spPr bwMode="auto">
            <a:xfrm>
              <a:off x="7928215" y="804526"/>
              <a:ext cx="9525" cy="9525"/>
            </a:xfrm>
            <a:custGeom>
              <a:avLst/>
              <a:gdLst>
                <a:gd name="T0" fmla="*/ 50 w 100"/>
                <a:gd name="T1" fmla="*/ 100 h 100"/>
                <a:gd name="T2" fmla="*/ 0 w 100"/>
                <a:gd name="T3" fmla="*/ 50 h 100"/>
                <a:gd name="T4" fmla="*/ 50 w 100"/>
                <a:gd name="T5" fmla="*/ 0 h 100"/>
                <a:gd name="T6" fmla="*/ 100 w 100"/>
                <a:gd name="T7" fmla="*/ 50 h 100"/>
                <a:gd name="T8" fmla="*/ 50 w 100"/>
                <a:gd name="T9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00">
                  <a:moveTo>
                    <a:pt x="50" y="100"/>
                  </a:moveTo>
                  <a:cubicBezTo>
                    <a:pt x="23" y="100"/>
                    <a:pt x="0" y="77"/>
                    <a:pt x="0" y="50"/>
                  </a:cubicBezTo>
                  <a:cubicBezTo>
                    <a:pt x="0" y="22"/>
                    <a:pt x="23" y="0"/>
                    <a:pt x="50" y="0"/>
                  </a:cubicBezTo>
                  <a:cubicBezTo>
                    <a:pt x="77" y="0"/>
                    <a:pt x="100" y="22"/>
                    <a:pt x="100" y="50"/>
                  </a:cubicBezTo>
                  <a:cubicBezTo>
                    <a:pt x="100" y="77"/>
                    <a:pt x="78" y="99"/>
                    <a:pt x="50" y="10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8" name="Freeform 13">
              <a:extLst>
                <a:ext uri="{FF2B5EF4-FFF2-40B4-BE49-F238E27FC236}">
                  <a16:creationId xmlns:a16="http://schemas.microsoft.com/office/drawing/2014/main" id="{EE71F9E0-0E0B-4FAD-9092-99D197F7BC79}"/>
                </a:ext>
              </a:extLst>
            </p:cNvPr>
            <p:cNvSpPr>
              <a:spLocks/>
            </p:cNvSpPr>
            <p:nvPr/>
          </p:nvSpPr>
          <p:spPr bwMode="auto">
            <a:xfrm>
              <a:off x="7928215" y="804526"/>
              <a:ext cx="9525" cy="9525"/>
            </a:xfrm>
            <a:custGeom>
              <a:avLst/>
              <a:gdLst>
                <a:gd name="T0" fmla="*/ 50 w 100"/>
                <a:gd name="T1" fmla="*/ 100 h 100"/>
                <a:gd name="T2" fmla="*/ 0 w 100"/>
                <a:gd name="T3" fmla="*/ 50 h 100"/>
                <a:gd name="T4" fmla="*/ 50 w 100"/>
                <a:gd name="T5" fmla="*/ 0 h 100"/>
                <a:gd name="T6" fmla="*/ 100 w 100"/>
                <a:gd name="T7" fmla="*/ 50 h 100"/>
                <a:gd name="T8" fmla="*/ 50 w 100"/>
                <a:gd name="T9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00">
                  <a:moveTo>
                    <a:pt x="50" y="100"/>
                  </a:moveTo>
                  <a:cubicBezTo>
                    <a:pt x="23" y="100"/>
                    <a:pt x="0" y="77"/>
                    <a:pt x="0" y="50"/>
                  </a:cubicBezTo>
                  <a:cubicBezTo>
                    <a:pt x="0" y="22"/>
                    <a:pt x="23" y="0"/>
                    <a:pt x="50" y="0"/>
                  </a:cubicBezTo>
                  <a:cubicBezTo>
                    <a:pt x="77" y="0"/>
                    <a:pt x="100" y="22"/>
                    <a:pt x="100" y="50"/>
                  </a:cubicBezTo>
                  <a:cubicBezTo>
                    <a:pt x="100" y="77"/>
                    <a:pt x="78" y="99"/>
                    <a:pt x="50" y="10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9" name="Freeform 14">
              <a:extLst>
                <a:ext uri="{FF2B5EF4-FFF2-40B4-BE49-F238E27FC236}">
                  <a16:creationId xmlns:a16="http://schemas.microsoft.com/office/drawing/2014/main" id="{014BA702-6903-4D43-A424-7C5C6EAA085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93303" y="802939"/>
              <a:ext cx="9525" cy="9525"/>
            </a:xfrm>
            <a:custGeom>
              <a:avLst/>
              <a:gdLst>
                <a:gd name="T0" fmla="*/ 50 w 100"/>
                <a:gd name="T1" fmla="*/ 100 h 100"/>
                <a:gd name="T2" fmla="*/ 0 w 100"/>
                <a:gd name="T3" fmla="*/ 50 h 100"/>
                <a:gd name="T4" fmla="*/ 50 w 100"/>
                <a:gd name="T5" fmla="*/ 0 h 100"/>
                <a:gd name="T6" fmla="*/ 100 w 100"/>
                <a:gd name="T7" fmla="*/ 50 h 100"/>
                <a:gd name="T8" fmla="*/ 50 w 100"/>
                <a:gd name="T9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00">
                  <a:moveTo>
                    <a:pt x="50" y="100"/>
                  </a:moveTo>
                  <a:cubicBezTo>
                    <a:pt x="22" y="100"/>
                    <a:pt x="0" y="78"/>
                    <a:pt x="0" y="50"/>
                  </a:cubicBezTo>
                  <a:cubicBezTo>
                    <a:pt x="0" y="23"/>
                    <a:pt x="22" y="0"/>
                    <a:pt x="50" y="0"/>
                  </a:cubicBezTo>
                  <a:cubicBezTo>
                    <a:pt x="77" y="0"/>
                    <a:pt x="100" y="23"/>
                    <a:pt x="100" y="50"/>
                  </a:cubicBezTo>
                  <a:cubicBezTo>
                    <a:pt x="99" y="78"/>
                    <a:pt x="77" y="100"/>
                    <a:pt x="50" y="10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10" name="Freeform 15">
              <a:extLst>
                <a:ext uri="{FF2B5EF4-FFF2-40B4-BE49-F238E27FC236}">
                  <a16:creationId xmlns:a16="http://schemas.microsoft.com/office/drawing/2014/main" id="{31564C1D-E424-475A-B2CC-4416C1D95AC9}"/>
                </a:ext>
              </a:extLst>
            </p:cNvPr>
            <p:cNvSpPr>
              <a:spLocks/>
            </p:cNvSpPr>
            <p:nvPr/>
          </p:nvSpPr>
          <p:spPr bwMode="auto">
            <a:xfrm>
              <a:off x="7993303" y="802939"/>
              <a:ext cx="9525" cy="9525"/>
            </a:xfrm>
            <a:custGeom>
              <a:avLst/>
              <a:gdLst>
                <a:gd name="T0" fmla="*/ 50 w 100"/>
                <a:gd name="T1" fmla="*/ 100 h 100"/>
                <a:gd name="T2" fmla="*/ 0 w 100"/>
                <a:gd name="T3" fmla="*/ 50 h 100"/>
                <a:gd name="T4" fmla="*/ 50 w 100"/>
                <a:gd name="T5" fmla="*/ 0 h 100"/>
                <a:gd name="T6" fmla="*/ 100 w 100"/>
                <a:gd name="T7" fmla="*/ 50 h 100"/>
                <a:gd name="T8" fmla="*/ 50 w 100"/>
                <a:gd name="T9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00">
                  <a:moveTo>
                    <a:pt x="50" y="100"/>
                  </a:moveTo>
                  <a:cubicBezTo>
                    <a:pt x="22" y="100"/>
                    <a:pt x="0" y="78"/>
                    <a:pt x="0" y="50"/>
                  </a:cubicBezTo>
                  <a:cubicBezTo>
                    <a:pt x="0" y="23"/>
                    <a:pt x="22" y="0"/>
                    <a:pt x="50" y="0"/>
                  </a:cubicBezTo>
                  <a:cubicBezTo>
                    <a:pt x="77" y="0"/>
                    <a:pt x="100" y="23"/>
                    <a:pt x="100" y="50"/>
                  </a:cubicBezTo>
                  <a:cubicBezTo>
                    <a:pt x="99" y="78"/>
                    <a:pt x="77" y="100"/>
                    <a:pt x="50" y="10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11" name="Freeform 16">
              <a:extLst>
                <a:ext uri="{FF2B5EF4-FFF2-40B4-BE49-F238E27FC236}">
                  <a16:creationId xmlns:a16="http://schemas.microsoft.com/office/drawing/2014/main" id="{CD3B5330-4883-4235-B4ED-128A37D1A557}"/>
                </a:ext>
              </a:extLst>
            </p:cNvPr>
            <p:cNvSpPr>
              <a:spLocks/>
            </p:cNvSpPr>
            <p:nvPr/>
          </p:nvSpPr>
          <p:spPr bwMode="auto">
            <a:xfrm>
              <a:off x="8055215" y="802939"/>
              <a:ext cx="11113" cy="11112"/>
            </a:xfrm>
            <a:custGeom>
              <a:avLst/>
              <a:gdLst>
                <a:gd name="T0" fmla="*/ 90 w 110"/>
                <a:gd name="T1" fmla="*/ 91 h 110"/>
                <a:gd name="T2" fmla="*/ 20 w 110"/>
                <a:gd name="T3" fmla="*/ 91 h 110"/>
                <a:gd name="T4" fmla="*/ 20 w 110"/>
                <a:gd name="T5" fmla="*/ 20 h 110"/>
                <a:gd name="T6" fmla="*/ 90 w 110"/>
                <a:gd name="T7" fmla="*/ 20 h 110"/>
                <a:gd name="T8" fmla="*/ 90 w 110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1"/>
                  </a:moveTo>
                  <a:cubicBezTo>
                    <a:pt x="71" y="110"/>
                    <a:pt x="39" y="110"/>
                    <a:pt x="20" y="91"/>
                  </a:cubicBezTo>
                  <a:cubicBezTo>
                    <a:pt x="0" y="71"/>
                    <a:pt x="0" y="39"/>
                    <a:pt x="20" y="20"/>
                  </a:cubicBezTo>
                  <a:cubicBezTo>
                    <a:pt x="39" y="0"/>
                    <a:pt x="71" y="0"/>
                    <a:pt x="90" y="20"/>
                  </a:cubicBezTo>
                  <a:cubicBezTo>
                    <a:pt x="110" y="39"/>
                    <a:pt x="110" y="71"/>
                    <a:pt x="90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12" name="Freeform 17">
              <a:extLst>
                <a:ext uri="{FF2B5EF4-FFF2-40B4-BE49-F238E27FC236}">
                  <a16:creationId xmlns:a16="http://schemas.microsoft.com/office/drawing/2014/main" id="{61399511-53D4-40BE-92C0-BB5367B239F2}"/>
                </a:ext>
              </a:extLst>
            </p:cNvPr>
            <p:cNvSpPr>
              <a:spLocks/>
            </p:cNvSpPr>
            <p:nvPr/>
          </p:nvSpPr>
          <p:spPr bwMode="auto">
            <a:xfrm>
              <a:off x="8055215" y="802939"/>
              <a:ext cx="11113" cy="11112"/>
            </a:xfrm>
            <a:custGeom>
              <a:avLst/>
              <a:gdLst>
                <a:gd name="T0" fmla="*/ 90 w 110"/>
                <a:gd name="T1" fmla="*/ 91 h 110"/>
                <a:gd name="T2" fmla="*/ 20 w 110"/>
                <a:gd name="T3" fmla="*/ 91 h 110"/>
                <a:gd name="T4" fmla="*/ 20 w 110"/>
                <a:gd name="T5" fmla="*/ 20 h 110"/>
                <a:gd name="T6" fmla="*/ 90 w 110"/>
                <a:gd name="T7" fmla="*/ 20 h 110"/>
                <a:gd name="T8" fmla="*/ 90 w 110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1"/>
                  </a:moveTo>
                  <a:cubicBezTo>
                    <a:pt x="71" y="110"/>
                    <a:pt x="39" y="110"/>
                    <a:pt x="20" y="91"/>
                  </a:cubicBezTo>
                  <a:cubicBezTo>
                    <a:pt x="0" y="71"/>
                    <a:pt x="0" y="39"/>
                    <a:pt x="20" y="20"/>
                  </a:cubicBezTo>
                  <a:cubicBezTo>
                    <a:pt x="39" y="0"/>
                    <a:pt x="71" y="0"/>
                    <a:pt x="90" y="20"/>
                  </a:cubicBezTo>
                  <a:cubicBezTo>
                    <a:pt x="110" y="39"/>
                    <a:pt x="110" y="71"/>
                    <a:pt x="90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13" name="Freeform 18">
              <a:extLst>
                <a:ext uri="{FF2B5EF4-FFF2-40B4-BE49-F238E27FC236}">
                  <a16:creationId xmlns:a16="http://schemas.microsoft.com/office/drawing/2014/main" id="{A3FAD9C7-30B3-478F-83C6-A5D674058723}"/>
                </a:ext>
              </a:extLst>
            </p:cNvPr>
            <p:cNvSpPr>
              <a:spLocks/>
            </p:cNvSpPr>
            <p:nvPr/>
          </p:nvSpPr>
          <p:spPr bwMode="auto">
            <a:xfrm>
              <a:off x="8120303" y="802939"/>
              <a:ext cx="9525" cy="11112"/>
            </a:xfrm>
            <a:custGeom>
              <a:avLst/>
              <a:gdLst>
                <a:gd name="T0" fmla="*/ 50 w 101"/>
                <a:gd name="T1" fmla="*/ 100 h 101"/>
                <a:gd name="T2" fmla="*/ 0 w 101"/>
                <a:gd name="T3" fmla="*/ 50 h 101"/>
                <a:gd name="T4" fmla="*/ 50 w 101"/>
                <a:gd name="T5" fmla="*/ 0 h 101"/>
                <a:gd name="T6" fmla="*/ 100 w 101"/>
                <a:gd name="T7" fmla="*/ 50 h 101"/>
                <a:gd name="T8" fmla="*/ 50 w 101"/>
                <a:gd name="T9" fmla="*/ 10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" h="101">
                  <a:moveTo>
                    <a:pt x="50" y="100"/>
                  </a:moveTo>
                  <a:cubicBezTo>
                    <a:pt x="23" y="100"/>
                    <a:pt x="0" y="78"/>
                    <a:pt x="0" y="50"/>
                  </a:cubicBezTo>
                  <a:cubicBezTo>
                    <a:pt x="0" y="23"/>
                    <a:pt x="23" y="0"/>
                    <a:pt x="50" y="0"/>
                  </a:cubicBezTo>
                  <a:cubicBezTo>
                    <a:pt x="78" y="0"/>
                    <a:pt x="100" y="23"/>
                    <a:pt x="100" y="50"/>
                  </a:cubicBezTo>
                  <a:cubicBezTo>
                    <a:pt x="101" y="78"/>
                    <a:pt x="78" y="101"/>
                    <a:pt x="50" y="10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14" name="Freeform 19">
              <a:extLst>
                <a:ext uri="{FF2B5EF4-FFF2-40B4-BE49-F238E27FC236}">
                  <a16:creationId xmlns:a16="http://schemas.microsoft.com/office/drawing/2014/main" id="{B394B727-F813-4100-B83D-81D16581EE27}"/>
                </a:ext>
              </a:extLst>
            </p:cNvPr>
            <p:cNvSpPr>
              <a:spLocks/>
            </p:cNvSpPr>
            <p:nvPr/>
          </p:nvSpPr>
          <p:spPr bwMode="auto">
            <a:xfrm>
              <a:off x="8120303" y="802939"/>
              <a:ext cx="9525" cy="11112"/>
            </a:xfrm>
            <a:custGeom>
              <a:avLst/>
              <a:gdLst>
                <a:gd name="T0" fmla="*/ 50 w 101"/>
                <a:gd name="T1" fmla="*/ 100 h 101"/>
                <a:gd name="T2" fmla="*/ 0 w 101"/>
                <a:gd name="T3" fmla="*/ 50 h 101"/>
                <a:gd name="T4" fmla="*/ 50 w 101"/>
                <a:gd name="T5" fmla="*/ 0 h 101"/>
                <a:gd name="T6" fmla="*/ 100 w 101"/>
                <a:gd name="T7" fmla="*/ 50 h 101"/>
                <a:gd name="T8" fmla="*/ 50 w 101"/>
                <a:gd name="T9" fmla="*/ 10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" h="101">
                  <a:moveTo>
                    <a:pt x="50" y="100"/>
                  </a:moveTo>
                  <a:cubicBezTo>
                    <a:pt x="23" y="100"/>
                    <a:pt x="0" y="78"/>
                    <a:pt x="0" y="50"/>
                  </a:cubicBezTo>
                  <a:cubicBezTo>
                    <a:pt x="0" y="23"/>
                    <a:pt x="23" y="0"/>
                    <a:pt x="50" y="0"/>
                  </a:cubicBezTo>
                  <a:cubicBezTo>
                    <a:pt x="78" y="0"/>
                    <a:pt x="100" y="23"/>
                    <a:pt x="100" y="50"/>
                  </a:cubicBezTo>
                  <a:cubicBezTo>
                    <a:pt x="101" y="78"/>
                    <a:pt x="78" y="101"/>
                    <a:pt x="50" y="10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15" name="Freeform 20">
              <a:extLst>
                <a:ext uri="{FF2B5EF4-FFF2-40B4-BE49-F238E27FC236}">
                  <a16:creationId xmlns:a16="http://schemas.microsoft.com/office/drawing/2014/main" id="{48C8B5E1-8840-40A4-8455-E4232EDD8C62}"/>
                </a:ext>
              </a:extLst>
            </p:cNvPr>
            <p:cNvSpPr>
              <a:spLocks/>
            </p:cNvSpPr>
            <p:nvPr/>
          </p:nvSpPr>
          <p:spPr bwMode="auto">
            <a:xfrm>
              <a:off x="8183803" y="802939"/>
              <a:ext cx="9525" cy="11112"/>
            </a:xfrm>
            <a:custGeom>
              <a:avLst/>
              <a:gdLst>
                <a:gd name="T0" fmla="*/ 50 w 101"/>
                <a:gd name="T1" fmla="*/ 100 h 101"/>
                <a:gd name="T2" fmla="*/ 0 w 101"/>
                <a:gd name="T3" fmla="*/ 50 h 101"/>
                <a:gd name="T4" fmla="*/ 50 w 101"/>
                <a:gd name="T5" fmla="*/ 0 h 101"/>
                <a:gd name="T6" fmla="*/ 100 w 101"/>
                <a:gd name="T7" fmla="*/ 50 h 101"/>
                <a:gd name="T8" fmla="*/ 50 w 101"/>
                <a:gd name="T9" fmla="*/ 10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" h="101">
                  <a:moveTo>
                    <a:pt x="50" y="100"/>
                  </a:moveTo>
                  <a:cubicBezTo>
                    <a:pt x="23" y="100"/>
                    <a:pt x="0" y="78"/>
                    <a:pt x="0" y="50"/>
                  </a:cubicBezTo>
                  <a:cubicBezTo>
                    <a:pt x="0" y="23"/>
                    <a:pt x="23" y="0"/>
                    <a:pt x="50" y="0"/>
                  </a:cubicBezTo>
                  <a:cubicBezTo>
                    <a:pt x="78" y="0"/>
                    <a:pt x="100" y="23"/>
                    <a:pt x="100" y="50"/>
                  </a:cubicBezTo>
                  <a:cubicBezTo>
                    <a:pt x="101" y="78"/>
                    <a:pt x="78" y="101"/>
                    <a:pt x="50" y="10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16" name="Freeform 21">
              <a:extLst>
                <a:ext uri="{FF2B5EF4-FFF2-40B4-BE49-F238E27FC236}">
                  <a16:creationId xmlns:a16="http://schemas.microsoft.com/office/drawing/2014/main" id="{A65F3EAC-1891-4862-9279-1FBE0C7487B9}"/>
                </a:ext>
              </a:extLst>
            </p:cNvPr>
            <p:cNvSpPr>
              <a:spLocks/>
            </p:cNvSpPr>
            <p:nvPr/>
          </p:nvSpPr>
          <p:spPr bwMode="auto">
            <a:xfrm>
              <a:off x="8183803" y="802939"/>
              <a:ext cx="9525" cy="11112"/>
            </a:xfrm>
            <a:custGeom>
              <a:avLst/>
              <a:gdLst>
                <a:gd name="T0" fmla="*/ 50 w 101"/>
                <a:gd name="T1" fmla="*/ 100 h 101"/>
                <a:gd name="T2" fmla="*/ 0 w 101"/>
                <a:gd name="T3" fmla="*/ 50 h 101"/>
                <a:gd name="T4" fmla="*/ 50 w 101"/>
                <a:gd name="T5" fmla="*/ 0 h 101"/>
                <a:gd name="T6" fmla="*/ 100 w 101"/>
                <a:gd name="T7" fmla="*/ 50 h 101"/>
                <a:gd name="T8" fmla="*/ 50 w 101"/>
                <a:gd name="T9" fmla="*/ 10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" h="101">
                  <a:moveTo>
                    <a:pt x="50" y="100"/>
                  </a:moveTo>
                  <a:cubicBezTo>
                    <a:pt x="23" y="100"/>
                    <a:pt x="0" y="78"/>
                    <a:pt x="0" y="50"/>
                  </a:cubicBezTo>
                  <a:cubicBezTo>
                    <a:pt x="0" y="23"/>
                    <a:pt x="23" y="0"/>
                    <a:pt x="50" y="0"/>
                  </a:cubicBezTo>
                  <a:cubicBezTo>
                    <a:pt x="78" y="0"/>
                    <a:pt x="100" y="23"/>
                    <a:pt x="100" y="50"/>
                  </a:cubicBezTo>
                  <a:cubicBezTo>
                    <a:pt x="101" y="78"/>
                    <a:pt x="78" y="101"/>
                    <a:pt x="50" y="10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17" name="Freeform 22">
              <a:extLst>
                <a:ext uri="{FF2B5EF4-FFF2-40B4-BE49-F238E27FC236}">
                  <a16:creationId xmlns:a16="http://schemas.microsoft.com/office/drawing/2014/main" id="{FC37BEDE-0EE2-4157-8C1A-90A2B90387C8}"/>
                </a:ext>
              </a:extLst>
            </p:cNvPr>
            <p:cNvSpPr>
              <a:spLocks/>
            </p:cNvSpPr>
            <p:nvPr/>
          </p:nvSpPr>
          <p:spPr bwMode="auto">
            <a:xfrm>
              <a:off x="8247303" y="802939"/>
              <a:ext cx="9525" cy="11112"/>
            </a:xfrm>
            <a:custGeom>
              <a:avLst/>
              <a:gdLst>
                <a:gd name="T0" fmla="*/ 90 w 110"/>
                <a:gd name="T1" fmla="*/ 91 h 110"/>
                <a:gd name="T2" fmla="*/ 19 w 110"/>
                <a:gd name="T3" fmla="*/ 91 h 110"/>
                <a:gd name="T4" fmla="*/ 19 w 110"/>
                <a:gd name="T5" fmla="*/ 20 h 110"/>
                <a:gd name="T6" fmla="*/ 90 w 110"/>
                <a:gd name="T7" fmla="*/ 20 h 110"/>
                <a:gd name="T8" fmla="*/ 90 w 110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1"/>
                  </a:moveTo>
                  <a:cubicBezTo>
                    <a:pt x="70" y="110"/>
                    <a:pt x="39" y="110"/>
                    <a:pt x="19" y="91"/>
                  </a:cubicBezTo>
                  <a:cubicBezTo>
                    <a:pt x="0" y="71"/>
                    <a:pt x="0" y="39"/>
                    <a:pt x="19" y="20"/>
                  </a:cubicBezTo>
                  <a:cubicBezTo>
                    <a:pt x="39" y="0"/>
                    <a:pt x="70" y="0"/>
                    <a:pt x="90" y="20"/>
                  </a:cubicBezTo>
                  <a:cubicBezTo>
                    <a:pt x="110" y="39"/>
                    <a:pt x="110" y="71"/>
                    <a:pt x="90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18" name="Freeform 23">
              <a:extLst>
                <a:ext uri="{FF2B5EF4-FFF2-40B4-BE49-F238E27FC236}">
                  <a16:creationId xmlns:a16="http://schemas.microsoft.com/office/drawing/2014/main" id="{DDB18095-4537-452C-A33F-3CA22A4C3D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247303" y="802939"/>
              <a:ext cx="9525" cy="11112"/>
            </a:xfrm>
            <a:custGeom>
              <a:avLst/>
              <a:gdLst>
                <a:gd name="T0" fmla="*/ 90 w 110"/>
                <a:gd name="T1" fmla="*/ 91 h 110"/>
                <a:gd name="T2" fmla="*/ 19 w 110"/>
                <a:gd name="T3" fmla="*/ 91 h 110"/>
                <a:gd name="T4" fmla="*/ 19 w 110"/>
                <a:gd name="T5" fmla="*/ 20 h 110"/>
                <a:gd name="T6" fmla="*/ 90 w 110"/>
                <a:gd name="T7" fmla="*/ 20 h 110"/>
                <a:gd name="T8" fmla="*/ 90 w 110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1"/>
                  </a:moveTo>
                  <a:cubicBezTo>
                    <a:pt x="70" y="110"/>
                    <a:pt x="39" y="110"/>
                    <a:pt x="19" y="91"/>
                  </a:cubicBezTo>
                  <a:cubicBezTo>
                    <a:pt x="0" y="71"/>
                    <a:pt x="0" y="39"/>
                    <a:pt x="19" y="20"/>
                  </a:cubicBezTo>
                  <a:cubicBezTo>
                    <a:pt x="39" y="0"/>
                    <a:pt x="70" y="0"/>
                    <a:pt x="90" y="20"/>
                  </a:cubicBezTo>
                  <a:cubicBezTo>
                    <a:pt x="110" y="39"/>
                    <a:pt x="110" y="71"/>
                    <a:pt x="90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19" name="Oval 24">
              <a:extLst>
                <a:ext uri="{FF2B5EF4-FFF2-40B4-BE49-F238E27FC236}">
                  <a16:creationId xmlns:a16="http://schemas.microsoft.com/office/drawing/2014/main" id="{FFEC0426-8E39-450D-B5D8-4305C16E4AB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10803" y="804526"/>
              <a:ext cx="9525" cy="9525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20" name="Oval 25">
              <a:extLst>
                <a:ext uri="{FF2B5EF4-FFF2-40B4-BE49-F238E27FC236}">
                  <a16:creationId xmlns:a16="http://schemas.microsoft.com/office/drawing/2014/main" id="{2D4BBFBD-9367-485E-93B8-3C5B353E0F6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10803" y="804526"/>
              <a:ext cx="9525" cy="9525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21" name="Freeform 26">
              <a:extLst>
                <a:ext uri="{FF2B5EF4-FFF2-40B4-BE49-F238E27FC236}">
                  <a16:creationId xmlns:a16="http://schemas.microsoft.com/office/drawing/2014/main" id="{7B5038AC-4384-4F34-A54A-AC6D846210CE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4303" y="802939"/>
              <a:ext cx="9525" cy="11112"/>
            </a:xfrm>
            <a:custGeom>
              <a:avLst/>
              <a:gdLst>
                <a:gd name="T0" fmla="*/ 91 w 111"/>
                <a:gd name="T1" fmla="*/ 90 h 110"/>
                <a:gd name="T2" fmla="*/ 20 w 111"/>
                <a:gd name="T3" fmla="*/ 90 h 110"/>
                <a:gd name="T4" fmla="*/ 20 w 111"/>
                <a:gd name="T5" fmla="*/ 19 h 110"/>
                <a:gd name="T6" fmla="*/ 91 w 111"/>
                <a:gd name="T7" fmla="*/ 19 h 110"/>
                <a:gd name="T8" fmla="*/ 91 w 111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" h="110">
                  <a:moveTo>
                    <a:pt x="91" y="90"/>
                  </a:moveTo>
                  <a:cubicBezTo>
                    <a:pt x="71" y="110"/>
                    <a:pt x="40" y="110"/>
                    <a:pt x="20" y="90"/>
                  </a:cubicBezTo>
                  <a:cubicBezTo>
                    <a:pt x="0" y="71"/>
                    <a:pt x="0" y="39"/>
                    <a:pt x="20" y="19"/>
                  </a:cubicBezTo>
                  <a:cubicBezTo>
                    <a:pt x="40" y="0"/>
                    <a:pt x="71" y="0"/>
                    <a:pt x="91" y="19"/>
                  </a:cubicBezTo>
                  <a:cubicBezTo>
                    <a:pt x="111" y="39"/>
                    <a:pt x="111" y="71"/>
                    <a:pt x="91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22" name="Freeform 27">
              <a:extLst>
                <a:ext uri="{FF2B5EF4-FFF2-40B4-BE49-F238E27FC236}">
                  <a16:creationId xmlns:a16="http://schemas.microsoft.com/office/drawing/2014/main" id="{462D016F-D1D1-446B-93BE-40FC949A8A8F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4303" y="802939"/>
              <a:ext cx="9525" cy="11112"/>
            </a:xfrm>
            <a:custGeom>
              <a:avLst/>
              <a:gdLst>
                <a:gd name="T0" fmla="*/ 91 w 111"/>
                <a:gd name="T1" fmla="*/ 90 h 110"/>
                <a:gd name="T2" fmla="*/ 20 w 111"/>
                <a:gd name="T3" fmla="*/ 90 h 110"/>
                <a:gd name="T4" fmla="*/ 20 w 111"/>
                <a:gd name="T5" fmla="*/ 19 h 110"/>
                <a:gd name="T6" fmla="*/ 91 w 111"/>
                <a:gd name="T7" fmla="*/ 19 h 110"/>
                <a:gd name="T8" fmla="*/ 91 w 111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" h="110">
                  <a:moveTo>
                    <a:pt x="91" y="90"/>
                  </a:moveTo>
                  <a:cubicBezTo>
                    <a:pt x="71" y="110"/>
                    <a:pt x="40" y="110"/>
                    <a:pt x="20" y="90"/>
                  </a:cubicBezTo>
                  <a:cubicBezTo>
                    <a:pt x="0" y="71"/>
                    <a:pt x="0" y="39"/>
                    <a:pt x="20" y="19"/>
                  </a:cubicBezTo>
                  <a:cubicBezTo>
                    <a:pt x="40" y="0"/>
                    <a:pt x="71" y="0"/>
                    <a:pt x="91" y="19"/>
                  </a:cubicBezTo>
                  <a:cubicBezTo>
                    <a:pt x="111" y="39"/>
                    <a:pt x="111" y="71"/>
                    <a:pt x="91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23" name="Freeform 28">
              <a:extLst>
                <a:ext uri="{FF2B5EF4-FFF2-40B4-BE49-F238E27FC236}">
                  <a16:creationId xmlns:a16="http://schemas.microsoft.com/office/drawing/2014/main" id="{63BAF74C-3CD1-468A-8CB9-B3F3F8E4E9A1}"/>
                </a:ext>
              </a:extLst>
            </p:cNvPr>
            <p:cNvSpPr>
              <a:spLocks/>
            </p:cNvSpPr>
            <p:nvPr/>
          </p:nvSpPr>
          <p:spPr bwMode="auto">
            <a:xfrm>
              <a:off x="8437803" y="802939"/>
              <a:ext cx="11113" cy="11112"/>
            </a:xfrm>
            <a:custGeom>
              <a:avLst/>
              <a:gdLst>
                <a:gd name="T0" fmla="*/ 90 w 110"/>
                <a:gd name="T1" fmla="*/ 90 h 110"/>
                <a:gd name="T2" fmla="*/ 19 w 110"/>
                <a:gd name="T3" fmla="*/ 90 h 110"/>
                <a:gd name="T4" fmla="*/ 19 w 110"/>
                <a:gd name="T5" fmla="*/ 19 h 110"/>
                <a:gd name="T6" fmla="*/ 90 w 110"/>
                <a:gd name="T7" fmla="*/ 19 h 110"/>
                <a:gd name="T8" fmla="*/ 90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0"/>
                  </a:moveTo>
                  <a:cubicBezTo>
                    <a:pt x="71" y="110"/>
                    <a:pt x="39" y="110"/>
                    <a:pt x="19" y="90"/>
                  </a:cubicBezTo>
                  <a:cubicBezTo>
                    <a:pt x="0" y="71"/>
                    <a:pt x="0" y="39"/>
                    <a:pt x="19" y="19"/>
                  </a:cubicBezTo>
                  <a:cubicBezTo>
                    <a:pt x="39" y="0"/>
                    <a:pt x="71" y="0"/>
                    <a:pt x="90" y="19"/>
                  </a:cubicBezTo>
                  <a:cubicBezTo>
                    <a:pt x="110" y="39"/>
                    <a:pt x="110" y="71"/>
                    <a:pt x="90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24" name="Freeform 29">
              <a:extLst>
                <a:ext uri="{FF2B5EF4-FFF2-40B4-BE49-F238E27FC236}">
                  <a16:creationId xmlns:a16="http://schemas.microsoft.com/office/drawing/2014/main" id="{1FB62DCF-4E48-49BC-8267-74661AEC0935}"/>
                </a:ext>
              </a:extLst>
            </p:cNvPr>
            <p:cNvSpPr>
              <a:spLocks/>
            </p:cNvSpPr>
            <p:nvPr/>
          </p:nvSpPr>
          <p:spPr bwMode="auto">
            <a:xfrm>
              <a:off x="8437803" y="802939"/>
              <a:ext cx="11113" cy="11112"/>
            </a:xfrm>
            <a:custGeom>
              <a:avLst/>
              <a:gdLst>
                <a:gd name="T0" fmla="*/ 90 w 110"/>
                <a:gd name="T1" fmla="*/ 90 h 110"/>
                <a:gd name="T2" fmla="*/ 19 w 110"/>
                <a:gd name="T3" fmla="*/ 90 h 110"/>
                <a:gd name="T4" fmla="*/ 19 w 110"/>
                <a:gd name="T5" fmla="*/ 19 h 110"/>
                <a:gd name="T6" fmla="*/ 90 w 110"/>
                <a:gd name="T7" fmla="*/ 19 h 110"/>
                <a:gd name="T8" fmla="*/ 90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0"/>
                  </a:moveTo>
                  <a:cubicBezTo>
                    <a:pt x="71" y="110"/>
                    <a:pt x="39" y="110"/>
                    <a:pt x="19" y="90"/>
                  </a:cubicBezTo>
                  <a:cubicBezTo>
                    <a:pt x="0" y="71"/>
                    <a:pt x="0" y="39"/>
                    <a:pt x="19" y="19"/>
                  </a:cubicBezTo>
                  <a:cubicBezTo>
                    <a:pt x="39" y="0"/>
                    <a:pt x="71" y="0"/>
                    <a:pt x="90" y="19"/>
                  </a:cubicBezTo>
                  <a:cubicBezTo>
                    <a:pt x="110" y="39"/>
                    <a:pt x="110" y="71"/>
                    <a:pt x="90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25" name="Freeform 30">
              <a:extLst>
                <a:ext uri="{FF2B5EF4-FFF2-40B4-BE49-F238E27FC236}">
                  <a16:creationId xmlns:a16="http://schemas.microsoft.com/office/drawing/2014/main" id="{C11D1195-23E2-4E6F-BA86-996E437DB027}"/>
                </a:ext>
              </a:extLst>
            </p:cNvPr>
            <p:cNvSpPr>
              <a:spLocks/>
            </p:cNvSpPr>
            <p:nvPr/>
          </p:nvSpPr>
          <p:spPr bwMode="auto">
            <a:xfrm>
              <a:off x="8501303" y="804526"/>
              <a:ext cx="9525" cy="9525"/>
            </a:xfrm>
            <a:custGeom>
              <a:avLst/>
              <a:gdLst>
                <a:gd name="T0" fmla="*/ 50 w 100"/>
                <a:gd name="T1" fmla="*/ 100 h 100"/>
                <a:gd name="T2" fmla="*/ 0 w 100"/>
                <a:gd name="T3" fmla="*/ 50 h 100"/>
                <a:gd name="T4" fmla="*/ 50 w 100"/>
                <a:gd name="T5" fmla="*/ 0 h 100"/>
                <a:gd name="T6" fmla="*/ 100 w 100"/>
                <a:gd name="T7" fmla="*/ 50 h 100"/>
                <a:gd name="T8" fmla="*/ 50 w 100"/>
                <a:gd name="T9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00">
                  <a:moveTo>
                    <a:pt x="50" y="100"/>
                  </a:moveTo>
                  <a:cubicBezTo>
                    <a:pt x="23" y="100"/>
                    <a:pt x="0" y="77"/>
                    <a:pt x="0" y="50"/>
                  </a:cubicBezTo>
                  <a:cubicBezTo>
                    <a:pt x="0" y="22"/>
                    <a:pt x="23" y="0"/>
                    <a:pt x="50" y="0"/>
                  </a:cubicBezTo>
                  <a:cubicBezTo>
                    <a:pt x="77" y="0"/>
                    <a:pt x="100" y="22"/>
                    <a:pt x="100" y="50"/>
                  </a:cubicBezTo>
                  <a:cubicBezTo>
                    <a:pt x="100" y="77"/>
                    <a:pt x="78" y="99"/>
                    <a:pt x="50" y="10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26" name="Freeform 31">
              <a:extLst>
                <a:ext uri="{FF2B5EF4-FFF2-40B4-BE49-F238E27FC236}">
                  <a16:creationId xmlns:a16="http://schemas.microsoft.com/office/drawing/2014/main" id="{E99ADAAD-2490-4037-822F-496F13A96B68}"/>
                </a:ext>
              </a:extLst>
            </p:cNvPr>
            <p:cNvSpPr>
              <a:spLocks/>
            </p:cNvSpPr>
            <p:nvPr/>
          </p:nvSpPr>
          <p:spPr bwMode="auto">
            <a:xfrm>
              <a:off x="8501303" y="804526"/>
              <a:ext cx="9525" cy="9525"/>
            </a:xfrm>
            <a:custGeom>
              <a:avLst/>
              <a:gdLst>
                <a:gd name="T0" fmla="*/ 50 w 100"/>
                <a:gd name="T1" fmla="*/ 100 h 100"/>
                <a:gd name="T2" fmla="*/ 0 w 100"/>
                <a:gd name="T3" fmla="*/ 50 h 100"/>
                <a:gd name="T4" fmla="*/ 50 w 100"/>
                <a:gd name="T5" fmla="*/ 0 h 100"/>
                <a:gd name="T6" fmla="*/ 100 w 100"/>
                <a:gd name="T7" fmla="*/ 50 h 100"/>
                <a:gd name="T8" fmla="*/ 50 w 100"/>
                <a:gd name="T9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00">
                  <a:moveTo>
                    <a:pt x="50" y="100"/>
                  </a:moveTo>
                  <a:cubicBezTo>
                    <a:pt x="23" y="100"/>
                    <a:pt x="0" y="77"/>
                    <a:pt x="0" y="50"/>
                  </a:cubicBezTo>
                  <a:cubicBezTo>
                    <a:pt x="0" y="22"/>
                    <a:pt x="23" y="0"/>
                    <a:pt x="50" y="0"/>
                  </a:cubicBezTo>
                  <a:cubicBezTo>
                    <a:pt x="77" y="0"/>
                    <a:pt x="100" y="22"/>
                    <a:pt x="100" y="50"/>
                  </a:cubicBezTo>
                  <a:cubicBezTo>
                    <a:pt x="100" y="77"/>
                    <a:pt x="78" y="99"/>
                    <a:pt x="50" y="10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27" name="Freeform 32">
              <a:extLst>
                <a:ext uri="{FF2B5EF4-FFF2-40B4-BE49-F238E27FC236}">
                  <a16:creationId xmlns:a16="http://schemas.microsoft.com/office/drawing/2014/main" id="{90808A12-B9A3-47AA-8DAC-3B4F97D0628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64803" y="802939"/>
              <a:ext cx="11113" cy="11112"/>
            </a:xfrm>
            <a:custGeom>
              <a:avLst/>
              <a:gdLst>
                <a:gd name="T0" fmla="*/ 90 w 110"/>
                <a:gd name="T1" fmla="*/ 91 h 110"/>
                <a:gd name="T2" fmla="*/ 19 w 110"/>
                <a:gd name="T3" fmla="*/ 91 h 110"/>
                <a:gd name="T4" fmla="*/ 19 w 110"/>
                <a:gd name="T5" fmla="*/ 20 h 110"/>
                <a:gd name="T6" fmla="*/ 90 w 110"/>
                <a:gd name="T7" fmla="*/ 20 h 110"/>
                <a:gd name="T8" fmla="*/ 90 w 110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1"/>
                  </a:moveTo>
                  <a:cubicBezTo>
                    <a:pt x="70" y="110"/>
                    <a:pt x="39" y="110"/>
                    <a:pt x="19" y="91"/>
                  </a:cubicBezTo>
                  <a:cubicBezTo>
                    <a:pt x="0" y="71"/>
                    <a:pt x="0" y="39"/>
                    <a:pt x="19" y="20"/>
                  </a:cubicBezTo>
                  <a:cubicBezTo>
                    <a:pt x="39" y="0"/>
                    <a:pt x="70" y="0"/>
                    <a:pt x="90" y="20"/>
                  </a:cubicBezTo>
                  <a:cubicBezTo>
                    <a:pt x="110" y="39"/>
                    <a:pt x="110" y="71"/>
                    <a:pt x="90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28" name="Freeform 33">
              <a:extLst>
                <a:ext uri="{FF2B5EF4-FFF2-40B4-BE49-F238E27FC236}">
                  <a16:creationId xmlns:a16="http://schemas.microsoft.com/office/drawing/2014/main" id="{8F4EE230-6078-4856-BD60-A19B3441C4F6}"/>
                </a:ext>
              </a:extLst>
            </p:cNvPr>
            <p:cNvSpPr>
              <a:spLocks/>
            </p:cNvSpPr>
            <p:nvPr/>
          </p:nvSpPr>
          <p:spPr bwMode="auto">
            <a:xfrm>
              <a:off x="8564803" y="802939"/>
              <a:ext cx="11113" cy="11112"/>
            </a:xfrm>
            <a:custGeom>
              <a:avLst/>
              <a:gdLst>
                <a:gd name="T0" fmla="*/ 90 w 110"/>
                <a:gd name="T1" fmla="*/ 91 h 110"/>
                <a:gd name="T2" fmla="*/ 19 w 110"/>
                <a:gd name="T3" fmla="*/ 91 h 110"/>
                <a:gd name="T4" fmla="*/ 19 w 110"/>
                <a:gd name="T5" fmla="*/ 20 h 110"/>
                <a:gd name="T6" fmla="*/ 90 w 110"/>
                <a:gd name="T7" fmla="*/ 20 h 110"/>
                <a:gd name="T8" fmla="*/ 90 w 110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1"/>
                  </a:moveTo>
                  <a:cubicBezTo>
                    <a:pt x="70" y="110"/>
                    <a:pt x="39" y="110"/>
                    <a:pt x="19" y="91"/>
                  </a:cubicBezTo>
                  <a:cubicBezTo>
                    <a:pt x="0" y="71"/>
                    <a:pt x="0" y="39"/>
                    <a:pt x="19" y="20"/>
                  </a:cubicBezTo>
                  <a:cubicBezTo>
                    <a:pt x="39" y="0"/>
                    <a:pt x="70" y="0"/>
                    <a:pt x="90" y="20"/>
                  </a:cubicBezTo>
                  <a:cubicBezTo>
                    <a:pt x="110" y="39"/>
                    <a:pt x="110" y="71"/>
                    <a:pt x="90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29" name="Freeform 34">
              <a:extLst>
                <a:ext uri="{FF2B5EF4-FFF2-40B4-BE49-F238E27FC236}">
                  <a16:creationId xmlns:a16="http://schemas.microsoft.com/office/drawing/2014/main" id="{26233368-E34A-4AC4-92AB-BEE32316BC6C}"/>
                </a:ext>
              </a:extLst>
            </p:cNvPr>
            <p:cNvSpPr>
              <a:spLocks/>
            </p:cNvSpPr>
            <p:nvPr/>
          </p:nvSpPr>
          <p:spPr bwMode="auto">
            <a:xfrm>
              <a:off x="8628303" y="802939"/>
              <a:ext cx="11113" cy="11112"/>
            </a:xfrm>
            <a:custGeom>
              <a:avLst/>
              <a:gdLst>
                <a:gd name="T0" fmla="*/ 90 w 110"/>
                <a:gd name="T1" fmla="*/ 91 h 110"/>
                <a:gd name="T2" fmla="*/ 19 w 110"/>
                <a:gd name="T3" fmla="*/ 91 h 110"/>
                <a:gd name="T4" fmla="*/ 19 w 110"/>
                <a:gd name="T5" fmla="*/ 20 h 110"/>
                <a:gd name="T6" fmla="*/ 90 w 110"/>
                <a:gd name="T7" fmla="*/ 20 h 110"/>
                <a:gd name="T8" fmla="*/ 90 w 110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1"/>
                  </a:moveTo>
                  <a:cubicBezTo>
                    <a:pt x="71" y="110"/>
                    <a:pt x="39" y="110"/>
                    <a:pt x="19" y="91"/>
                  </a:cubicBezTo>
                  <a:cubicBezTo>
                    <a:pt x="0" y="71"/>
                    <a:pt x="0" y="39"/>
                    <a:pt x="19" y="20"/>
                  </a:cubicBezTo>
                  <a:cubicBezTo>
                    <a:pt x="39" y="0"/>
                    <a:pt x="71" y="0"/>
                    <a:pt x="90" y="20"/>
                  </a:cubicBezTo>
                  <a:cubicBezTo>
                    <a:pt x="110" y="39"/>
                    <a:pt x="110" y="71"/>
                    <a:pt x="90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30" name="Freeform 35">
              <a:extLst>
                <a:ext uri="{FF2B5EF4-FFF2-40B4-BE49-F238E27FC236}">
                  <a16:creationId xmlns:a16="http://schemas.microsoft.com/office/drawing/2014/main" id="{1B4CE739-3129-46E2-9E89-D5ABB0C7714C}"/>
                </a:ext>
              </a:extLst>
            </p:cNvPr>
            <p:cNvSpPr>
              <a:spLocks/>
            </p:cNvSpPr>
            <p:nvPr/>
          </p:nvSpPr>
          <p:spPr bwMode="auto">
            <a:xfrm>
              <a:off x="8628303" y="802939"/>
              <a:ext cx="11113" cy="11112"/>
            </a:xfrm>
            <a:custGeom>
              <a:avLst/>
              <a:gdLst>
                <a:gd name="T0" fmla="*/ 90 w 110"/>
                <a:gd name="T1" fmla="*/ 91 h 110"/>
                <a:gd name="T2" fmla="*/ 19 w 110"/>
                <a:gd name="T3" fmla="*/ 91 h 110"/>
                <a:gd name="T4" fmla="*/ 19 w 110"/>
                <a:gd name="T5" fmla="*/ 20 h 110"/>
                <a:gd name="T6" fmla="*/ 90 w 110"/>
                <a:gd name="T7" fmla="*/ 20 h 110"/>
                <a:gd name="T8" fmla="*/ 90 w 110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1"/>
                  </a:moveTo>
                  <a:cubicBezTo>
                    <a:pt x="71" y="110"/>
                    <a:pt x="39" y="110"/>
                    <a:pt x="19" y="91"/>
                  </a:cubicBezTo>
                  <a:cubicBezTo>
                    <a:pt x="0" y="71"/>
                    <a:pt x="0" y="39"/>
                    <a:pt x="19" y="20"/>
                  </a:cubicBezTo>
                  <a:cubicBezTo>
                    <a:pt x="39" y="0"/>
                    <a:pt x="71" y="0"/>
                    <a:pt x="90" y="20"/>
                  </a:cubicBezTo>
                  <a:cubicBezTo>
                    <a:pt x="110" y="39"/>
                    <a:pt x="110" y="71"/>
                    <a:pt x="90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31" name="Freeform 36">
              <a:extLst>
                <a:ext uri="{FF2B5EF4-FFF2-40B4-BE49-F238E27FC236}">
                  <a16:creationId xmlns:a16="http://schemas.microsoft.com/office/drawing/2014/main" id="{A166CD68-F96D-42B1-8DAD-1CF97126C543}"/>
                </a:ext>
              </a:extLst>
            </p:cNvPr>
            <p:cNvSpPr>
              <a:spLocks/>
            </p:cNvSpPr>
            <p:nvPr/>
          </p:nvSpPr>
          <p:spPr bwMode="auto">
            <a:xfrm>
              <a:off x="8693390" y="802939"/>
              <a:ext cx="9525" cy="11112"/>
            </a:xfrm>
            <a:custGeom>
              <a:avLst/>
              <a:gdLst>
                <a:gd name="T0" fmla="*/ 50 w 101"/>
                <a:gd name="T1" fmla="*/ 100 h 101"/>
                <a:gd name="T2" fmla="*/ 0 w 101"/>
                <a:gd name="T3" fmla="*/ 50 h 101"/>
                <a:gd name="T4" fmla="*/ 50 w 101"/>
                <a:gd name="T5" fmla="*/ 0 h 101"/>
                <a:gd name="T6" fmla="*/ 100 w 101"/>
                <a:gd name="T7" fmla="*/ 50 h 101"/>
                <a:gd name="T8" fmla="*/ 50 w 101"/>
                <a:gd name="T9" fmla="*/ 10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" h="101">
                  <a:moveTo>
                    <a:pt x="50" y="100"/>
                  </a:moveTo>
                  <a:cubicBezTo>
                    <a:pt x="23" y="100"/>
                    <a:pt x="0" y="78"/>
                    <a:pt x="0" y="50"/>
                  </a:cubicBezTo>
                  <a:cubicBezTo>
                    <a:pt x="0" y="23"/>
                    <a:pt x="23" y="0"/>
                    <a:pt x="50" y="0"/>
                  </a:cubicBezTo>
                  <a:cubicBezTo>
                    <a:pt x="77" y="0"/>
                    <a:pt x="100" y="23"/>
                    <a:pt x="100" y="50"/>
                  </a:cubicBezTo>
                  <a:cubicBezTo>
                    <a:pt x="101" y="78"/>
                    <a:pt x="78" y="101"/>
                    <a:pt x="50" y="10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32" name="Freeform 37">
              <a:extLst>
                <a:ext uri="{FF2B5EF4-FFF2-40B4-BE49-F238E27FC236}">
                  <a16:creationId xmlns:a16="http://schemas.microsoft.com/office/drawing/2014/main" id="{5030E564-0BD3-447A-AAE3-84B903701CDC}"/>
                </a:ext>
              </a:extLst>
            </p:cNvPr>
            <p:cNvSpPr>
              <a:spLocks/>
            </p:cNvSpPr>
            <p:nvPr/>
          </p:nvSpPr>
          <p:spPr bwMode="auto">
            <a:xfrm>
              <a:off x="8693390" y="802939"/>
              <a:ext cx="9525" cy="11112"/>
            </a:xfrm>
            <a:custGeom>
              <a:avLst/>
              <a:gdLst>
                <a:gd name="T0" fmla="*/ 50 w 101"/>
                <a:gd name="T1" fmla="*/ 100 h 101"/>
                <a:gd name="T2" fmla="*/ 0 w 101"/>
                <a:gd name="T3" fmla="*/ 50 h 101"/>
                <a:gd name="T4" fmla="*/ 50 w 101"/>
                <a:gd name="T5" fmla="*/ 0 h 101"/>
                <a:gd name="T6" fmla="*/ 100 w 101"/>
                <a:gd name="T7" fmla="*/ 50 h 101"/>
                <a:gd name="T8" fmla="*/ 50 w 101"/>
                <a:gd name="T9" fmla="*/ 10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" h="101">
                  <a:moveTo>
                    <a:pt x="50" y="100"/>
                  </a:moveTo>
                  <a:cubicBezTo>
                    <a:pt x="23" y="100"/>
                    <a:pt x="0" y="78"/>
                    <a:pt x="0" y="50"/>
                  </a:cubicBezTo>
                  <a:cubicBezTo>
                    <a:pt x="0" y="23"/>
                    <a:pt x="23" y="0"/>
                    <a:pt x="50" y="0"/>
                  </a:cubicBezTo>
                  <a:cubicBezTo>
                    <a:pt x="77" y="0"/>
                    <a:pt x="100" y="23"/>
                    <a:pt x="100" y="50"/>
                  </a:cubicBezTo>
                  <a:cubicBezTo>
                    <a:pt x="101" y="78"/>
                    <a:pt x="78" y="101"/>
                    <a:pt x="50" y="10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33" name="Freeform 38">
              <a:extLst>
                <a:ext uri="{FF2B5EF4-FFF2-40B4-BE49-F238E27FC236}">
                  <a16:creationId xmlns:a16="http://schemas.microsoft.com/office/drawing/2014/main" id="{E271C28F-6C36-44D5-A484-CE54F9D38D9D}"/>
                </a:ext>
              </a:extLst>
            </p:cNvPr>
            <p:cNvSpPr>
              <a:spLocks/>
            </p:cNvSpPr>
            <p:nvPr/>
          </p:nvSpPr>
          <p:spPr bwMode="auto">
            <a:xfrm>
              <a:off x="8755303" y="802939"/>
              <a:ext cx="11113" cy="11112"/>
            </a:xfrm>
            <a:custGeom>
              <a:avLst/>
              <a:gdLst>
                <a:gd name="T0" fmla="*/ 91 w 110"/>
                <a:gd name="T1" fmla="*/ 91 h 110"/>
                <a:gd name="T2" fmla="*/ 20 w 110"/>
                <a:gd name="T3" fmla="*/ 91 h 110"/>
                <a:gd name="T4" fmla="*/ 20 w 110"/>
                <a:gd name="T5" fmla="*/ 20 h 110"/>
                <a:gd name="T6" fmla="*/ 91 w 110"/>
                <a:gd name="T7" fmla="*/ 20 h 110"/>
                <a:gd name="T8" fmla="*/ 91 w 110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1" y="91"/>
                  </a:moveTo>
                  <a:cubicBezTo>
                    <a:pt x="71" y="110"/>
                    <a:pt x="39" y="110"/>
                    <a:pt x="20" y="91"/>
                  </a:cubicBezTo>
                  <a:cubicBezTo>
                    <a:pt x="0" y="71"/>
                    <a:pt x="0" y="39"/>
                    <a:pt x="20" y="20"/>
                  </a:cubicBezTo>
                  <a:cubicBezTo>
                    <a:pt x="39" y="0"/>
                    <a:pt x="71" y="0"/>
                    <a:pt x="91" y="20"/>
                  </a:cubicBezTo>
                  <a:cubicBezTo>
                    <a:pt x="110" y="39"/>
                    <a:pt x="110" y="71"/>
                    <a:pt x="91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34" name="Freeform 39">
              <a:extLst>
                <a:ext uri="{FF2B5EF4-FFF2-40B4-BE49-F238E27FC236}">
                  <a16:creationId xmlns:a16="http://schemas.microsoft.com/office/drawing/2014/main" id="{24051647-D3E0-4935-9B31-869463EDD42E}"/>
                </a:ext>
              </a:extLst>
            </p:cNvPr>
            <p:cNvSpPr>
              <a:spLocks/>
            </p:cNvSpPr>
            <p:nvPr/>
          </p:nvSpPr>
          <p:spPr bwMode="auto">
            <a:xfrm>
              <a:off x="8755303" y="802939"/>
              <a:ext cx="11113" cy="11112"/>
            </a:xfrm>
            <a:custGeom>
              <a:avLst/>
              <a:gdLst>
                <a:gd name="T0" fmla="*/ 91 w 110"/>
                <a:gd name="T1" fmla="*/ 91 h 110"/>
                <a:gd name="T2" fmla="*/ 20 w 110"/>
                <a:gd name="T3" fmla="*/ 91 h 110"/>
                <a:gd name="T4" fmla="*/ 20 w 110"/>
                <a:gd name="T5" fmla="*/ 20 h 110"/>
                <a:gd name="T6" fmla="*/ 91 w 110"/>
                <a:gd name="T7" fmla="*/ 20 h 110"/>
                <a:gd name="T8" fmla="*/ 91 w 110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1" y="91"/>
                  </a:moveTo>
                  <a:cubicBezTo>
                    <a:pt x="71" y="110"/>
                    <a:pt x="39" y="110"/>
                    <a:pt x="20" y="91"/>
                  </a:cubicBezTo>
                  <a:cubicBezTo>
                    <a:pt x="0" y="71"/>
                    <a:pt x="0" y="39"/>
                    <a:pt x="20" y="20"/>
                  </a:cubicBezTo>
                  <a:cubicBezTo>
                    <a:pt x="39" y="0"/>
                    <a:pt x="71" y="0"/>
                    <a:pt x="91" y="20"/>
                  </a:cubicBezTo>
                  <a:cubicBezTo>
                    <a:pt x="110" y="39"/>
                    <a:pt x="110" y="71"/>
                    <a:pt x="91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35" name="Freeform 40">
              <a:extLst>
                <a:ext uri="{FF2B5EF4-FFF2-40B4-BE49-F238E27FC236}">
                  <a16:creationId xmlns:a16="http://schemas.microsoft.com/office/drawing/2014/main" id="{DDD8E867-E545-46B6-8E63-0D390F0658B7}"/>
                </a:ext>
              </a:extLst>
            </p:cNvPr>
            <p:cNvSpPr>
              <a:spLocks/>
            </p:cNvSpPr>
            <p:nvPr/>
          </p:nvSpPr>
          <p:spPr bwMode="auto">
            <a:xfrm>
              <a:off x="8820390" y="802939"/>
              <a:ext cx="9525" cy="11112"/>
            </a:xfrm>
            <a:custGeom>
              <a:avLst/>
              <a:gdLst>
                <a:gd name="T0" fmla="*/ 91 w 111"/>
                <a:gd name="T1" fmla="*/ 91 h 110"/>
                <a:gd name="T2" fmla="*/ 20 w 111"/>
                <a:gd name="T3" fmla="*/ 91 h 110"/>
                <a:gd name="T4" fmla="*/ 20 w 111"/>
                <a:gd name="T5" fmla="*/ 20 h 110"/>
                <a:gd name="T6" fmla="*/ 91 w 111"/>
                <a:gd name="T7" fmla="*/ 20 h 110"/>
                <a:gd name="T8" fmla="*/ 91 w 111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" h="110">
                  <a:moveTo>
                    <a:pt x="91" y="91"/>
                  </a:moveTo>
                  <a:cubicBezTo>
                    <a:pt x="71" y="110"/>
                    <a:pt x="40" y="110"/>
                    <a:pt x="20" y="91"/>
                  </a:cubicBezTo>
                  <a:cubicBezTo>
                    <a:pt x="0" y="71"/>
                    <a:pt x="0" y="39"/>
                    <a:pt x="20" y="20"/>
                  </a:cubicBezTo>
                  <a:cubicBezTo>
                    <a:pt x="40" y="0"/>
                    <a:pt x="71" y="0"/>
                    <a:pt x="91" y="20"/>
                  </a:cubicBezTo>
                  <a:cubicBezTo>
                    <a:pt x="111" y="39"/>
                    <a:pt x="111" y="71"/>
                    <a:pt x="91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36" name="Freeform 41">
              <a:extLst>
                <a:ext uri="{FF2B5EF4-FFF2-40B4-BE49-F238E27FC236}">
                  <a16:creationId xmlns:a16="http://schemas.microsoft.com/office/drawing/2014/main" id="{9F48071F-27D2-4673-9249-3661A42E6BAD}"/>
                </a:ext>
              </a:extLst>
            </p:cNvPr>
            <p:cNvSpPr>
              <a:spLocks/>
            </p:cNvSpPr>
            <p:nvPr/>
          </p:nvSpPr>
          <p:spPr bwMode="auto">
            <a:xfrm>
              <a:off x="8820390" y="802939"/>
              <a:ext cx="9525" cy="11112"/>
            </a:xfrm>
            <a:custGeom>
              <a:avLst/>
              <a:gdLst>
                <a:gd name="T0" fmla="*/ 91 w 111"/>
                <a:gd name="T1" fmla="*/ 91 h 110"/>
                <a:gd name="T2" fmla="*/ 20 w 111"/>
                <a:gd name="T3" fmla="*/ 91 h 110"/>
                <a:gd name="T4" fmla="*/ 20 w 111"/>
                <a:gd name="T5" fmla="*/ 20 h 110"/>
                <a:gd name="T6" fmla="*/ 91 w 111"/>
                <a:gd name="T7" fmla="*/ 20 h 110"/>
                <a:gd name="T8" fmla="*/ 91 w 111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" h="110">
                  <a:moveTo>
                    <a:pt x="91" y="91"/>
                  </a:moveTo>
                  <a:cubicBezTo>
                    <a:pt x="71" y="110"/>
                    <a:pt x="40" y="110"/>
                    <a:pt x="20" y="91"/>
                  </a:cubicBezTo>
                  <a:cubicBezTo>
                    <a:pt x="0" y="71"/>
                    <a:pt x="0" y="39"/>
                    <a:pt x="20" y="20"/>
                  </a:cubicBezTo>
                  <a:cubicBezTo>
                    <a:pt x="40" y="0"/>
                    <a:pt x="71" y="0"/>
                    <a:pt x="91" y="20"/>
                  </a:cubicBezTo>
                  <a:cubicBezTo>
                    <a:pt x="111" y="39"/>
                    <a:pt x="111" y="71"/>
                    <a:pt x="91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37" name="Freeform 42">
              <a:extLst>
                <a:ext uri="{FF2B5EF4-FFF2-40B4-BE49-F238E27FC236}">
                  <a16:creationId xmlns:a16="http://schemas.microsoft.com/office/drawing/2014/main" id="{21BE8B48-AF7B-41E0-94FC-1FB33348CCAA}"/>
                </a:ext>
              </a:extLst>
            </p:cNvPr>
            <p:cNvSpPr>
              <a:spLocks/>
            </p:cNvSpPr>
            <p:nvPr/>
          </p:nvSpPr>
          <p:spPr bwMode="auto">
            <a:xfrm>
              <a:off x="8883890" y="802939"/>
              <a:ext cx="9525" cy="11112"/>
            </a:xfrm>
            <a:custGeom>
              <a:avLst/>
              <a:gdLst>
                <a:gd name="T0" fmla="*/ 50 w 100"/>
                <a:gd name="T1" fmla="*/ 101 h 101"/>
                <a:gd name="T2" fmla="*/ 0 w 100"/>
                <a:gd name="T3" fmla="*/ 51 h 101"/>
                <a:gd name="T4" fmla="*/ 50 w 100"/>
                <a:gd name="T5" fmla="*/ 1 h 101"/>
                <a:gd name="T6" fmla="*/ 100 w 100"/>
                <a:gd name="T7" fmla="*/ 51 h 101"/>
                <a:gd name="T8" fmla="*/ 50 w 100"/>
                <a:gd name="T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01">
                  <a:moveTo>
                    <a:pt x="50" y="101"/>
                  </a:moveTo>
                  <a:cubicBezTo>
                    <a:pt x="23" y="101"/>
                    <a:pt x="0" y="78"/>
                    <a:pt x="0" y="51"/>
                  </a:cubicBezTo>
                  <a:cubicBezTo>
                    <a:pt x="0" y="23"/>
                    <a:pt x="23" y="1"/>
                    <a:pt x="50" y="1"/>
                  </a:cubicBezTo>
                  <a:cubicBezTo>
                    <a:pt x="78" y="0"/>
                    <a:pt x="100" y="23"/>
                    <a:pt x="100" y="51"/>
                  </a:cubicBezTo>
                  <a:cubicBezTo>
                    <a:pt x="100" y="78"/>
                    <a:pt x="78" y="101"/>
                    <a:pt x="50" y="10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38" name="Freeform 43">
              <a:extLst>
                <a:ext uri="{FF2B5EF4-FFF2-40B4-BE49-F238E27FC236}">
                  <a16:creationId xmlns:a16="http://schemas.microsoft.com/office/drawing/2014/main" id="{9B9046CA-140B-4E8E-BA73-F5ACBE1364CB}"/>
                </a:ext>
              </a:extLst>
            </p:cNvPr>
            <p:cNvSpPr>
              <a:spLocks/>
            </p:cNvSpPr>
            <p:nvPr/>
          </p:nvSpPr>
          <p:spPr bwMode="auto">
            <a:xfrm>
              <a:off x="8883890" y="802939"/>
              <a:ext cx="9525" cy="11112"/>
            </a:xfrm>
            <a:custGeom>
              <a:avLst/>
              <a:gdLst>
                <a:gd name="T0" fmla="*/ 50 w 100"/>
                <a:gd name="T1" fmla="*/ 101 h 101"/>
                <a:gd name="T2" fmla="*/ 0 w 100"/>
                <a:gd name="T3" fmla="*/ 51 h 101"/>
                <a:gd name="T4" fmla="*/ 50 w 100"/>
                <a:gd name="T5" fmla="*/ 1 h 101"/>
                <a:gd name="T6" fmla="*/ 100 w 100"/>
                <a:gd name="T7" fmla="*/ 51 h 101"/>
                <a:gd name="T8" fmla="*/ 50 w 100"/>
                <a:gd name="T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01">
                  <a:moveTo>
                    <a:pt x="50" y="101"/>
                  </a:moveTo>
                  <a:cubicBezTo>
                    <a:pt x="23" y="101"/>
                    <a:pt x="0" y="78"/>
                    <a:pt x="0" y="51"/>
                  </a:cubicBezTo>
                  <a:cubicBezTo>
                    <a:pt x="0" y="23"/>
                    <a:pt x="23" y="1"/>
                    <a:pt x="50" y="1"/>
                  </a:cubicBezTo>
                  <a:cubicBezTo>
                    <a:pt x="78" y="0"/>
                    <a:pt x="100" y="23"/>
                    <a:pt x="100" y="51"/>
                  </a:cubicBezTo>
                  <a:cubicBezTo>
                    <a:pt x="100" y="78"/>
                    <a:pt x="78" y="101"/>
                    <a:pt x="50" y="10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39" name="Freeform 44">
              <a:extLst>
                <a:ext uri="{FF2B5EF4-FFF2-40B4-BE49-F238E27FC236}">
                  <a16:creationId xmlns:a16="http://schemas.microsoft.com/office/drawing/2014/main" id="{1AC16972-A929-406F-B679-DA1548C719EA}"/>
                </a:ext>
              </a:extLst>
            </p:cNvPr>
            <p:cNvSpPr>
              <a:spLocks/>
            </p:cNvSpPr>
            <p:nvPr/>
          </p:nvSpPr>
          <p:spPr bwMode="auto">
            <a:xfrm>
              <a:off x="8947390" y="802939"/>
              <a:ext cx="9525" cy="11112"/>
            </a:xfrm>
            <a:custGeom>
              <a:avLst/>
              <a:gdLst>
                <a:gd name="T0" fmla="*/ 91 w 110"/>
                <a:gd name="T1" fmla="*/ 90 h 110"/>
                <a:gd name="T2" fmla="*/ 20 w 110"/>
                <a:gd name="T3" fmla="*/ 90 h 110"/>
                <a:gd name="T4" fmla="*/ 20 w 110"/>
                <a:gd name="T5" fmla="*/ 19 h 110"/>
                <a:gd name="T6" fmla="*/ 91 w 110"/>
                <a:gd name="T7" fmla="*/ 19 h 110"/>
                <a:gd name="T8" fmla="*/ 91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1" y="90"/>
                  </a:moveTo>
                  <a:cubicBezTo>
                    <a:pt x="71" y="110"/>
                    <a:pt x="40" y="110"/>
                    <a:pt x="20" y="90"/>
                  </a:cubicBezTo>
                  <a:cubicBezTo>
                    <a:pt x="0" y="70"/>
                    <a:pt x="0" y="39"/>
                    <a:pt x="20" y="19"/>
                  </a:cubicBezTo>
                  <a:cubicBezTo>
                    <a:pt x="40" y="0"/>
                    <a:pt x="71" y="0"/>
                    <a:pt x="91" y="19"/>
                  </a:cubicBezTo>
                  <a:cubicBezTo>
                    <a:pt x="110" y="39"/>
                    <a:pt x="110" y="70"/>
                    <a:pt x="91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40" name="Freeform 45">
              <a:extLst>
                <a:ext uri="{FF2B5EF4-FFF2-40B4-BE49-F238E27FC236}">
                  <a16:creationId xmlns:a16="http://schemas.microsoft.com/office/drawing/2014/main" id="{5E4DC738-6328-4FB7-B9C9-8A969E29D7AA}"/>
                </a:ext>
              </a:extLst>
            </p:cNvPr>
            <p:cNvSpPr>
              <a:spLocks/>
            </p:cNvSpPr>
            <p:nvPr/>
          </p:nvSpPr>
          <p:spPr bwMode="auto">
            <a:xfrm>
              <a:off x="8947390" y="802939"/>
              <a:ext cx="9525" cy="11112"/>
            </a:xfrm>
            <a:custGeom>
              <a:avLst/>
              <a:gdLst>
                <a:gd name="T0" fmla="*/ 91 w 110"/>
                <a:gd name="T1" fmla="*/ 90 h 110"/>
                <a:gd name="T2" fmla="*/ 20 w 110"/>
                <a:gd name="T3" fmla="*/ 90 h 110"/>
                <a:gd name="T4" fmla="*/ 20 w 110"/>
                <a:gd name="T5" fmla="*/ 19 h 110"/>
                <a:gd name="T6" fmla="*/ 91 w 110"/>
                <a:gd name="T7" fmla="*/ 19 h 110"/>
                <a:gd name="T8" fmla="*/ 91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1" y="90"/>
                  </a:moveTo>
                  <a:cubicBezTo>
                    <a:pt x="71" y="110"/>
                    <a:pt x="40" y="110"/>
                    <a:pt x="20" y="90"/>
                  </a:cubicBezTo>
                  <a:cubicBezTo>
                    <a:pt x="0" y="70"/>
                    <a:pt x="0" y="39"/>
                    <a:pt x="20" y="19"/>
                  </a:cubicBezTo>
                  <a:cubicBezTo>
                    <a:pt x="40" y="0"/>
                    <a:pt x="71" y="0"/>
                    <a:pt x="91" y="19"/>
                  </a:cubicBezTo>
                  <a:cubicBezTo>
                    <a:pt x="110" y="39"/>
                    <a:pt x="110" y="70"/>
                    <a:pt x="91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41" name="Freeform 46">
              <a:extLst>
                <a:ext uri="{FF2B5EF4-FFF2-40B4-BE49-F238E27FC236}">
                  <a16:creationId xmlns:a16="http://schemas.microsoft.com/office/drawing/2014/main" id="{05D7827C-0813-47CB-BBA0-F7137E095AFC}"/>
                </a:ext>
              </a:extLst>
            </p:cNvPr>
            <p:cNvSpPr>
              <a:spLocks/>
            </p:cNvSpPr>
            <p:nvPr/>
          </p:nvSpPr>
          <p:spPr bwMode="auto">
            <a:xfrm>
              <a:off x="7864715" y="739439"/>
              <a:ext cx="9525" cy="9525"/>
            </a:xfrm>
            <a:custGeom>
              <a:avLst/>
              <a:gdLst>
                <a:gd name="T0" fmla="*/ 50 w 100"/>
                <a:gd name="T1" fmla="*/ 101 h 101"/>
                <a:gd name="T2" fmla="*/ 0 w 100"/>
                <a:gd name="T3" fmla="*/ 51 h 101"/>
                <a:gd name="T4" fmla="*/ 50 w 100"/>
                <a:gd name="T5" fmla="*/ 0 h 101"/>
                <a:gd name="T6" fmla="*/ 100 w 100"/>
                <a:gd name="T7" fmla="*/ 51 h 101"/>
                <a:gd name="T8" fmla="*/ 50 w 100"/>
                <a:gd name="T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01">
                  <a:moveTo>
                    <a:pt x="50" y="101"/>
                  </a:moveTo>
                  <a:cubicBezTo>
                    <a:pt x="22" y="101"/>
                    <a:pt x="0" y="78"/>
                    <a:pt x="0" y="51"/>
                  </a:cubicBezTo>
                  <a:cubicBezTo>
                    <a:pt x="0" y="23"/>
                    <a:pt x="22" y="0"/>
                    <a:pt x="50" y="0"/>
                  </a:cubicBezTo>
                  <a:cubicBezTo>
                    <a:pt x="77" y="0"/>
                    <a:pt x="100" y="23"/>
                    <a:pt x="100" y="51"/>
                  </a:cubicBezTo>
                  <a:cubicBezTo>
                    <a:pt x="100" y="78"/>
                    <a:pt x="78" y="100"/>
                    <a:pt x="50" y="10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42" name="Freeform 47">
              <a:extLst>
                <a:ext uri="{FF2B5EF4-FFF2-40B4-BE49-F238E27FC236}">
                  <a16:creationId xmlns:a16="http://schemas.microsoft.com/office/drawing/2014/main" id="{46FCE25A-5691-45DE-9D9C-4DC35D38CF2E}"/>
                </a:ext>
              </a:extLst>
            </p:cNvPr>
            <p:cNvSpPr>
              <a:spLocks/>
            </p:cNvSpPr>
            <p:nvPr/>
          </p:nvSpPr>
          <p:spPr bwMode="auto">
            <a:xfrm>
              <a:off x="7864715" y="739439"/>
              <a:ext cx="9525" cy="9525"/>
            </a:xfrm>
            <a:custGeom>
              <a:avLst/>
              <a:gdLst>
                <a:gd name="T0" fmla="*/ 50 w 100"/>
                <a:gd name="T1" fmla="*/ 101 h 101"/>
                <a:gd name="T2" fmla="*/ 0 w 100"/>
                <a:gd name="T3" fmla="*/ 51 h 101"/>
                <a:gd name="T4" fmla="*/ 50 w 100"/>
                <a:gd name="T5" fmla="*/ 0 h 101"/>
                <a:gd name="T6" fmla="*/ 100 w 100"/>
                <a:gd name="T7" fmla="*/ 51 h 101"/>
                <a:gd name="T8" fmla="*/ 50 w 100"/>
                <a:gd name="T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01">
                  <a:moveTo>
                    <a:pt x="50" y="101"/>
                  </a:moveTo>
                  <a:cubicBezTo>
                    <a:pt x="22" y="101"/>
                    <a:pt x="0" y="78"/>
                    <a:pt x="0" y="51"/>
                  </a:cubicBezTo>
                  <a:cubicBezTo>
                    <a:pt x="0" y="23"/>
                    <a:pt x="22" y="0"/>
                    <a:pt x="50" y="0"/>
                  </a:cubicBezTo>
                  <a:cubicBezTo>
                    <a:pt x="77" y="0"/>
                    <a:pt x="100" y="23"/>
                    <a:pt x="100" y="51"/>
                  </a:cubicBezTo>
                  <a:cubicBezTo>
                    <a:pt x="100" y="78"/>
                    <a:pt x="78" y="100"/>
                    <a:pt x="50" y="10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43" name="Freeform 48">
              <a:extLst>
                <a:ext uri="{FF2B5EF4-FFF2-40B4-BE49-F238E27FC236}">
                  <a16:creationId xmlns:a16="http://schemas.microsoft.com/office/drawing/2014/main" id="{CC118C8D-AF6A-4FB8-B554-C858B7634E31}"/>
                </a:ext>
              </a:extLst>
            </p:cNvPr>
            <p:cNvSpPr>
              <a:spLocks/>
            </p:cNvSpPr>
            <p:nvPr/>
          </p:nvSpPr>
          <p:spPr bwMode="auto">
            <a:xfrm>
              <a:off x="7928215" y="739439"/>
              <a:ext cx="9525" cy="9525"/>
            </a:xfrm>
            <a:custGeom>
              <a:avLst/>
              <a:gdLst>
                <a:gd name="T0" fmla="*/ 51 w 101"/>
                <a:gd name="T1" fmla="*/ 100 h 100"/>
                <a:gd name="T2" fmla="*/ 0 w 101"/>
                <a:gd name="T3" fmla="*/ 50 h 100"/>
                <a:gd name="T4" fmla="*/ 51 w 101"/>
                <a:gd name="T5" fmla="*/ 0 h 100"/>
                <a:gd name="T6" fmla="*/ 101 w 101"/>
                <a:gd name="T7" fmla="*/ 50 h 100"/>
                <a:gd name="T8" fmla="*/ 51 w 101"/>
                <a:gd name="T9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" h="100">
                  <a:moveTo>
                    <a:pt x="51" y="100"/>
                  </a:moveTo>
                  <a:cubicBezTo>
                    <a:pt x="23" y="100"/>
                    <a:pt x="0" y="78"/>
                    <a:pt x="0" y="50"/>
                  </a:cubicBezTo>
                  <a:cubicBezTo>
                    <a:pt x="0" y="23"/>
                    <a:pt x="23" y="0"/>
                    <a:pt x="51" y="0"/>
                  </a:cubicBezTo>
                  <a:cubicBezTo>
                    <a:pt x="78" y="0"/>
                    <a:pt x="101" y="23"/>
                    <a:pt x="101" y="50"/>
                  </a:cubicBezTo>
                  <a:cubicBezTo>
                    <a:pt x="100" y="78"/>
                    <a:pt x="78" y="100"/>
                    <a:pt x="51" y="10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44" name="Freeform 49">
              <a:extLst>
                <a:ext uri="{FF2B5EF4-FFF2-40B4-BE49-F238E27FC236}">
                  <a16:creationId xmlns:a16="http://schemas.microsoft.com/office/drawing/2014/main" id="{B6F36F2F-03D3-448B-B44F-81230745099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28215" y="739439"/>
              <a:ext cx="9525" cy="9525"/>
            </a:xfrm>
            <a:custGeom>
              <a:avLst/>
              <a:gdLst>
                <a:gd name="T0" fmla="*/ 51 w 101"/>
                <a:gd name="T1" fmla="*/ 100 h 100"/>
                <a:gd name="T2" fmla="*/ 0 w 101"/>
                <a:gd name="T3" fmla="*/ 50 h 100"/>
                <a:gd name="T4" fmla="*/ 51 w 101"/>
                <a:gd name="T5" fmla="*/ 0 h 100"/>
                <a:gd name="T6" fmla="*/ 101 w 101"/>
                <a:gd name="T7" fmla="*/ 50 h 100"/>
                <a:gd name="T8" fmla="*/ 51 w 101"/>
                <a:gd name="T9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" h="100">
                  <a:moveTo>
                    <a:pt x="51" y="100"/>
                  </a:moveTo>
                  <a:cubicBezTo>
                    <a:pt x="23" y="100"/>
                    <a:pt x="0" y="78"/>
                    <a:pt x="0" y="50"/>
                  </a:cubicBezTo>
                  <a:cubicBezTo>
                    <a:pt x="0" y="23"/>
                    <a:pt x="23" y="0"/>
                    <a:pt x="51" y="0"/>
                  </a:cubicBezTo>
                  <a:cubicBezTo>
                    <a:pt x="78" y="0"/>
                    <a:pt x="101" y="23"/>
                    <a:pt x="101" y="50"/>
                  </a:cubicBezTo>
                  <a:cubicBezTo>
                    <a:pt x="100" y="78"/>
                    <a:pt x="78" y="100"/>
                    <a:pt x="51" y="10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45" name="Freeform 50">
              <a:extLst>
                <a:ext uri="{FF2B5EF4-FFF2-40B4-BE49-F238E27FC236}">
                  <a16:creationId xmlns:a16="http://schemas.microsoft.com/office/drawing/2014/main" id="{A9E8F797-5297-4AC4-AD8D-0E3025109A41}"/>
                </a:ext>
              </a:extLst>
            </p:cNvPr>
            <p:cNvSpPr>
              <a:spLocks/>
            </p:cNvSpPr>
            <p:nvPr/>
          </p:nvSpPr>
          <p:spPr bwMode="auto">
            <a:xfrm>
              <a:off x="7991715" y="739439"/>
              <a:ext cx="11113" cy="11112"/>
            </a:xfrm>
            <a:custGeom>
              <a:avLst/>
              <a:gdLst>
                <a:gd name="T0" fmla="*/ 90 w 110"/>
                <a:gd name="T1" fmla="*/ 91 h 110"/>
                <a:gd name="T2" fmla="*/ 19 w 110"/>
                <a:gd name="T3" fmla="*/ 91 h 110"/>
                <a:gd name="T4" fmla="*/ 19 w 110"/>
                <a:gd name="T5" fmla="*/ 20 h 110"/>
                <a:gd name="T6" fmla="*/ 90 w 110"/>
                <a:gd name="T7" fmla="*/ 20 h 110"/>
                <a:gd name="T8" fmla="*/ 90 w 110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1"/>
                  </a:moveTo>
                  <a:cubicBezTo>
                    <a:pt x="71" y="110"/>
                    <a:pt x="39" y="110"/>
                    <a:pt x="19" y="91"/>
                  </a:cubicBezTo>
                  <a:cubicBezTo>
                    <a:pt x="0" y="71"/>
                    <a:pt x="0" y="39"/>
                    <a:pt x="19" y="20"/>
                  </a:cubicBezTo>
                  <a:cubicBezTo>
                    <a:pt x="39" y="0"/>
                    <a:pt x="71" y="0"/>
                    <a:pt x="90" y="20"/>
                  </a:cubicBezTo>
                  <a:cubicBezTo>
                    <a:pt x="110" y="39"/>
                    <a:pt x="110" y="71"/>
                    <a:pt x="90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46" name="Freeform 51">
              <a:extLst>
                <a:ext uri="{FF2B5EF4-FFF2-40B4-BE49-F238E27FC236}">
                  <a16:creationId xmlns:a16="http://schemas.microsoft.com/office/drawing/2014/main" id="{56EB5B39-C711-4DFD-A902-2BDF65621214}"/>
                </a:ext>
              </a:extLst>
            </p:cNvPr>
            <p:cNvSpPr>
              <a:spLocks/>
            </p:cNvSpPr>
            <p:nvPr/>
          </p:nvSpPr>
          <p:spPr bwMode="auto">
            <a:xfrm>
              <a:off x="7991715" y="739439"/>
              <a:ext cx="11113" cy="11112"/>
            </a:xfrm>
            <a:custGeom>
              <a:avLst/>
              <a:gdLst>
                <a:gd name="T0" fmla="*/ 90 w 110"/>
                <a:gd name="T1" fmla="*/ 91 h 110"/>
                <a:gd name="T2" fmla="*/ 19 w 110"/>
                <a:gd name="T3" fmla="*/ 91 h 110"/>
                <a:gd name="T4" fmla="*/ 19 w 110"/>
                <a:gd name="T5" fmla="*/ 20 h 110"/>
                <a:gd name="T6" fmla="*/ 90 w 110"/>
                <a:gd name="T7" fmla="*/ 20 h 110"/>
                <a:gd name="T8" fmla="*/ 90 w 110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1"/>
                  </a:moveTo>
                  <a:cubicBezTo>
                    <a:pt x="71" y="110"/>
                    <a:pt x="39" y="110"/>
                    <a:pt x="19" y="91"/>
                  </a:cubicBezTo>
                  <a:cubicBezTo>
                    <a:pt x="0" y="71"/>
                    <a:pt x="0" y="39"/>
                    <a:pt x="19" y="20"/>
                  </a:cubicBezTo>
                  <a:cubicBezTo>
                    <a:pt x="39" y="0"/>
                    <a:pt x="71" y="0"/>
                    <a:pt x="90" y="20"/>
                  </a:cubicBezTo>
                  <a:cubicBezTo>
                    <a:pt x="110" y="39"/>
                    <a:pt x="110" y="71"/>
                    <a:pt x="90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47" name="Oval 52">
              <a:extLst>
                <a:ext uri="{FF2B5EF4-FFF2-40B4-BE49-F238E27FC236}">
                  <a16:creationId xmlns:a16="http://schemas.microsoft.com/office/drawing/2014/main" id="{C08E24A4-A567-4FDE-AADD-402844DFFAA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56803" y="739439"/>
              <a:ext cx="9525" cy="9525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48" name="Oval 53">
              <a:extLst>
                <a:ext uri="{FF2B5EF4-FFF2-40B4-BE49-F238E27FC236}">
                  <a16:creationId xmlns:a16="http://schemas.microsoft.com/office/drawing/2014/main" id="{3A526646-AB40-486A-96C8-0FD7E4F678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56803" y="739439"/>
              <a:ext cx="9525" cy="9525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49" name="Oval 54">
              <a:extLst>
                <a:ext uri="{FF2B5EF4-FFF2-40B4-BE49-F238E27FC236}">
                  <a16:creationId xmlns:a16="http://schemas.microsoft.com/office/drawing/2014/main" id="{DD5965EE-8BB5-4242-A4C9-E9BB003A5C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20303" y="739439"/>
              <a:ext cx="9525" cy="9525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50" name="Oval 55">
              <a:extLst>
                <a:ext uri="{FF2B5EF4-FFF2-40B4-BE49-F238E27FC236}">
                  <a16:creationId xmlns:a16="http://schemas.microsoft.com/office/drawing/2014/main" id="{BE5D8540-E167-42F2-9004-F4B62E8336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20303" y="739439"/>
              <a:ext cx="9525" cy="9525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51" name="Freeform 56">
              <a:extLst>
                <a:ext uri="{FF2B5EF4-FFF2-40B4-BE49-F238E27FC236}">
                  <a16:creationId xmlns:a16="http://schemas.microsoft.com/office/drawing/2014/main" id="{FBCE346F-8BAD-4930-A3D6-5631CB99127D}"/>
                </a:ext>
              </a:extLst>
            </p:cNvPr>
            <p:cNvSpPr>
              <a:spLocks/>
            </p:cNvSpPr>
            <p:nvPr/>
          </p:nvSpPr>
          <p:spPr bwMode="auto">
            <a:xfrm>
              <a:off x="8182215" y="739439"/>
              <a:ext cx="11113" cy="11112"/>
            </a:xfrm>
            <a:custGeom>
              <a:avLst/>
              <a:gdLst>
                <a:gd name="T0" fmla="*/ 91 w 110"/>
                <a:gd name="T1" fmla="*/ 90 h 110"/>
                <a:gd name="T2" fmla="*/ 20 w 110"/>
                <a:gd name="T3" fmla="*/ 90 h 110"/>
                <a:gd name="T4" fmla="*/ 20 w 110"/>
                <a:gd name="T5" fmla="*/ 20 h 110"/>
                <a:gd name="T6" fmla="*/ 91 w 110"/>
                <a:gd name="T7" fmla="*/ 20 h 110"/>
                <a:gd name="T8" fmla="*/ 91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1" y="90"/>
                  </a:moveTo>
                  <a:cubicBezTo>
                    <a:pt x="71" y="110"/>
                    <a:pt x="40" y="110"/>
                    <a:pt x="20" y="90"/>
                  </a:cubicBezTo>
                  <a:cubicBezTo>
                    <a:pt x="0" y="71"/>
                    <a:pt x="0" y="39"/>
                    <a:pt x="20" y="20"/>
                  </a:cubicBezTo>
                  <a:cubicBezTo>
                    <a:pt x="40" y="0"/>
                    <a:pt x="71" y="0"/>
                    <a:pt x="91" y="20"/>
                  </a:cubicBezTo>
                  <a:cubicBezTo>
                    <a:pt x="110" y="39"/>
                    <a:pt x="110" y="71"/>
                    <a:pt x="91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52" name="Freeform 57">
              <a:extLst>
                <a:ext uri="{FF2B5EF4-FFF2-40B4-BE49-F238E27FC236}">
                  <a16:creationId xmlns:a16="http://schemas.microsoft.com/office/drawing/2014/main" id="{1042578C-2B80-41F0-91E7-951751ED57B2}"/>
                </a:ext>
              </a:extLst>
            </p:cNvPr>
            <p:cNvSpPr>
              <a:spLocks/>
            </p:cNvSpPr>
            <p:nvPr/>
          </p:nvSpPr>
          <p:spPr bwMode="auto">
            <a:xfrm>
              <a:off x="8182215" y="739439"/>
              <a:ext cx="11113" cy="11112"/>
            </a:xfrm>
            <a:custGeom>
              <a:avLst/>
              <a:gdLst>
                <a:gd name="T0" fmla="*/ 91 w 110"/>
                <a:gd name="T1" fmla="*/ 90 h 110"/>
                <a:gd name="T2" fmla="*/ 20 w 110"/>
                <a:gd name="T3" fmla="*/ 90 h 110"/>
                <a:gd name="T4" fmla="*/ 20 w 110"/>
                <a:gd name="T5" fmla="*/ 20 h 110"/>
                <a:gd name="T6" fmla="*/ 91 w 110"/>
                <a:gd name="T7" fmla="*/ 20 h 110"/>
                <a:gd name="T8" fmla="*/ 91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1" y="90"/>
                  </a:moveTo>
                  <a:cubicBezTo>
                    <a:pt x="71" y="110"/>
                    <a:pt x="40" y="110"/>
                    <a:pt x="20" y="90"/>
                  </a:cubicBezTo>
                  <a:cubicBezTo>
                    <a:pt x="0" y="71"/>
                    <a:pt x="0" y="39"/>
                    <a:pt x="20" y="20"/>
                  </a:cubicBezTo>
                  <a:cubicBezTo>
                    <a:pt x="40" y="0"/>
                    <a:pt x="71" y="0"/>
                    <a:pt x="91" y="20"/>
                  </a:cubicBezTo>
                  <a:cubicBezTo>
                    <a:pt x="110" y="39"/>
                    <a:pt x="110" y="71"/>
                    <a:pt x="91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53" name="Freeform 58">
              <a:extLst>
                <a:ext uri="{FF2B5EF4-FFF2-40B4-BE49-F238E27FC236}">
                  <a16:creationId xmlns:a16="http://schemas.microsoft.com/office/drawing/2014/main" id="{2DF13655-D79B-485B-BF24-8DD8844B34D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47303" y="739439"/>
              <a:ext cx="9525" cy="9525"/>
            </a:xfrm>
            <a:custGeom>
              <a:avLst/>
              <a:gdLst>
                <a:gd name="T0" fmla="*/ 50 w 100"/>
                <a:gd name="T1" fmla="*/ 100 h 101"/>
                <a:gd name="T2" fmla="*/ 0 w 100"/>
                <a:gd name="T3" fmla="*/ 50 h 101"/>
                <a:gd name="T4" fmla="*/ 50 w 100"/>
                <a:gd name="T5" fmla="*/ 0 h 101"/>
                <a:gd name="T6" fmla="*/ 100 w 100"/>
                <a:gd name="T7" fmla="*/ 50 h 101"/>
                <a:gd name="T8" fmla="*/ 50 w 100"/>
                <a:gd name="T9" fmla="*/ 10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01">
                  <a:moveTo>
                    <a:pt x="50" y="100"/>
                  </a:moveTo>
                  <a:cubicBezTo>
                    <a:pt x="22" y="100"/>
                    <a:pt x="0" y="77"/>
                    <a:pt x="0" y="50"/>
                  </a:cubicBezTo>
                  <a:cubicBezTo>
                    <a:pt x="0" y="23"/>
                    <a:pt x="22" y="0"/>
                    <a:pt x="50" y="0"/>
                  </a:cubicBezTo>
                  <a:cubicBezTo>
                    <a:pt x="77" y="0"/>
                    <a:pt x="100" y="23"/>
                    <a:pt x="100" y="50"/>
                  </a:cubicBezTo>
                  <a:cubicBezTo>
                    <a:pt x="100" y="78"/>
                    <a:pt x="77" y="101"/>
                    <a:pt x="50" y="10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54" name="Freeform 59">
              <a:extLst>
                <a:ext uri="{FF2B5EF4-FFF2-40B4-BE49-F238E27FC236}">
                  <a16:creationId xmlns:a16="http://schemas.microsoft.com/office/drawing/2014/main" id="{B59B572B-DBE5-4A5C-8463-E30CFA7D7E4E}"/>
                </a:ext>
              </a:extLst>
            </p:cNvPr>
            <p:cNvSpPr>
              <a:spLocks/>
            </p:cNvSpPr>
            <p:nvPr/>
          </p:nvSpPr>
          <p:spPr bwMode="auto">
            <a:xfrm>
              <a:off x="8247303" y="739439"/>
              <a:ext cx="9525" cy="9525"/>
            </a:xfrm>
            <a:custGeom>
              <a:avLst/>
              <a:gdLst>
                <a:gd name="T0" fmla="*/ 50 w 100"/>
                <a:gd name="T1" fmla="*/ 100 h 101"/>
                <a:gd name="T2" fmla="*/ 0 w 100"/>
                <a:gd name="T3" fmla="*/ 50 h 101"/>
                <a:gd name="T4" fmla="*/ 50 w 100"/>
                <a:gd name="T5" fmla="*/ 0 h 101"/>
                <a:gd name="T6" fmla="*/ 100 w 100"/>
                <a:gd name="T7" fmla="*/ 50 h 101"/>
                <a:gd name="T8" fmla="*/ 50 w 100"/>
                <a:gd name="T9" fmla="*/ 10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01">
                  <a:moveTo>
                    <a:pt x="50" y="100"/>
                  </a:moveTo>
                  <a:cubicBezTo>
                    <a:pt x="22" y="100"/>
                    <a:pt x="0" y="77"/>
                    <a:pt x="0" y="50"/>
                  </a:cubicBezTo>
                  <a:cubicBezTo>
                    <a:pt x="0" y="23"/>
                    <a:pt x="22" y="0"/>
                    <a:pt x="50" y="0"/>
                  </a:cubicBezTo>
                  <a:cubicBezTo>
                    <a:pt x="77" y="0"/>
                    <a:pt x="100" y="23"/>
                    <a:pt x="100" y="50"/>
                  </a:cubicBezTo>
                  <a:cubicBezTo>
                    <a:pt x="100" y="78"/>
                    <a:pt x="77" y="101"/>
                    <a:pt x="50" y="10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55" name="Freeform 60">
              <a:extLst>
                <a:ext uri="{FF2B5EF4-FFF2-40B4-BE49-F238E27FC236}">
                  <a16:creationId xmlns:a16="http://schemas.microsoft.com/office/drawing/2014/main" id="{3DFA9F0C-2048-4148-B50B-D04E4917565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10803" y="739439"/>
              <a:ext cx="9525" cy="11112"/>
            </a:xfrm>
            <a:custGeom>
              <a:avLst/>
              <a:gdLst>
                <a:gd name="T0" fmla="*/ 90 w 110"/>
                <a:gd name="T1" fmla="*/ 90 h 110"/>
                <a:gd name="T2" fmla="*/ 19 w 110"/>
                <a:gd name="T3" fmla="*/ 90 h 110"/>
                <a:gd name="T4" fmla="*/ 19 w 110"/>
                <a:gd name="T5" fmla="*/ 20 h 110"/>
                <a:gd name="T6" fmla="*/ 90 w 110"/>
                <a:gd name="T7" fmla="*/ 20 h 110"/>
                <a:gd name="T8" fmla="*/ 90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0"/>
                  </a:moveTo>
                  <a:cubicBezTo>
                    <a:pt x="71" y="110"/>
                    <a:pt x="39" y="110"/>
                    <a:pt x="19" y="90"/>
                  </a:cubicBezTo>
                  <a:cubicBezTo>
                    <a:pt x="0" y="71"/>
                    <a:pt x="0" y="39"/>
                    <a:pt x="19" y="20"/>
                  </a:cubicBezTo>
                  <a:cubicBezTo>
                    <a:pt x="39" y="0"/>
                    <a:pt x="71" y="0"/>
                    <a:pt x="90" y="20"/>
                  </a:cubicBezTo>
                  <a:cubicBezTo>
                    <a:pt x="110" y="39"/>
                    <a:pt x="110" y="71"/>
                    <a:pt x="90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56" name="Freeform 61">
              <a:extLst>
                <a:ext uri="{FF2B5EF4-FFF2-40B4-BE49-F238E27FC236}">
                  <a16:creationId xmlns:a16="http://schemas.microsoft.com/office/drawing/2014/main" id="{2E281A96-42E3-40FC-BAEF-B59924FBF9A9}"/>
                </a:ext>
              </a:extLst>
            </p:cNvPr>
            <p:cNvSpPr>
              <a:spLocks/>
            </p:cNvSpPr>
            <p:nvPr/>
          </p:nvSpPr>
          <p:spPr bwMode="auto">
            <a:xfrm>
              <a:off x="8310803" y="739439"/>
              <a:ext cx="9525" cy="11112"/>
            </a:xfrm>
            <a:custGeom>
              <a:avLst/>
              <a:gdLst>
                <a:gd name="T0" fmla="*/ 90 w 110"/>
                <a:gd name="T1" fmla="*/ 90 h 110"/>
                <a:gd name="T2" fmla="*/ 19 w 110"/>
                <a:gd name="T3" fmla="*/ 90 h 110"/>
                <a:gd name="T4" fmla="*/ 19 w 110"/>
                <a:gd name="T5" fmla="*/ 20 h 110"/>
                <a:gd name="T6" fmla="*/ 90 w 110"/>
                <a:gd name="T7" fmla="*/ 20 h 110"/>
                <a:gd name="T8" fmla="*/ 90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0"/>
                  </a:moveTo>
                  <a:cubicBezTo>
                    <a:pt x="71" y="110"/>
                    <a:pt x="39" y="110"/>
                    <a:pt x="19" y="90"/>
                  </a:cubicBezTo>
                  <a:cubicBezTo>
                    <a:pt x="0" y="71"/>
                    <a:pt x="0" y="39"/>
                    <a:pt x="19" y="20"/>
                  </a:cubicBezTo>
                  <a:cubicBezTo>
                    <a:pt x="39" y="0"/>
                    <a:pt x="71" y="0"/>
                    <a:pt x="90" y="20"/>
                  </a:cubicBezTo>
                  <a:cubicBezTo>
                    <a:pt x="110" y="39"/>
                    <a:pt x="110" y="71"/>
                    <a:pt x="90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57" name="Freeform 62">
              <a:extLst>
                <a:ext uri="{FF2B5EF4-FFF2-40B4-BE49-F238E27FC236}">
                  <a16:creationId xmlns:a16="http://schemas.microsoft.com/office/drawing/2014/main" id="{FC5F0CCA-07BD-4250-8B85-78D321D92969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4303" y="739439"/>
              <a:ext cx="9525" cy="11112"/>
            </a:xfrm>
            <a:custGeom>
              <a:avLst/>
              <a:gdLst>
                <a:gd name="T0" fmla="*/ 91 w 111"/>
                <a:gd name="T1" fmla="*/ 91 h 110"/>
                <a:gd name="T2" fmla="*/ 20 w 111"/>
                <a:gd name="T3" fmla="*/ 91 h 110"/>
                <a:gd name="T4" fmla="*/ 20 w 111"/>
                <a:gd name="T5" fmla="*/ 20 h 110"/>
                <a:gd name="T6" fmla="*/ 91 w 111"/>
                <a:gd name="T7" fmla="*/ 20 h 110"/>
                <a:gd name="T8" fmla="*/ 91 w 111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" h="110">
                  <a:moveTo>
                    <a:pt x="91" y="91"/>
                  </a:moveTo>
                  <a:cubicBezTo>
                    <a:pt x="71" y="110"/>
                    <a:pt x="40" y="110"/>
                    <a:pt x="20" y="91"/>
                  </a:cubicBezTo>
                  <a:cubicBezTo>
                    <a:pt x="0" y="71"/>
                    <a:pt x="0" y="40"/>
                    <a:pt x="20" y="20"/>
                  </a:cubicBezTo>
                  <a:cubicBezTo>
                    <a:pt x="40" y="0"/>
                    <a:pt x="71" y="0"/>
                    <a:pt x="91" y="20"/>
                  </a:cubicBezTo>
                  <a:cubicBezTo>
                    <a:pt x="111" y="40"/>
                    <a:pt x="111" y="71"/>
                    <a:pt x="91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58" name="Freeform 63">
              <a:extLst>
                <a:ext uri="{FF2B5EF4-FFF2-40B4-BE49-F238E27FC236}">
                  <a16:creationId xmlns:a16="http://schemas.microsoft.com/office/drawing/2014/main" id="{9E1A65EC-379D-4532-B323-5900950767CB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4303" y="739439"/>
              <a:ext cx="9525" cy="11112"/>
            </a:xfrm>
            <a:custGeom>
              <a:avLst/>
              <a:gdLst>
                <a:gd name="T0" fmla="*/ 91 w 111"/>
                <a:gd name="T1" fmla="*/ 91 h 110"/>
                <a:gd name="T2" fmla="*/ 20 w 111"/>
                <a:gd name="T3" fmla="*/ 91 h 110"/>
                <a:gd name="T4" fmla="*/ 20 w 111"/>
                <a:gd name="T5" fmla="*/ 20 h 110"/>
                <a:gd name="T6" fmla="*/ 91 w 111"/>
                <a:gd name="T7" fmla="*/ 20 h 110"/>
                <a:gd name="T8" fmla="*/ 91 w 111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" h="110">
                  <a:moveTo>
                    <a:pt x="91" y="91"/>
                  </a:moveTo>
                  <a:cubicBezTo>
                    <a:pt x="71" y="110"/>
                    <a:pt x="40" y="110"/>
                    <a:pt x="20" y="91"/>
                  </a:cubicBezTo>
                  <a:cubicBezTo>
                    <a:pt x="0" y="71"/>
                    <a:pt x="0" y="40"/>
                    <a:pt x="20" y="20"/>
                  </a:cubicBezTo>
                  <a:cubicBezTo>
                    <a:pt x="40" y="0"/>
                    <a:pt x="71" y="0"/>
                    <a:pt x="91" y="20"/>
                  </a:cubicBezTo>
                  <a:cubicBezTo>
                    <a:pt x="111" y="40"/>
                    <a:pt x="111" y="71"/>
                    <a:pt x="91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59" name="Freeform 64">
              <a:extLst>
                <a:ext uri="{FF2B5EF4-FFF2-40B4-BE49-F238E27FC236}">
                  <a16:creationId xmlns:a16="http://schemas.microsoft.com/office/drawing/2014/main" id="{035E29C9-7BD3-4153-82C5-F43B2C652B30}"/>
                </a:ext>
              </a:extLst>
            </p:cNvPr>
            <p:cNvSpPr>
              <a:spLocks/>
            </p:cNvSpPr>
            <p:nvPr/>
          </p:nvSpPr>
          <p:spPr bwMode="auto">
            <a:xfrm>
              <a:off x="8437803" y="739439"/>
              <a:ext cx="9525" cy="9525"/>
            </a:xfrm>
            <a:custGeom>
              <a:avLst/>
              <a:gdLst>
                <a:gd name="T0" fmla="*/ 50 w 100"/>
                <a:gd name="T1" fmla="*/ 101 h 101"/>
                <a:gd name="T2" fmla="*/ 0 w 100"/>
                <a:gd name="T3" fmla="*/ 50 h 101"/>
                <a:gd name="T4" fmla="*/ 50 w 100"/>
                <a:gd name="T5" fmla="*/ 0 h 101"/>
                <a:gd name="T6" fmla="*/ 100 w 100"/>
                <a:gd name="T7" fmla="*/ 50 h 101"/>
                <a:gd name="T8" fmla="*/ 50 w 100"/>
                <a:gd name="T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01">
                  <a:moveTo>
                    <a:pt x="50" y="101"/>
                  </a:moveTo>
                  <a:cubicBezTo>
                    <a:pt x="22" y="101"/>
                    <a:pt x="0" y="78"/>
                    <a:pt x="0" y="50"/>
                  </a:cubicBezTo>
                  <a:cubicBezTo>
                    <a:pt x="0" y="23"/>
                    <a:pt x="22" y="0"/>
                    <a:pt x="50" y="0"/>
                  </a:cubicBezTo>
                  <a:cubicBezTo>
                    <a:pt x="77" y="0"/>
                    <a:pt x="100" y="23"/>
                    <a:pt x="100" y="50"/>
                  </a:cubicBezTo>
                  <a:cubicBezTo>
                    <a:pt x="100" y="78"/>
                    <a:pt x="78" y="100"/>
                    <a:pt x="50" y="10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60" name="Freeform 65">
              <a:extLst>
                <a:ext uri="{FF2B5EF4-FFF2-40B4-BE49-F238E27FC236}">
                  <a16:creationId xmlns:a16="http://schemas.microsoft.com/office/drawing/2014/main" id="{E275DBDB-33D8-493F-8A59-9617E340F70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37803" y="739439"/>
              <a:ext cx="9525" cy="9525"/>
            </a:xfrm>
            <a:custGeom>
              <a:avLst/>
              <a:gdLst>
                <a:gd name="T0" fmla="*/ 50 w 100"/>
                <a:gd name="T1" fmla="*/ 101 h 101"/>
                <a:gd name="T2" fmla="*/ 0 w 100"/>
                <a:gd name="T3" fmla="*/ 50 h 101"/>
                <a:gd name="T4" fmla="*/ 50 w 100"/>
                <a:gd name="T5" fmla="*/ 0 h 101"/>
                <a:gd name="T6" fmla="*/ 100 w 100"/>
                <a:gd name="T7" fmla="*/ 50 h 101"/>
                <a:gd name="T8" fmla="*/ 50 w 100"/>
                <a:gd name="T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01">
                  <a:moveTo>
                    <a:pt x="50" y="101"/>
                  </a:moveTo>
                  <a:cubicBezTo>
                    <a:pt x="22" y="101"/>
                    <a:pt x="0" y="78"/>
                    <a:pt x="0" y="50"/>
                  </a:cubicBezTo>
                  <a:cubicBezTo>
                    <a:pt x="0" y="23"/>
                    <a:pt x="22" y="0"/>
                    <a:pt x="50" y="0"/>
                  </a:cubicBezTo>
                  <a:cubicBezTo>
                    <a:pt x="77" y="0"/>
                    <a:pt x="100" y="23"/>
                    <a:pt x="100" y="50"/>
                  </a:cubicBezTo>
                  <a:cubicBezTo>
                    <a:pt x="100" y="78"/>
                    <a:pt x="78" y="100"/>
                    <a:pt x="50" y="10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61" name="Freeform 66">
              <a:extLst>
                <a:ext uri="{FF2B5EF4-FFF2-40B4-BE49-F238E27FC236}">
                  <a16:creationId xmlns:a16="http://schemas.microsoft.com/office/drawing/2014/main" id="{AFEF77D0-DAAE-4C28-B00B-D2378A3E5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8501303" y="739439"/>
              <a:ext cx="11113" cy="11112"/>
            </a:xfrm>
            <a:custGeom>
              <a:avLst/>
              <a:gdLst>
                <a:gd name="T0" fmla="*/ 91 w 110"/>
                <a:gd name="T1" fmla="*/ 90 h 110"/>
                <a:gd name="T2" fmla="*/ 20 w 110"/>
                <a:gd name="T3" fmla="*/ 90 h 110"/>
                <a:gd name="T4" fmla="*/ 20 w 110"/>
                <a:gd name="T5" fmla="*/ 20 h 110"/>
                <a:gd name="T6" fmla="*/ 91 w 110"/>
                <a:gd name="T7" fmla="*/ 20 h 110"/>
                <a:gd name="T8" fmla="*/ 91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1" y="90"/>
                  </a:moveTo>
                  <a:cubicBezTo>
                    <a:pt x="71" y="110"/>
                    <a:pt x="40" y="110"/>
                    <a:pt x="20" y="90"/>
                  </a:cubicBezTo>
                  <a:cubicBezTo>
                    <a:pt x="0" y="71"/>
                    <a:pt x="0" y="39"/>
                    <a:pt x="20" y="20"/>
                  </a:cubicBezTo>
                  <a:cubicBezTo>
                    <a:pt x="40" y="0"/>
                    <a:pt x="71" y="0"/>
                    <a:pt x="91" y="20"/>
                  </a:cubicBezTo>
                  <a:cubicBezTo>
                    <a:pt x="110" y="39"/>
                    <a:pt x="110" y="71"/>
                    <a:pt x="91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62" name="Freeform 67">
              <a:extLst>
                <a:ext uri="{FF2B5EF4-FFF2-40B4-BE49-F238E27FC236}">
                  <a16:creationId xmlns:a16="http://schemas.microsoft.com/office/drawing/2014/main" id="{9E47FD4D-5EB6-45B8-8DDB-DA1FD22CCBEC}"/>
                </a:ext>
              </a:extLst>
            </p:cNvPr>
            <p:cNvSpPr>
              <a:spLocks/>
            </p:cNvSpPr>
            <p:nvPr/>
          </p:nvSpPr>
          <p:spPr bwMode="auto">
            <a:xfrm>
              <a:off x="8501303" y="739439"/>
              <a:ext cx="11113" cy="11112"/>
            </a:xfrm>
            <a:custGeom>
              <a:avLst/>
              <a:gdLst>
                <a:gd name="T0" fmla="*/ 91 w 110"/>
                <a:gd name="T1" fmla="*/ 90 h 110"/>
                <a:gd name="T2" fmla="*/ 20 w 110"/>
                <a:gd name="T3" fmla="*/ 90 h 110"/>
                <a:gd name="T4" fmla="*/ 20 w 110"/>
                <a:gd name="T5" fmla="*/ 20 h 110"/>
                <a:gd name="T6" fmla="*/ 91 w 110"/>
                <a:gd name="T7" fmla="*/ 20 h 110"/>
                <a:gd name="T8" fmla="*/ 91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1" y="90"/>
                  </a:moveTo>
                  <a:cubicBezTo>
                    <a:pt x="71" y="110"/>
                    <a:pt x="40" y="110"/>
                    <a:pt x="20" y="90"/>
                  </a:cubicBezTo>
                  <a:cubicBezTo>
                    <a:pt x="0" y="71"/>
                    <a:pt x="0" y="39"/>
                    <a:pt x="20" y="20"/>
                  </a:cubicBezTo>
                  <a:cubicBezTo>
                    <a:pt x="40" y="0"/>
                    <a:pt x="71" y="0"/>
                    <a:pt x="91" y="20"/>
                  </a:cubicBezTo>
                  <a:cubicBezTo>
                    <a:pt x="110" y="39"/>
                    <a:pt x="110" y="71"/>
                    <a:pt x="91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63" name="Freeform 68">
              <a:extLst>
                <a:ext uri="{FF2B5EF4-FFF2-40B4-BE49-F238E27FC236}">
                  <a16:creationId xmlns:a16="http://schemas.microsoft.com/office/drawing/2014/main" id="{0DC34B38-6157-4C4B-BEC6-98B634055CA5}"/>
                </a:ext>
              </a:extLst>
            </p:cNvPr>
            <p:cNvSpPr>
              <a:spLocks/>
            </p:cNvSpPr>
            <p:nvPr/>
          </p:nvSpPr>
          <p:spPr bwMode="auto">
            <a:xfrm>
              <a:off x="8564803" y="739439"/>
              <a:ext cx="11113" cy="11112"/>
            </a:xfrm>
            <a:custGeom>
              <a:avLst/>
              <a:gdLst>
                <a:gd name="T0" fmla="*/ 90 w 110"/>
                <a:gd name="T1" fmla="*/ 90 h 110"/>
                <a:gd name="T2" fmla="*/ 19 w 110"/>
                <a:gd name="T3" fmla="*/ 90 h 110"/>
                <a:gd name="T4" fmla="*/ 19 w 110"/>
                <a:gd name="T5" fmla="*/ 20 h 110"/>
                <a:gd name="T6" fmla="*/ 90 w 110"/>
                <a:gd name="T7" fmla="*/ 20 h 110"/>
                <a:gd name="T8" fmla="*/ 90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0"/>
                  </a:moveTo>
                  <a:cubicBezTo>
                    <a:pt x="71" y="110"/>
                    <a:pt x="39" y="110"/>
                    <a:pt x="19" y="90"/>
                  </a:cubicBezTo>
                  <a:cubicBezTo>
                    <a:pt x="0" y="71"/>
                    <a:pt x="0" y="39"/>
                    <a:pt x="19" y="20"/>
                  </a:cubicBezTo>
                  <a:cubicBezTo>
                    <a:pt x="39" y="0"/>
                    <a:pt x="71" y="0"/>
                    <a:pt x="90" y="20"/>
                  </a:cubicBezTo>
                  <a:cubicBezTo>
                    <a:pt x="110" y="39"/>
                    <a:pt x="110" y="71"/>
                    <a:pt x="90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64" name="Freeform 69">
              <a:extLst>
                <a:ext uri="{FF2B5EF4-FFF2-40B4-BE49-F238E27FC236}">
                  <a16:creationId xmlns:a16="http://schemas.microsoft.com/office/drawing/2014/main" id="{418D70BF-5441-4A40-B0F3-01C477C08517}"/>
                </a:ext>
              </a:extLst>
            </p:cNvPr>
            <p:cNvSpPr>
              <a:spLocks/>
            </p:cNvSpPr>
            <p:nvPr/>
          </p:nvSpPr>
          <p:spPr bwMode="auto">
            <a:xfrm>
              <a:off x="8564803" y="739439"/>
              <a:ext cx="11113" cy="11112"/>
            </a:xfrm>
            <a:custGeom>
              <a:avLst/>
              <a:gdLst>
                <a:gd name="T0" fmla="*/ 90 w 110"/>
                <a:gd name="T1" fmla="*/ 90 h 110"/>
                <a:gd name="T2" fmla="*/ 19 w 110"/>
                <a:gd name="T3" fmla="*/ 90 h 110"/>
                <a:gd name="T4" fmla="*/ 19 w 110"/>
                <a:gd name="T5" fmla="*/ 20 h 110"/>
                <a:gd name="T6" fmla="*/ 90 w 110"/>
                <a:gd name="T7" fmla="*/ 20 h 110"/>
                <a:gd name="T8" fmla="*/ 90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0"/>
                  </a:moveTo>
                  <a:cubicBezTo>
                    <a:pt x="71" y="110"/>
                    <a:pt x="39" y="110"/>
                    <a:pt x="19" y="90"/>
                  </a:cubicBezTo>
                  <a:cubicBezTo>
                    <a:pt x="0" y="71"/>
                    <a:pt x="0" y="39"/>
                    <a:pt x="19" y="20"/>
                  </a:cubicBezTo>
                  <a:cubicBezTo>
                    <a:pt x="39" y="0"/>
                    <a:pt x="71" y="0"/>
                    <a:pt x="90" y="20"/>
                  </a:cubicBezTo>
                  <a:cubicBezTo>
                    <a:pt x="110" y="39"/>
                    <a:pt x="110" y="71"/>
                    <a:pt x="90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65" name="Freeform 70">
              <a:extLst>
                <a:ext uri="{FF2B5EF4-FFF2-40B4-BE49-F238E27FC236}">
                  <a16:creationId xmlns:a16="http://schemas.microsoft.com/office/drawing/2014/main" id="{73CB8D10-2F63-4028-9454-A257B8FD7697}"/>
                </a:ext>
              </a:extLst>
            </p:cNvPr>
            <p:cNvSpPr>
              <a:spLocks/>
            </p:cNvSpPr>
            <p:nvPr/>
          </p:nvSpPr>
          <p:spPr bwMode="auto">
            <a:xfrm>
              <a:off x="8628303" y="739439"/>
              <a:ext cx="11113" cy="11112"/>
            </a:xfrm>
            <a:custGeom>
              <a:avLst/>
              <a:gdLst>
                <a:gd name="T0" fmla="*/ 90 w 110"/>
                <a:gd name="T1" fmla="*/ 90 h 110"/>
                <a:gd name="T2" fmla="*/ 19 w 110"/>
                <a:gd name="T3" fmla="*/ 90 h 110"/>
                <a:gd name="T4" fmla="*/ 19 w 110"/>
                <a:gd name="T5" fmla="*/ 20 h 110"/>
                <a:gd name="T6" fmla="*/ 90 w 110"/>
                <a:gd name="T7" fmla="*/ 20 h 110"/>
                <a:gd name="T8" fmla="*/ 90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0"/>
                  </a:moveTo>
                  <a:cubicBezTo>
                    <a:pt x="71" y="110"/>
                    <a:pt x="39" y="110"/>
                    <a:pt x="19" y="90"/>
                  </a:cubicBezTo>
                  <a:cubicBezTo>
                    <a:pt x="0" y="71"/>
                    <a:pt x="0" y="39"/>
                    <a:pt x="19" y="20"/>
                  </a:cubicBezTo>
                  <a:cubicBezTo>
                    <a:pt x="39" y="0"/>
                    <a:pt x="71" y="0"/>
                    <a:pt x="90" y="20"/>
                  </a:cubicBezTo>
                  <a:cubicBezTo>
                    <a:pt x="110" y="39"/>
                    <a:pt x="110" y="71"/>
                    <a:pt x="90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66" name="Freeform 71">
              <a:extLst>
                <a:ext uri="{FF2B5EF4-FFF2-40B4-BE49-F238E27FC236}">
                  <a16:creationId xmlns:a16="http://schemas.microsoft.com/office/drawing/2014/main" id="{BC88379D-31C1-42DE-90A2-F50F5DB18AE7}"/>
                </a:ext>
              </a:extLst>
            </p:cNvPr>
            <p:cNvSpPr>
              <a:spLocks/>
            </p:cNvSpPr>
            <p:nvPr/>
          </p:nvSpPr>
          <p:spPr bwMode="auto">
            <a:xfrm>
              <a:off x="8628303" y="739439"/>
              <a:ext cx="11113" cy="11112"/>
            </a:xfrm>
            <a:custGeom>
              <a:avLst/>
              <a:gdLst>
                <a:gd name="T0" fmla="*/ 90 w 110"/>
                <a:gd name="T1" fmla="*/ 90 h 110"/>
                <a:gd name="T2" fmla="*/ 19 w 110"/>
                <a:gd name="T3" fmla="*/ 90 h 110"/>
                <a:gd name="T4" fmla="*/ 19 w 110"/>
                <a:gd name="T5" fmla="*/ 20 h 110"/>
                <a:gd name="T6" fmla="*/ 90 w 110"/>
                <a:gd name="T7" fmla="*/ 20 h 110"/>
                <a:gd name="T8" fmla="*/ 90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0"/>
                  </a:moveTo>
                  <a:cubicBezTo>
                    <a:pt x="71" y="110"/>
                    <a:pt x="39" y="110"/>
                    <a:pt x="19" y="90"/>
                  </a:cubicBezTo>
                  <a:cubicBezTo>
                    <a:pt x="0" y="71"/>
                    <a:pt x="0" y="39"/>
                    <a:pt x="19" y="20"/>
                  </a:cubicBezTo>
                  <a:cubicBezTo>
                    <a:pt x="39" y="0"/>
                    <a:pt x="71" y="0"/>
                    <a:pt x="90" y="20"/>
                  </a:cubicBezTo>
                  <a:cubicBezTo>
                    <a:pt x="110" y="39"/>
                    <a:pt x="110" y="71"/>
                    <a:pt x="90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67" name="Freeform 72">
              <a:extLst>
                <a:ext uri="{FF2B5EF4-FFF2-40B4-BE49-F238E27FC236}">
                  <a16:creationId xmlns:a16="http://schemas.microsoft.com/office/drawing/2014/main" id="{156D2E08-9EF6-426D-BDF8-B2E2C2E669D9}"/>
                </a:ext>
              </a:extLst>
            </p:cNvPr>
            <p:cNvSpPr>
              <a:spLocks/>
            </p:cNvSpPr>
            <p:nvPr/>
          </p:nvSpPr>
          <p:spPr bwMode="auto">
            <a:xfrm>
              <a:off x="8691803" y="739439"/>
              <a:ext cx="11113" cy="11112"/>
            </a:xfrm>
            <a:custGeom>
              <a:avLst/>
              <a:gdLst>
                <a:gd name="T0" fmla="*/ 91 w 110"/>
                <a:gd name="T1" fmla="*/ 90 h 110"/>
                <a:gd name="T2" fmla="*/ 20 w 110"/>
                <a:gd name="T3" fmla="*/ 90 h 110"/>
                <a:gd name="T4" fmla="*/ 20 w 110"/>
                <a:gd name="T5" fmla="*/ 19 h 110"/>
                <a:gd name="T6" fmla="*/ 91 w 110"/>
                <a:gd name="T7" fmla="*/ 19 h 110"/>
                <a:gd name="T8" fmla="*/ 91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1" y="90"/>
                  </a:moveTo>
                  <a:cubicBezTo>
                    <a:pt x="71" y="110"/>
                    <a:pt x="39" y="110"/>
                    <a:pt x="20" y="90"/>
                  </a:cubicBezTo>
                  <a:cubicBezTo>
                    <a:pt x="0" y="71"/>
                    <a:pt x="0" y="39"/>
                    <a:pt x="20" y="19"/>
                  </a:cubicBezTo>
                  <a:cubicBezTo>
                    <a:pt x="39" y="0"/>
                    <a:pt x="71" y="0"/>
                    <a:pt x="91" y="19"/>
                  </a:cubicBezTo>
                  <a:cubicBezTo>
                    <a:pt x="110" y="39"/>
                    <a:pt x="110" y="71"/>
                    <a:pt x="91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68" name="Freeform 73">
              <a:extLst>
                <a:ext uri="{FF2B5EF4-FFF2-40B4-BE49-F238E27FC236}">
                  <a16:creationId xmlns:a16="http://schemas.microsoft.com/office/drawing/2014/main" id="{31113A41-984A-4D3D-8210-1836A6160B88}"/>
                </a:ext>
              </a:extLst>
            </p:cNvPr>
            <p:cNvSpPr>
              <a:spLocks/>
            </p:cNvSpPr>
            <p:nvPr/>
          </p:nvSpPr>
          <p:spPr bwMode="auto">
            <a:xfrm>
              <a:off x="8691803" y="739439"/>
              <a:ext cx="11113" cy="11112"/>
            </a:xfrm>
            <a:custGeom>
              <a:avLst/>
              <a:gdLst>
                <a:gd name="T0" fmla="*/ 91 w 110"/>
                <a:gd name="T1" fmla="*/ 90 h 110"/>
                <a:gd name="T2" fmla="*/ 20 w 110"/>
                <a:gd name="T3" fmla="*/ 90 h 110"/>
                <a:gd name="T4" fmla="*/ 20 w 110"/>
                <a:gd name="T5" fmla="*/ 19 h 110"/>
                <a:gd name="T6" fmla="*/ 91 w 110"/>
                <a:gd name="T7" fmla="*/ 19 h 110"/>
                <a:gd name="T8" fmla="*/ 91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1" y="90"/>
                  </a:moveTo>
                  <a:cubicBezTo>
                    <a:pt x="71" y="110"/>
                    <a:pt x="39" y="110"/>
                    <a:pt x="20" y="90"/>
                  </a:cubicBezTo>
                  <a:cubicBezTo>
                    <a:pt x="0" y="71"/>
                    <a:pt x="0" y="39"/>
                    <a:pt x="20" y="19"/>
                  </a:cubicBezTo>
                  <a:cubicBezTo>
                    <a:pt x="39" y="0"/>
                    <a:pt x="71" y="0"/>
                    <a:pt x="91" y="19"/>
                  </a:cubicBezTo>
                  <a:cubicBezTo>
                    <a:pt x="110" y="39"/>
                    <a:pt x="110" y="71"/>
                    <a:pt x="91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69" name="Freeform 74">
              <a:extLst>
                <a:ext uri="{FF2B5EF4-FFF2-40B4-BE49-F238E27FC236}">
                  <a16:creationId xmlns:a16="http://schemas.microsoft.com/office/drawing/2014/main" id="{5C4F2E16-32D3-409B-8553-1DD40820E28A}"/>
                </a:ext>
              </a:extLst>
            </p:cNvPr>
            <p:cNvSpPr>
              <a:spLocks/>
            </p:cNvSpPr>
            <p:nvPr/>
          </p:nvSpPr>
          <p:spPr bwMode="auto">
            <a:xfrm>
              <a:off x="8756890" y="739439"/>
              <a:ext cx="9525" cy="9525"/>
            </a:xfrm>
            <a:custGeom>
              <a:avLst/>
              <a:gdLst>
                <a:gd name="T0" fmla="*/ 50 w 101"/>
                <a:gd name="T1" fmla="*/ 100 h 100"/>
                <a:gd name="T2" fmla="*/ 0 w 101"/>
                <a:gd name="T3" fmla="*/ 50 h 100"/>
                <a:gd name="T4" fmla="*/ 50 w 101"/>
                <a:gd name="T5" fmla="*/ 0 h 100"/>
                <a:gd name="T6" fmla="*/ 100 w 101"/>
                <a:gd name="T7" fmla="*/ 50 h 100"/>
                <a:gd name="T8" fmla="*/ 50 w 101"/>
                <a:gd name="T9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" h="100">
                  <a:moveTo>
                    <a:pt x="50" y="100"/>
                  </a:moveTo>
                  <a:cubicBezTo>
                    <a:pt x="23" y="100"/>
                    <a:pt x="0" y="77"/>
                    <a:pt x="0" y="50"/>
                  </a:cubicBezTo>
                  <a:cubicBezTo>
                    <a:pt x="0" y="23"/>
                    <a:pt x="23" y="0"/>
                    <a:pt x="50" y="0"/>
                  </a:cubicBezTo>
                  <a:cubicBezTo>
                    <a:pt x="78" y="0"/>
                    <a:pt x="100" y="23"/>
                    <a:pt x="100" y="50"/>
                  </a:cubicBezTo>
                  <a:cubicBezTo>
                    <a:pt x="101" y="78"/>
                    <a:pt x="78" y="100"/>
                    <a:pt x="50" y="10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70" name="Freeform 75">
              <a:extLst>
                <a:ext uri="{FF2B5EF4-FFF2-40B4-BE49-F238E27FC236}">
                  <a16:creationId xmlns:a16="http://schemas.microsoft.com/office/drawing/2014/main" id="{A3DBF358-C70D-4EA3-A7AD-9980E42EDE5E}"/>
                </a:ext>
              </a:extLst>
            </p:cNvPr>
            <p:cNvSpPr>
              <a:spLocks/>
            </p:cNvSpPr>
            <p:nvPr/>
          </p:nvSpPr>
          <p:spPr bwMode="auto">
            <a:xfrm>
              <a:off x="8756890" y="739439"/>
              <a:ext cx="9525" cy="9525"/>
            </a:xfrm>
            <a:custGeom>
              <a:avLst/>
              <a:gdLst>
                <a:gd name="T0" fmla="*/ 50 w 101"/>
                <a:gd name="T1" fmla="*/ 100 h 100"/>
                <a:gd name="T2" fmla="*/ 0 w 101"/>
                <a:gd name="T3" fmla="*/ 50 h 100"/>
                <a:gd name="T4" fmla="*/ 50 w 101"/>
                <a:gd name="T5" fmla="*/ 0 h 100"/>
                <a:gd name="T6" fmla="*/ 100 w 101"/>
                <a:gd name="T7" fmla="*/ 50 h 100"/>
                <a:gd name="T8" fmla="*/ 50 w 101"/>
                <a:gd name="T9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" h="100">
                  <a:moveTo>
                    <a:pt x="50" y="100"/>
                  </a:moveTo>
                  <a:cubicBezTo>
                    <a:pt x="23" y="100"/>
                    <a:pt x="0" y="77"/>
                    <a:pt x="0" y="50"/>
                  </a:cubicBezTo>
                  <a:cubicBezTo>
                    <a:pt x="0" y="23"/>
                    <a:pt x="23" y="0"/>
                    <a:pt x="50" y="0"/>
                  </a:cubicBezTo>
                  <a:cubicBezTo>
                    <a:pt x="78" y="0"/>
                    <a:pt x="100" y="23"/>
                    <a:pt x="100" y="50"/>
                  </a:cubicBezTo>
                  <a:cubicBezTo>
                    <a:pt x="101" y="78"/>
                    <a:pt x="78" y="100"/>
                    <a:pt x="50" y="10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71" name="Freeform 76">
              <a:extLst>
                <a:ext uri="{FF2B5EF4-FFF2-40B4-BE49-F238E27FC236}">
                  <a16:creationId xmlns:a16="http://schemas.microsoft.com/office/drawing/2014/main" id="{F1EAC02D-91D2-4679-A4C7-D42166B6DD5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20390" y="739439"/>
              <a:ext cx="9525" cy="11112"/>
            </a:xfrm>
            <a:custGeom>
              <a:avLst/>
              <a:gdLst>
                <a:gd name="T0" fmla="*/ 91 w 111"/>
                <a:gd name="T1" fmla="*/ 90 h 110"/>
                <a:gd name="T2" fmla="*/ 20 w 111"/>
                <a:gd name="T3" fmla="*/ 90 h 110"/>
                <a:gd name="T4" fmla="*/ 20 w 111"/>
                <a:gd name="T5" fmla="*/ 19 h 110"/>
                <a:gd name="T6" fmla="*/ 91 w 111"/>
                <a:gd name="T7" fmla="*/ 19 h 110"/>
                <a:gd name="T8" fmla="*/ 91 w 111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" h="110">
                  <a:moveTo>
                    <a:pt x="91" y="90"/>
                  </a:moveTo>
                  <a:cubicBezTo>
                    <a:pt x="71" y="110"/>
                    <a:pt x="40" y="110"/>
                    <a:pt x="20" y="90"/>
                  </a:cubicBezTo>
                  <a:cubicBezTo>
                    <a:pt x="0" y="71"/>
                    <a:pt x="0" y="39"/>
                    <a:pt x="20" y="19"/>
                  </a:cubicBezTo>
                  <a:cubicBezTo>
                    <a:pt x="40" y="0"/>
                    <a:pt x="71" y="0"/>
                    <a:pt x="91" y="19"/>
                  </a:cubicBezTo>
                  <a:cubicBezTo>
                    <a:pt x="111" y="39"/>
                    <a:pt x="111" y="71"/>
                    <a:pt x="91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72" name="Freeform 77">
              <a:extLst>
                <a:ext uri="{FF2B5EF4-FFF2-40B4-BE49-F238E27FC236}">
                  <a16:creationId xmlns:a16="http://schemas.microsoft.com/office/drawing/2014/main" id="{BD762D4F-F937-44AB-BC7A-042D513CE37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20390" y="739439"/>
              <a:ext cx="9525" cy="11112"/>
            </a:xfrm>
            <a:custGeom>
              <a:avLst/>
              <a:gdLst>
                <a:gd name="T0" fmla="*/ 91 w 111"/>
                <a:gd name="T1" fmla="*/ 90 h 110"/>
                <a:gd name="T2" fmla="*/ 20 w 111"/>
                <a:gd name="T3" fmla="*/ 90 h 110"/>
                <a:gd name="T4" fmla="*/ 20 w 111"/>
                <a:gd name="T5" fmla="*/ 19 h 110"/>
                <a:gd name="T6" fmla="*/ 91 w 111"/>
                <a:gd name="T7" fmla="*/ 19 h 110"/>
                <a:gd name="T8" fmla="*/ 91 w 111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" h="110">
                  <a:moveTo>
                    <a:pt x="91" y="90"/>
                  </a:moveTo>
                  <a:cubicBezTo>
                    <a:pt x="71" y="110"/>
                    <a:pt x="40" y="110"/>
                    <a:pt x="20" y="90"/>
                  </a:cubicBezTo>
                  <a:cubicBezTo>
                    <a:pt x="0" y="71"/>
                    <a:pt x="0" y="39"/>
                    <a:pt x="20" y="19"/>
                  </a:cubicBezTo>
                  <a:cubicBezTo>
                    <a:pt x="40" y="0"/>
                    <a:pt x="71" y="0"/>
                    <a:pt x="91" y="19"/>
                  </a:cubicBezTo>
                  <a:cubicBezTo>
                    <a:pt x="111" y="39"/>
                    <a:pt x="111" y="71"/>
                    <a:pt x="91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73" name="Freeform 78">
              <a:extLst>
                <a:ext uri="{FF2B5EF4-FFF2-40B4-BE49-F238E27FC236}">
                  <a16:creationId xmlns:a16="http://schemas.microsoft.com/office/drawing/2014/main" id="{763C085F-FDE6-4D2E-9639-5F053ABEFDB9}"/>
                </a:ext>
              </a:extLst>
            </p:cNvPr>
            <p:cNvSpPr>
              <a:spLocks/>
            </p:cNvSpPr>
            <p:nvPr/>
          </p:nvSpPr>
          <p:spPr bwMode="auto">
            <a:xfrm>
              <a:off x="8883890" y="739439"/>
              <a:ext cx="9525" cy="11112"/>
            </a:xfrm>
            <a:custGeom>
              <a:avLst/>
              <a:gdLst>
                <a:gd name="T0" fmla="*/ 90 w 110"/>
                <a:gd name="T1" fmla="*/ 90 h 110"/>
                <a:gd name="T2" fmla="*/ 19 w 110"/>
                <a:gd name="T3" fmla="*/ 90 h 110"/>
                <a:gd name="T4" fmla="*/ 19 w 110"/>
                <a:gd name="T5" fmla="*/ 19 h 110"/>
                <a:gd name="T6" fmla="*/ 90 w 110"/>
                <a:gd name="T7" fmla="*/ 19 h 110"/>
                <a:gd name="T8" fmla="*/ 90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0"/>
                  </a:moveTo>
                  <a:cubicBezTo>
                    <a:pt x="71" y="110"/>
                    <a:pt x="39" y="110"/>
                    <a:pt x="19" y="90"/>
                  </a:cubicBezTo>
                  <a:cubicBezTo>
                    <a:pt x="0" y="71"/>
                    <a:pt x="0" y="39"/>
                    <a:pt x="19" y="19"/>
                  </a:cubicBezTo>
                  <a:cubicBezTo>
                    <a:pt x="39" y="0"/>
                    <a:pt x="71" y="0"/>
                    <a:pt x="90" y="19"/>
                  </a:cubicBezTo>
                  <a:cubicBezTo>
                    <a:pt x="110" y="39"/>
                    <a:pt x="110" y="71"/>
                    <a:pt x="90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74" name="Freeform 79">
              <a:extLst>
                <a:ext uri="{FF2B5EF4-FFF2-40B4-BE49-F238E27FC236}">
                  <a16:creationId xmlns:a16="http://schemas.microsoft.com/office/drawing/2014/main" id="{8183A114-B6CE-4DF2-9F10-204FEFE88EC5}"/>
                </a:ext>
              </a:extLst>
            </p:cNvPr>
            <p:cNvSpPr>
              <a:spLocks/>
            </p:cNvSpPr>
            <p:nvPr/>
          </p:nvSpPr>
          <p:spPr bwMode="auto">
            <a:xfrm>
              <a:off x="8883890" y="739439"/>
              <a:ext cx="9525" cy="11112"/>
            </a:xfrm>
            <a:custGeom>
              <a:avLst/>
              <a:gdLst>
                <a:gd name="T0" fmla="*/ 90 w 110"/>
                <a:gd name="T1" fmla="*/ 90 h 110"/>
                <a:gd name="T2" fmla="*/ 19 w 110"/>
                <a:gd name="T3" fmla="*/ 90 h 110"/>
                <a:gd name="T4" fmla="*/ 19 w 110"/>
                <a:gd name="T5" fmla="*/ 19 h 110"/>
                <a:gd name="T6" fmla="*/ 90 w 110"/>
                <a:gd name="T7" fmla="*/ 19 h 110"/>
                <a:gd name="T8" fmla="*/ 90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0"/>
                  </a:moveTo>
                  <a:cubicBezTo>
                    <a:pt x="71" y="110"/>
                    <a:pt x="39" y="110"/>
                    <a:pt x="19" y="90"/>
                  </a:cubicBezTo>
                  <a:cubicBezTo>
                    <a:pt x="0" y="71"/>
                    <a:pt x="0" y="39"/>
                    <a:pt x="19" y="19"/>
                  </a:cubicBezTo>
                  <a:cubicBezTo>
                    <a:pt x="39" y="0"/>
                    <a:pt x="71" y="0"/>
                    <a:pt x="90" y="19"/>
                  </a:cubicBezTo>
                  <a:cubicBezTo>
                    <a:pt x="110" y="39"/>
                    <a:pt x="110" y="71"/>
                    <a:pt x="90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75" name="Oval 80">
              <a:extLst>
                <a:ext uri="{FF2B5EF4-FFF2-40B4-BE49-F238E27FC236}">
                  <a16:creationId xmlns:a16="http://schemas.microsoft.com/office/drawing/2014/main" id="{F0DC97BD-EBF8-478B-8768-2489EEEAE5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47390" y="739439"/>
              <a:ext cx="9525" cy="9525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76" name="Oval 81">
              <a:extLst>
                <a:ext uri="{FF2B5EF4-FFF2-40B4-BE49-F238E27FC236}">
                  <a16:creationId xmlns:a16="http://schemas.microsoft.com/office/drawing/2014/main" id="{BFCB7742-700B-45B0-BB46-FA594A3A05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47390" y="739439"/>
              <a:ext cx="9525" cy="9525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77" name="Freeform 82">
              <a:extLst>
                <a:ext uri="{FF2B5EF4-FFF2-40B4-BE49-F238E27FC236}">
                  <a16:creationId xmlns:a16="http://schemas.microsoft.com/office/drawing/2014/main" id="{A1927DB8-A8D5-4A92-B6D4-F6A0667CC8DD}"/>
                </a:ext>
              </a:extLst>
            </p:cNvPr>
            <p:cNvSpPr>
              <a:spLocks/>
            </p:cNvSpPr>
            <p:nvPr/>
          </p:nvSpPr>
          <p:spPr bwMode="auto">
            <a:xfrm>
              <a:off x="7864715" y="675939"/>
              <a:ext cx="9525" cy="9525"/>
            </a:xfrm>
            <a:custGeom>
              <a:avLst/>
              <a:gdLst>
                <a:gd name="T0" fmla="*/ 50 w 100"/>
                <a:gd name="T1" fmla="*/ 100 h 100"/>
                <a:gd name="T2" fmla="*/ 0 w 100"/>
                <a:gd name="T3" fmla="*/ 50 h 100"/>
                <a:gd name="T4" fmla="*/ 50 w 100"/>
                <a:gd name="T5" fmla="*/ 0 h 100"/>
                <a:gd name="T6" fmla="*/ 100 w 100"/>
                <a:gd name="T7" fmla="*/ 50 h 100"/>
                <a:gd name="T8" fmla="*/ 50 w 100"/>
                <a:gd name="T9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00">
                  <a:moveTo>
                    <a:pt x="50" y="100"/>
                  </a:moveTo>
                  <a:cubicBezTo>
                    <a:pt x="23" y="100"/>
                    <a:pt x="0" y="77"/>
                    <a:pt x="0" y="50"/>
                  </a:cubicBezTo>
                  <a:cubicBezTo>
                    <a:pt x="0" y="22"/>
                    <a:pt x="23" y="0"/>
                    <a:pt x="50" y="0"/>
                  </a:cubicBezTo>
                  <a:cubicBezTo>
                    <a:pt x="78" y="0"/>
                    <a:pt x="100" y="22"/>
                    <a:pt x="100" y="50"/>
                  </a:cubicBezTo>
                  <a:cubicBezTo>
                    <a:pt x="100" y="78"/>
                    <a:pt x="78" y="100"/>
                    <a:pt x="50" y="10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78" name="Freeform 83">
              <a:extLst>
                <a:ext uri="{FF2B5EF4-FFF2-40B4-BE49-F238E27FC236}">
                  <a16:creationId xmlns:a16="http://schemas.microsoft.com/office/drawing/2014/main" id="{F3A64034-EDB7-4196-8F1A-596D063FE59B}"/>
                </a:ext>
              </a:extLst>
            </p:cNvPr>
            <p:cNvSpPr>
              <a:spLocks/>
            </p:cNvSpPr>
            <p:nvPr/>
          </p:nvSpPr>
          <p:spPr bwMode="auto">
            <a:xfrm>
              <a:off x="7864715" y="675939"/>
              <a:ext cx="9525" cy="9525"/>
            </a:xfrm>
            <a:custGeom>
              <a:avLst/>
              <a:gdLst>
                <a:gd name="T0" fmla="*/ 50 w 100"/>
                <a:gd name="T1" fmla="*/ 100 h 100"/>
                <a:gd name="T2" fmla="*/ 0 w 100"/>
                <a:gd name="T3" fmla="*/ 50 h 100"/>
                <a:gd name="T4" fmla="*/ 50 w 100"/>
                <a:gd name="T5" fmla="*/ 0 h 100"/>
                <a:gd name="T6" fmla="*/ 100 w 100"/>
                <a:gd name="T7" fmla="*/ 50 h 100"/>
                <a:gd name="T8" fmla="*/ 50 w 100"/>
                <a:gd name="T9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00">
                  <a:moveTo>
                    <a:pt x="50" y="100"/>
                  </a:moveTo>
                  <a:cubicBezTo>
                    <a:pt x="23" y="100"/>
                    <a:pt x="0" y="77"/>
                    <a:pt x="0" y="50"/>
                  </a:cubicBezTo>
                  <a:cubicBezTo>
                    <a:pt x="0" y="22"/>
                    <a:pt x="23" y="0"/>
                    <a:pt x="50" y="0"/>
                  </a:cubicBezTo>
                  <a:cubicBezTo>
                    <a:pt x="78" y="0"/>
                    <a:pt x="100" y="22"/>
                    <a:pt x="100" y="50"/>
                  </a:cubicBezTo>
                  <a:cubicBezTo>
                    <a:pt x="100" y="78"/>
                    <a:pt x="78" y="100"/>
                    <a:pt x="50" y="10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79" name="Freeform 84">
              <a:extLst>
                <a:ext uri="{FF2B5EF4-FFF2-40B4-BE49-F238E27FC236}">
                  <a16:creationId xmlns:a16="http://schemas.microsoft.com/office/drawing/2014/main" id="{88A39D6D-7790-42EF-BAF0-2B9249162359}"/>
                </a:ext>
              </a:extLst>
            </p:cNvPr>
            <p:cNvSpPr>
              <a:spLocks/>
            </p:cNvSpPr>
            <p:nvPr/>
          </p:nvSpPr>
          <p:spPr bwMode="auto">
            <a:xfrm>
              <a:off x="7928215" y="675939"/>
              <a:ext cx="9525" cy="9525"/>
            </a:xfrm>
            <a:custGeom>
              <a:avLst/>
              <a:gdLst>
                <a:gd name="T0" fmla="*/ 51 w 101"/>
                <a:gd name="T1" fmla="*/ 100 h 100"/>
                <a:gd name="T2" fmla="*/ 0 w 101"/>
                <a:gd name="T3" fmla="*/ 50 h 100"/>
                <a:gd name="T4" fmla="*/ 51 w 101"/>
                <a:gd name="T5" fmla="*/ 0 h 100"/>
                <a:gd name="T6" fmla="*/ 101 w 101"/>
                <a:gd name="T7" fmla="*/ 50 h 100"/>
                <a:gd name="T8" fmla="*/ 51 w 101"/>
                <a:gd name="T9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" h="100">
                  <a:moveTo>
                    <a:pt x="51" y="100"/>
                  </a:moveTo>
                  <a:cubicBezTo>
                    <a:pt x="23" y="100"/>
                    <a:pt x="0" y="77"/>
                    <a:pt x="0" y="50"/>
                  </a:cubicBezTo>
                  <a:cubicBezTo>
                    <a:pt x="0" y="22"/>
                    <a:pt x="23" y="0"/>
                    <a:pt x="51" y="0"/>
                  </a:cubicBezTo>
                  <a:cubicBezTo>
                    <a:pt x="78" y="0"/>
                    <a:pt x="101" y="22"/>
                    <a:pt x="101" y="50"/>
                  </a:cubicBezTo>
                  <a:cubicBezTo>
                    <a:pt x="100" y="78"/>
                    <a:pt x="78" y="100"/>
                    <a:pt x="51" y="10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80" name="Freeform 85">
              <a:extLst>
                <a:ext uri="{FF2B5EF4-FFF2-40B4-BE49-F238E27FC236}">
                  <a16:creationId xmlns:a16="http://schemas.microsoft.com/office/drawing/2014/main" id="{0C5E85FC-9861-4980-867D-ED1C95F789E5}"/>
                </a:ext>
              </a:extLst>
            </p:cNvPr>
            <p:cNvSpPr>
              <a:spLocks/>
            </p:cNvSpPr>
            <p:nvPr/>
          </p:nvSpPr>
          <p:spPr bwMode="auto">
            <a:xfrm>
              <a:off x="7928215" y="675939"/>
              <a:ext cx="9525" cy="9525"/>
            </a:xfrm>
            <a:custGeom>
              <a:avLst/>
              <a:gdLst>
                <a:gd name="T0" fmla="*/ 51 w 101"/>
                <a:gd name="T1" fmla="*/ 100 h 100"/>
                <a:gd name="T2" fmla="*/ 0 w 101"/>
                <a:gd name="T3" fmla="*/ 50 h 100"/>
                <a:gd name="T4" fmla="*/ 51 w 101"/>
                <a:gd name="T5" fmla="*/ 0 h 100"/>
                <a:gd name="T6" fmla="*/ 101 w 101"/>
                <a:gd name="T7" fmla="*/ 50 h 100"/>
                <a:gd name="T8" fmla="*/ 51 w 101"/>
                <a:gd name="T9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" h="100">
                  <a:moveTo>
                    <a:pt x="51" y="100"/>
                  </a:moveTo>
                  <a:cubicBezTo>
                    <a:pt x="23" y="100"/>
                    <a:pt x="0" y="77"/>
                    <a:pt x="0" y="50"/>
                  </a:cubicBezTo>
                  <a:cubicBezTo>
                    <a:pt x="0" y="22"/>
                    <a:pt x="23" y="0"/>
                    <a:pt x="51" y="0"/>
                  </a:cubicBezTo>
                  <a:cubicBezTo>
                    <a:pt x="78" y="0"/>
                    <a:pt x="101" y="22"/>
                    <a:pt x="101" y="50"/>
                  </a:cubicBezTo>
                  <a:cubicBezTo>
                    <a:pt x="100" y="78"/>
                    <a:pt x="78" y="100"/>
                    <a:pt x="51" y="10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81" name="Oval 86">
              <a:extLst>
                <a:ext uri="{FF2B5EF4-FFF2-40B4-BE49-F238E27FC236}">
                  <a16:creationId xmlns:a16="http://schemas.microsoft.com/office/drawing/2014/main" id="{D3701D6B-059B-4440-94F5-D4879F9B93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93303" y="675939"/>
              <a:ext cx="9525" cy="9525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82" name="Oval 87">
              <a:extLst>
                <a:ext uri="{FF2B5EF4-FFF2-40B4-BE49-F238E27FC236}">
                  <a16:creationId xmlns:a16="http://schemas.microsoft.com/office/drawing/2014/main" id="{9465380A-B9F6-43F5-B472-884D7E4C27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93303" y="675939"/>
              <a:ext cx="9525" cy="9525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83" name="Oval 88">
              <a:extLst>
                <a:ext uri="{FF2B5EF4-FFF2-40B4-BE49-F238E27FC236}">
                  <a16:creationId xmlns:a16="http://schemas.microsoft.com/office/drawing/2014/main" id="{49128C94-D65D-4B51-AF3C-7A1AFA46CAE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56803" y="675939"/>
              <a:ext cx="9525" cy="9525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84" name="Oval 89">
              <a:extLst>
                <a:ext uri="{FF2B5EF4-FFF2-40B4-BE49-F238E27FC236}">
                  <a16:creationId xmlns:a16="http://schemas.microsoft.com/office/drawing/2014/main" id="{C1833A1D-0410-4D30-9D0E-53626EC630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56803" y="675939"/>
              <a:ext cx="9525" cy="9525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85" name="Freeform 90">
              <a:extLst>
                <a:ext uri="{FF2B5EF4-FFF2-40B4-BE49-F238E27FC236}">
                  <a16:creationId xmlns:a16="http://schemas.microsoft.com/office/drawing/2014/main" id="{440D1876-9C71-4781-9AAF-02BAFE5416CB}"/>
                </a:ext>
              </a:extLst>
            </p:cNvPr>
            <p:cNvSpPr>
              <a:spLocks/>
            </p:cNvSpPr>
            <p:nvPr/>
          </p:nvSpPr>
          <p:spPr bwMode="auto">
            <a:xfrm>
              <a:off x="8118715" y="675939"/>
              <a:ext cx="11113" cy="11112"/>
            </a:xfrm>
            <a:custGeom>
              <a:avLst/>
              <a:gdLst>
                <a:gd name="T0" fmla="*/ 91 w 110"/>
                <a:gd name="T1" fmla="*/ 90 h 110"/>
                <a:gd name="T2" fmla="*/ 20 w 110"/>
                <a:gd name="T3" fmla="*/ 90 h 110"/>
                <a:gd name="T4" fmla="*/ 20 w 110"/>
                <a:gd name="T5" fmla="*/ 19 h 110"/>
                <a:gd name="T6" fmla="*/ 91 w 110"/>
                <a:gd name="T7" fmla="*/ 19 h 110"/>
                <a:gd name="T8" fmla="*/ 91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1" y="90"/>
                  </a:moveTo>
                  <a:cubicBezTo>
                    <a:pt x="71" y="110"/>
                    <a:pt x="39" y="110"/>
                    <a:pt x="20" y="90"/>
                  </a:cubicBezTo>
                  <a:cubicBezTo>
                    <a:pt x="0" y="71"/>
                    <a:pt x="0" y="39"/>
                    <a:pt x="20" y="19"/>
                  </a:cubicBezTo>
                  <a:cubicBezTo>
                    <a:pt x="39" y="0"/>
                    <a:pt x="71" y="0"/>
                    <a:pt x="91" y="19"/>
                  </a:cubicBezTo>
                  <a:cubicBezTo>
                    <a:pt x="110" y="39"/>
                    <a:pt x="110" y="71"/>
                    <a:pt x="91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86" name="Freeform 91">
              <a:extLst>
                <a:ext uri="{FF2B5EF4-FFF2-40B4-BE49-F238E27FC236}">
                  <a16:creationId xmlns:a16="http://schemas.microsoft.com/office/drawing/2014/main" id="{8E819072-A1C0-4565-8BD7-61BA807D2900}"/>
                </a:ext>
              </a:extLst>
            </p:cNvPr>
            <p:cNvSpPr>
              <a:spLocks/>
            </p:cNvSpPr>
            <p:nvPr/>
          </p:nvSpPr>
          <p:spPr bwMode="auto">
            <a:xfrm>
              <a:off x="8118715" y="675939"/>
              <a:ext cx="11113" cy="11112"/>
            </a:xfrm>
            <a:custGeom>
              <a:avLst/>
              <a:gdLst>
                <a:gd name="T0" fmla="*/ 91 w 110"/>
                <a:gd name="T1" fmla="*/ 90 h 110"/>
                <a:gd name="T2" fmla="*/ 20 w 110"/>
                <a:gd name="T3" fmla="*/ 90 h 110"/>
                <a:gd name="T4" fmla="*/ 20 w 110"/>
                <a:gd name="T5" fmla="*/ 19 h 110"/>
                <a:gd name="T6" fmla="*/ 91 w 110"/>
                <a:gd name="T7" fmla="*/ 19 h 110"/>
                <a:gd name="T8" fmla="*/ 91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1" y="90"/>
                  </a:moveTo>
                  <a:cubicBezTo>
                    <a:pt x="71" y="110"/>
                    <a:pt x="39" y="110"/>
                    <a:pt x="20" y="90"/>
                  </a:cubicBezTo>
                  <a:cubicBezTo>
                    <a:pt x="0" y="71"/>
                    <a:pt x="0" y="39"/>
                    <a:pt x="20" y="19"/>
                  </a:cubicBezTo>
                  <a:cubicBezTo>
                    <a:pt x="39" y="0"/>
                    <a:pt x="71" y="0"/>
                    <a:pt x="91" y="19"/>
                  </a:cubicBezTo>
                  <a:cubicBezTo>
                    <a:pt x="110" y="39"/>
                    <a:pt x="110" y="71"/>
                    <a:pt x="91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87" name="Oval 92">
              <a:extLst>
                <a:ext uri="{FF2B5EF4-FFF2-40B4-BE49-F238E27FC236}">
                  <a16:creationId xmlns:a16="http://schemas.microsoft.com/office/drawing/2014/main" id="{D909C0ED-AD35-4E8B-934A-301F310BD0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83803" y="675939"/>
              <a:ext cx="9525" cy="9525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88" name="Oval 93">
              <a:extLst>
                <a:ext uri="{FF2B5EF4-FFF2-40B4-BE49-F238E27FC236}">
                  <a16:creationId xmlns:a16="http://schemas.microsoft.com/office/drawing/2014/main" id="{8561519A-2B5B-4391-8B01-2C02BB1AD0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83803" y="675939"/>
              <a:ext cx="9525" cy="9525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89" name="Freeform 94">
              <a:extLst>
                <a:ext uri="{FF2B5EF4-FFF2-40B4-BE49-F238E27FC236}">
                  <a16:creationId xmlns:a16="http://schemas.microsoft.com/office/drawing/2014/main" id="{AF528552-9EA5-41F1-9782-9E05559E420B}"/>
                </a:ext>
              </a:extLst>
            </p:cNvPr>
            <p:cNvSpPr>
              <a:spLocks/>
            </p:cNvSpPr>
            <p:nvPr/>
          </p:nvSpPr>
          <p:spPr bwMode="auto">
            <a:xfrm>
              <a:off x="8247303" y="675939"/>
              <a:ext cx="9525" cy="11112"/>
            </a:xfrm>
            <a:custGeom>
              <a:avLst/>
              <a:gdLst>
                <a:gd name="T0" fmla="*/ 90 w 110"/>
                <a:gd name="T1" fmla="*/ 90 h 110"/>
                <a:gd name="T2" fmla="*/ 19 w 110"/>
                <a:gd name="T3" fmla="*/ 90 h 110"/>
                <a:gd name="T4" fmla="*/ 19 w 110"/>
                <a:gd name="T5" fmla="*/ 19 h 110"/>
                <a:gd name="T6" fmla="*/ 90 w 110"/>
                <a:gd name="T7" fmla="*/ 19 h 110"/>
                <a:gd name="T8" fmla="*/ 90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0"/>
                  </a:moveTo>
                  <a:cubicBezTo>
                    <a:pt x="70" y="110"/>
                    <a:pt x="39" y="110"/>
                    <a:pt x="19" y="90"/>
                  </a:cubicBezTo>
                  <a:cubicBezTo>
                    <a:pt x="0" y="71"/>
                    <a:pt x="0" y="39"/>
                    <a:pt x="19" y="19"/>
                  </a:cubicBezTo>
                  <a:cubicBezTo>
                    <a:pt x="39" y="0"/>
                    <a:pt x="70" y="0"/>
                    <a:pt x="90" y="19"/>
                  </a:cubicBezTo>
                  <a:cubicBezTo>
                    <a:pt x="110" y="39"/>
                    <a:pt x="110" y="71"/>
                    <a:pt x="90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90" name="Freeform 95">
              <a:extLst>
                <a:ext uri="{FF2B5EF4-FFF2-40B4-BE49-F238E27FC236}">
                  <a16:creationId xmlns:a16="http://schemas.microsoft.com/office/drawing/2014/main" id="{A9564872-3097-421A-A3E5-A43E21FC51CD}"/>
                </a:ext>
              </a:extLst>
            </p:cNvPr>
            <p:cNvSpPr>
              <a:spLocks/>
            </p:cNvSpPr>
            <p:nvPr/>
          </p:nvSpPr>
          <p:spPr bwMode="auto">
            <a:xfrm>
              <a:off x="8247303" y="675939"/>
              <a:ext cx="9525" cy="11112"/>
            </a:xfrm>
            <a:custGeom>
              <a:avLst/>
              <a:gdLst>
                <a:gd name="T0" fmla="*/ 90 w 110"/>
                <a:gd name="T1" fmla="*/ 90 h 110"/>
                <a:gd name="T2" fmla="*/ 19 w 110"/>
                <a:gd name="T3" fmla="*/ 90 h 110"/>
                <a:gd name="T4" fmla="*/ 19 w 110"/>
                <a:gd name="T5" fmla="*/ 19 h 110"/>
                <a:gd name="T6" fmla="*/ 90 w 110"/>
                <a:gd name="T7" fmla="*/ 19 h 110"/>
                <a:gd name="T8" fmla="*/ 90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0"/>
                  </a:moveTo>
                  <a:cubicBezTo>
                    <a:pt x="70" y="110"/>
                    <a:pt x="39" y="110"/>
                    <a:pt x="19" y="90"/>
                  </a:cubicBezTo>
                  <a:cubicBezTo>
                    <a:pt x="0" y="71"/>
                    <a:pt x="0" y="39"/>
                    <a:pt x="19" y="19"/>
                  </a:cubicBezTo>
                  <a:cubicBezTo>
                    <a:pt x="39" y="0"/>
                    <a:pt x="70" y="0"/>
                    <a:pt x="90" y="19"/>
                  </a:cubicBezTo>
                  <a:cubicBezTo>
                    <a:pt x="110" y="39"/>
                    <a:pt x="110" y="71"/>
                    <a:pt x="90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91" name="Freeform 96">
              <a:extLst>
                <a:ext uri="{FF2B5EF4-FFF2-40B4-BE49-F238E27FC236}">
                  <a16:creationId xmlns:a16="http://schemas.microsoft.com/office/drawing/2014/main" id="{D4EBC08E-2824-45FB-B7DC-8292303A969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10803" y="675939"/>
              <a:ext cx="9525" cy="11112"/>
            </a:xfrm>
            <a:custGeom>
              <a:avLst/>
              <a:gdLst>
                <a:gd name="T0" fmla="*/ 90 w 110"/>
                <a:gd name="T1" fmla="*/ 90 h 110"/>
                <a:gd name="T2" fmla="*/ 19 w 110"/>
                <a:gd name="T3" fmla="*/ 90 h 110"/>
                <a:gd name="T4" fmla="*/ 19 w 110"/>
                <a:gd name="T5" fmla="*/ 19 h 110"/>
                <a:gd name="T6" fmla="*/ 90 w 110"/>
                <a:gd name="T7" fmla="*/ 19 h 110"/>
                <a:gd name="T8" fmla="*/ 90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0"/>
                  </a:moveTo>
                  <a:cubicBezTo>
                    <a:pt x="71" y="110"/>
                    <a:pt x="39" y="110"/>
                    <a:pt x="19" y="90"/>
                  </a:cubicBezTo>
                  <a:cubicBezTo>
                    <a:pt x="0" y="71"/>
                    <a:pt x="0" y="39"/>
                    <a:pt x="19" y="19"/>
                  </a:cubicBezTo>
                  <a:cubicBezTo>
                    <a:pt x="39" y="0"/>
                    <a:pt x="71" y="0"/>
                    <a:pt x="90" y="19"/>
                  </a:cubicBezTo>
                  <a:cubicBezTo>
                    <a:pt x="110" y="39"/>
                    <a:pt x="110" y="71"/>
                    <a:pt x="90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92" name="Freeform 97">
              <a:extLst>
                <a:ext uri="{FF2B5EF4-FFF2-40B4-BE49-F238E27FC236}">
                  <a16:creationId xmlns:a16="http://schemas.microsoft.com/office/drawing/2014/main" id="{C62BF667-2CEA-4DFD-9199-CFB8FF45F515}"/>
                </a:ext>
              </a:extLst>
            </p:cNvPr>
            <p:cNvSpPr>
              <a:spLocks/>
            </p:cNvSpPr>
            <p:nvPr/>
          </p:nvSpPr>
          <p:spPr bwMode="auto">
            <a:xfrm>
              <a:off x="8310803" y="675939"/>
              <a:ext cx="9525" cy="11112"/>
            </a:xfrm>
            <a:custGeom>
              <a:avLst/>
              <a:gdLst>
                <a:gd name="T0" fmla="*/ 90 w 110"/>
                <a:gd name="T1" fmla="*/ 90 h 110"/>
                <a:gd name="T2" fmla="*/ 19 w 110"/>
                <a:gd name="T3" fmla="*/ 90 h 110"/>
                <a:gd name="T4" fmla="*/ 19 w 110"/>
                <a:gd name="T5" fmla="*/ 19 h 110"/>
                <a:gd name="T6" fmla="*/ 90 w 110"/>
                <a:gd name="T7" fmla="*/ 19 h 110"/>
                <a:gd name="T8" fmla="*/ 90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0"/>
                  </a:moveTo>
                  <a:cubicBezTo>
                    <a:pt x="71" y="110"/>
                    <a:pt x="39" y="110"/>
                    <a:pt x="19" y="90"/>
                  </a:cubicBezTo>
                  <a:cubicBezTo>
                    <a:pt x="0" y="71"/>
                    <a:pt x="0" y="39"/>
                    <a:pt x="19" y="19"/>
                  </a:cubicBezTo>
                  <a:cubicBezTo>
                    <a:pt x="39" y="0"/>
                    <a:pt x="71" y="0"/>
                    <a:pt x="90" y="19"/>
                  </a:cubicBezTo>
                  <a:cubicBezTo>
                    <a:pt x="110" y="39"/>
                    <a:pt x="110" y="71"/>
                    <a:pt x="90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93" name="Freeform 98">
              <a:extLst>
                <a:ext uri="{FF2B5EF4-FFF2-40B4-BE49-F238E27FC236}">
                  <a16:creationId xmlns:a16="http://schemas.microsoft.com/office/drawing/2014/main" id="{89183B96-3B53-4B71-8C3E-38EAA65A84D4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4303" y="675939"/>
              <a:ext cx="9525" cy="9525"/>
            </a:xfrm>
            <a:custGeom>
              <a:avLst/>
              <a:gdLst>
                <a:gd name="T0" fmla="*/ 50 w 101"/>
                <a:gd name="T1" fmla="*/ 100 h 100"/>
                <a:gd name="T2" fmla="*/ 0 w 101"/>
                <a:gd name="T3" fmla="*/ 50 h 100"/>
                <a:gd name="T4" fmla="*/ 50 w 101"/>
                <a:gd name="T5" fmla="*/ 0 h 100"/>
                <a:gd name="T6" fmla="*/ 100 w 101"/>
                <a:gd name="T7" fmla="*/ 50 h 100"/>
                <a:gd name="T8" fmla="*/ 50 w 101"/>
                <a:gd name="T9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" h="100">
                  <a:moveTo>
                    <a:pt x="50" y="100"/>
                  </a:moveTo>
                  <a:cubicBezTo>
                    <a:pt x="23" y="100"/>
                    <a:pt x="0" y="77"/>
                    <a:pt x="0" y="50"/>
                  </a:cubicBezTo>
                  <a:cubicBezTo>
                    <a:pt x="0" y="22"/>
                    <a:pt x="23" y="0"/>
                    <a:pt x="50" y="0"/>
                  </a:cubicBezTo>
                  <a:cubicBezTo>
                    <a:pt x="77" y="0"/>
                    <a:pt x="100" y="22"/>
                    <a:pt x="100" y="50"/>
                  </a:cubicBezTo>
                  <a:cubicBezTo>
                    <a:pt x="101" y="78"/>
                    <a:pt x="78" y="100"/>
                    <a:pt x="50" y="10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94" name="Freeform 99">
              <a:extLst>
                <a:ext uri="{FF2B5EF4-FFF2-40B4-BE49-F238E27FC236}">
                  <a16:creationId xmlns:a16="http://schemas.microsoft.com/office/drawing/2014/main" id="{28E80CCF-F078-4ACC-A355-F5CBC62FB826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4303" y="675939"/>
              <a:ext cx="9525" cy="9525"/>
            </a:xfrm>
            <a:custGeom>
              <a:avLst/>
              <a:gdLst>
                <a:gd name="T0" fmla="*/ 50 w 101"/>
                <a:gd name="T1" fmla="*/ 100 h 100"/>
                <a:gd name="T2" fmla="*/ 0 w 101"/>
                <a:gd name="T3" fmla="*/ 50 h 100"/>
                <a:gd name="T4" fmla="*/ 50 w 101"/>
                <a:gd name="T5" fmla="*/ 0 h 100"/>
                <a:gd name="T6" fmla="*/ 100 w 101"/>
                <a:gd name="T7" fmla="*/ 50 h 100"/>
                <a:gd name="T8" fmla="*/ 50 w 101"/>
                <a:gd name="T9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" h="100">
                  <a:moveTo>
                    <a:pt x="50" y="100"/>
                  </a:moveTo>
                  <a:cubicBezTo>
                    <a:pt x="23" y="100"/>
                    <a:pt x="0" y="77"/>
                    <a:pt x="0" y="50"/>
                  </a:cubicBezTo>
                  <a:cubicBezTo>
                    <a:pt x="0" y="22"/>
                    <a:pt x="23" y="0"/>
                    <a:pt x="50" y="0"/>
                  </a:cubicBezTo>
                  <a:cubicBezTo>
                    <a:pt x="77" y="0"/>
                    <a:pt x="100" y="22"/>
                    <a:pt x="100" y="50"/>
                  </a:cubicBezTo>
                  <a:cubicBezTo>
                    <a:pt x="101" y="78"/>
                    <a:pt x="78" y="100"/>
                    <a:pt x="50" y="10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95" name="Freeform 100">
              <a:extLst>
                <a:ext uri="{FF2B5EF4-FFF2-40B4-BE49-F238E27FC236}">
                  <a16:creationId xmlns:a16="http://schemas.microsoft.com/office/drawing/2014/main" id="{97104149-A1CE-4622-BABF-4848C813460B}"/>
                </a:ext>
              </a:extLst>
            </p:cNvPr>
            <p:cNvSpPr>
              <a:spLocks/>
            </p:cNvSpPr>
            <p:nvPr/>
          </p:nvSpPr>
          <p:spPr bwMode="auto">
            <a:xfrm>
              <a:off x="8437803" y="675939"/>
              <a:ext cx="11113" cy="11112"/>
            </a:xfrm>
            <a:custGeom>
              <a:avLst/>
              <a:gdLst>
                <a:gd name="T0" fmla="*/ 91 w 110"/>
                <a:gd name="T1" fmla="*/ 90 h 110"/>
                <a:gd name="T2" fmla="*/ 20 w 110"/>
                <a:gd name="T3" fmla="*/ 90 h 110"/>
                <a:gd name="T4" fmla="*/ 20 w 110"/>
                <a:gd name="T5" fmla="*/ 19 h 110"/>
                <a:gd name="T6" fmla="*/ 91 w 110"/>
                <a:gd name="T7" fmla="*/ 19 h 110"/>
                <a:gd name="T8" fmla="*/ 91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1" y="90"/>
                  </a:moveTo>
                  <a:cubicBezTo>
                    <a:pt x="71" y="110"/>
                    <a:pt x="39" y="110"/>
                    <a:pt x="20" y="90"/>
                  </a:cubicBezTo>
                  <a:cubicBezTo>
                    <a:pt x="0" y="71"/>
                    <a:pt x="0" y="39"/>
                    <a:pt x="20" y="19"/>
                  </a:cubicBezTo>
                  <a:cubicBezTo>
                    <a:pt x="39" y="0"/>
                    <a:pt x="71" y="0"/>
                    <a:pt x="91" y="19"/>
                  </a:cubicBezTo>
                  <a:cubicBezTo>
                    <a:pt x="110" y="39"/>
                    <a:pt x="110" y="71"/>
                    <a:pt x="91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96" name="Freeform 101">
              <a:extLst>
                <a:ext uri="{FF2B5EF4-FFF2-40B4-BE49-F238E27FC236}">
                  <a16:creationId xmlns:a16="http://schemas.microsoft.com/office/drawing/2014/main" id="{3E508C5D-DDC6-44AA-96F2-118E478A86A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37803" y="675939"/>
              <a:ext cx="11113" cy="11112"/>
            </a:xfrm>
            <a:custGeom>
              <a:avLst/>
              <a:gdLst>
                <a:gd name="T0" fmla="*/ 91 w 110"/>
                <a:gd name="T1" fmla="*/ 90 h 110"/>
                <a:gd name="T2" fmla="*/ 20 w 110"/>
                <a:gd name="T3" fmla="*/ 90 h 110"/>
                <a:gd name="T4" fmla="*/ 20 w 110"/>
                <a:gd name="T5" fmla="*/ 19 h 110"/>
                <a:gd name="T6" fmla="*/ 91 w 110"/>
                <a:gd name="T7" fmla="*/ 19 h 110"/>
                <a:gd name="T8" fmla="*/ 91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1" y="90"/>
                  </a:moveTo>
                  <a:cubicBezTo>
                    <a:pt x="71" y="110"/>
                    <a:pt x="39" y="110"/>
                    <a:pt x="20" y="90"/>
                  </a:cubicBezTo>
                  <a:cubicBezTo>
                    <a:pt x="0" y="71"/>
                    <a:pt x="0" y="39"/>
                    <a:pt x="20" y="19"/>
                  </a:cubicBezTo>
                  <a:cubicBezTo>
                    <a:pt x="39" y="0"/>
                    <a:pt x="71" y="0"/>
                    <a:pt x="91" y="19"/>
                  </a:cubicBezTo>
                  <a:cubicBezTo>
                    <a:pt x="110" y="39"/>
                    <a:pt x="110" y="71"/>
                    <a:pt x="91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97" name="Freeform 102">
              <a:extLst>
                <a:ext uri="{FF2B5EF4-FFF2-40B4-BE49-F238E27FC236}">
                  <a16:creationId xmlns:a16="http://schemas.microsoft.com/office/drawing/2014/main" id="{16D329A1-19F4-4891-B952-0020EF12DCD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01303" y="675939"/>
              <a:ext cx="11113" cy="11112"/>
            </a:xfrm>
            <a:custGeom>
              <a:avLst/>
              <a:gdLst>
                <a:gd name="T0" fmla="*/ 91 w 110"/>
                <a:gd name="T1" fmla="*/ 90 h 110"/>
                <a:gd name="T2" fmla="*/ 20 w 110"/>
                <a:gd name="T3" fmla="*/ 90 h 110"/>
                <a:gd name="T4" fmla="*/ 20 w 110"/>
                <a:gd name="T5" fmla="*/ 19 h 110"/>
                <a:gd name="T6" fmla="*/ 91 w 110"/>
                <a:gd name="T7" fmla="*/ 19 h 110"/>
                <a:gd name="T8" fmla="*/ 91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1" y="90"/>
                  </a:moveTo>
                  <a:cubicBezTo>
                    <a:pt x="71" y="110"/>
                    <a:pt x="40" y="110"/>
                    <a:pt x="20" y="90"/>
                  </a:cubicBezTo>
                  <a:cubicBezTo>
                    <a:pt x="0" y="71"/>
                    <a:pt x="0" y="39"/>
                    <a:pt x="20" y="19"/>
                  </a:cubicBezTo>
                  <a:cubicBezTo>
                    <a:pt x="40" y="0"/>
                    <a:pt x="71" y="0"/>
                    <a:pt x="91" y="19"/>
                  </a:cubicBezTo>
                  <a:cubicBezTo>
                    <a:pt x="110" y="39"/>
                    <a:pt x="110" y="71"/>
                    <a:pt x="91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98" name="Freeform 103">
              <a:extLst>
                <a:ext uri="{FF2B5EF4-FFF2-40B4-BE49-F238E27FC236}">
                  <a16:creationId xmlns:a16="http://schemas.microsoft.com/office/drawing/2014/main" id="{6A9C7BAE-6D1F-40AF-BA43-E6CB1E55C625}"/>
                </a:ext>
              </a:extLst>
            </p:cNvPr>
            <p:cNvSpPr>
              <a:spLocks/>
            </p:cNvSpPr>
            <p:nvPr/>
          </p:nvSpPr>
          <p:spPr bwMode="auto">
            <a:xfrm>
              <a:off x="8501303" y="675939"/>
              <a:ext cx="11113" cy="11112"/>
            </a:xfrm>
            <a:custGeom>
              <a:avLst/>
              <a:gdLst>
                <a:gd name="T0" fmla="*/ 91 w 110"/>
                <a:gd name="T1" fmla="*/ 90 h 110"/>
                <a:gd name="T2" fmla="*/ 20 w 110"/>
                <a:gd name="T3" fmla="*/ 90 h 110"/>
                <a:gd name="T4" fmla="*/ 20 w 110"/>
                <a:gd name="T5" fmla="*/ 19 h 110"/>
                <a:gd name="T6" fmla="*/ 91 w 110"/>
                <a:gd name="T7" fmla="*/ 19 h 110"/>
                <a:gd name="T8" fmla="*/ 91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1" y="90"/>
                  </a:moveTo>
                  <a:cubicBezTo>
                    <a:pt x="71" y="110"/>
                    <a:pt x="40" y="110"/>
                    <a:pt x="20" y="90"/>
                  </a:cubicBezTo>
                  <a:cubicBezTo>
                    <a:pt x="0" y="71"/>
                    <a:pt x="0" y="39"/>
                    <a:pt x="20" y="19"/>
                  </a:cubicBezTo>
                  <a:cubicBezTo>
                    <a:pt x="40" y="0"/>
                    <a:pt x="71" y="0"/>
                    <a:pt x="91" y="19"/>
                  </a:cubicBezTo>
                  <a:cubicBezTo>
                    <a:pt x="110" y="39"/>
                    <a:pt x="110" y="71"/>
                    <a:pt x="91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99" name="Freeform 104">
              <a:extLst>
                <a:ext uri="{FF2B5EF4-FFF2-40B4-BE49-F238E27FC236}">
                  <a16:creationId xmlns:a16="http://schemas.microsoft.com/office/drawing/2014/main" id="{8C2DCF6A-FFAE-4408-B971-D648AAAA8E1E}"/>
                </a:ext>
              </a:extLst>
            </p:cNvPr>
            <p:cNvSpPr>
              <a:spLocks/>
            </p:cNvSpPr>
            <p:nvPr/>
          </p:nvSpPr>
          <p:spPr bwMode="auto">
            <a:xfrm>
              <a:off x="8564803" y="675939"/>
              <a:ext cx="11113" cy="11112"/>
            </a:xfrm>
            <a:custGeom>
              <a:avLst/>
              <a:gdLst>
                <a:gd name="T0" fmla="*/ 90 w 110"/>
                <a:gd name="T1" fmla="*/ 90 h 110"/>
                <a:gd name="T2" fmla="*/ 19 w 110"/>
                <a:gd name="T3" fmla="*/ 90 h 110"/>
                <a:gd name="T4" fmla="*/ 19 w 110"/>
                <a:gd name="T5" fmla="*/ 19 h 110"/>
                <a:gd name="T6" fmla="*/ 90 w 110"/>
                <a:gd name="T7" fmla="*/ 19 h 110"/>
                <a:gd name="T8" fmla="*/ 90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0"/>
                  </a:moveTo>
                  <a:cubicBezTo>
                    <a:pt x="71" y="110"/>
                    <a:pt x="39" y="110"/>
                    <a:pt x="19" y="90"/>
                  </a:cubicBezTo>
                  <a:cubicBezTo>
                    <a:pt x="0" y="71"/>
                    <a:pt x="0" y="39"/>
                    <a:pt x="19" y="19"/>
                  </a:cubicBezTo>
                  <a:cubicBezTo>
                    <a:pt x="39" y="0"/>
                    <a:pt x="71" y="0"/>
                    <a:pt x="90" y="19"/>
                  </a:cubicBezTo>
                  <a:cubicBezTo>
                    <a:pt x="110" y="39"/>
                    <a:pt x="110" y="71"/>
                    <a:pt x="90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100" name="Freeform 105">
              <a:extLst>
                <a:ext uri="{FF2B5EF4-FFF2-40B4-BE49-F238E27FC236}">
                  <a16:creationId xmlns:a16="http://schemas.microsoft.com/office/drawing/2014/main" id="{86169844-8785-4B08-8242-9283CF02E484}"/>
                </a:ext>
              </a:extLst>
            </p:cNvPr>
            <p:cNvSpPr>
              <a:spLocks/>
            </p:cNvSpPr>
            <p:nvPr/>
          </p:nvSpPr>
          <p:spPr bwMode="auto">
            <a:xfrm>
              <a:off x="8564803" y="675939"/>
              <a:ext cx="11113" cy="11112"/>
            </a:xfrm>
            <a:custGeom>
              <a:avLst/>
              <a:gdLst>
                <a:gd name="T0" fmla="*/ 90 w 110"/>
                <a:gd name="T1" fmla="*/ 90 h 110"/>
                <a:gd name="T2" fmla="*/ 19 w 110"/>
                <a:gd name="T3" fmla="*/ 90 h 110"/>
                <a:gd name="T4" fmla="*/ 19 w 110"/>
                <a:gd name="T5" fmla="*/ 19 h 110"/>
                <a:gd name="T6" fmla="*/ 90 w 110"/>
                <a:gd name="T7" fmla="*/ 19 h 110"/>
                <a:gd name="T8" fmla="*/ 90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0"/>
                  </a:moveTo>
                  <a:cubicBezTo>
                    <a:pt x="71" y="110"/>
                    <a:pt x="39" y="110"/>
                    <a:pt x="19" y="90"/>
                  </a:cubicBezTo>
                  <a:cubicBezTo>
                    <a:pt x="0" y="71"/>
                    <a:pt x="0" y="39"/>
                    <a:pt x="19" y="19"/>
                  </a:cubicBezTo>
                  <a:cubicBezTo>
                    <a:pt x="39" y="0"/>
                    <a:pt x="71" y="0"/>
                    <a:pt x="90" y="19"/>
                  </a:cubicBezTo>
                  <a:cubicBezTo>
                    <a:pt x="110" y="39"/>
                    <a:pt x="110" y="71"/>
                    <a:pt x="90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101" name="Freeform 106">
              <a:extLst>
                <a:ext uri="{FF2B5EF4-FFF2-40B4-BE49-F238E27FC236}">
                  <a16:creationId xmlns:a16="http://schemas.microsoft.com/office/drawing/2014/main" id="{8C8D7390-7C36-4743-9D4A-3BF1B151EBB5}"/>
                </a:ext>
              </a:extLst>
            </p:cNvPr>
            <p:cNvSpPr>
              <a:spLocks/>
            </p:cNvSpPr>
            <p:nvPr/>
          </p:nvSpPr>
          <p:spPr bwMode="auto">
            <a:xfrm>
              <a:off x="8628303" y="675939"/>
              <a:ext cx="11113" cy="11112"/>
            </a:xfrm>
            <a:custGeom>
              <a:avLst/>
              <a:gdLst>
                <a:gd name="T0" fmla="*/ 90 w 110"/>
                <a:gd name="T1" fmla="*/ 90 h 110"/>
                <a:gd name="T2" fmla="*/ 19 w 110"/>
                <a:gd name="T3" fmla="*/ 90 h 110"/>
                <a:gd name="T4" fmla="*/ 19 w 110"/>
                <a:gd name="T5" fmla="*/ 19 h 110"/>
                <a:gd name="T6" fmla="*/ 90 w 110"/>
                <a:gd name="T7" fmla="*/ 19 h 110"/>
                <a:gd name="T8" fmla="*/ 90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0"/>
                  </a:moveTo>
                  <a:cubicBezTo>
                    <a:pt x="71" y="110"/>
                    <a:pt x="39" y="110"/>
                    <a:pt x="19" y="90"/>
                  </a:cubicBezTo>
                  <a:cubicBezTo>
                    <a:pt x="0" y="71"/>
                    <a:pt x="0" y="39"/>
                    <a:pt x="19" y="19"/>
                  </a:cubicBezTo>
                  <a:cubicBezTo>
                    <a:pt x="39" y="0"/>
                    <a:pt x="71" y="0"/>
                    <a:pt x="90" y="19"/>
                  </a:cubicBezTo>
                  <a:cubicBezTo>
                    <a:pt x="110" y="39"/>
                    <a:pt x="110" y="71"/>
                    <a:pt x="90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102" name="Freeform 107">
              <a:extLst>
                <a:ext uri="{FF2B5EF4-FFF2-40B4-BE49-F238E27FC236}">
                  <a16:creationId xmlns:a16="http://schemas.microsoft.com/office/drawing/2014/main" id="{E61D1572-642E-410A-B557-DDC82FD4DA73}"/>
                </a:ext>
              </a:extLst>
            </p:cNvPr>
            <p:cNvSpPr>
              <a:spLocks/>
            </p:cNvSpPr>
            <p:nvPr/>
          </p:nvSpPr>
          <p:spPr bwMode="auto">
            <a:xfrm>
              <a:off x="8628303" y="675939"/>
              <a:ext cx="11113" cy="11112"/>
            </a:xfrm>
            <a:custGeom>
              <a:avLst/>
              <a:gdLst>
                <a:gd name="T0" fmla="*/ 90 w 110"/>
                <a:gd name="T1" fmla="*/ 90 h 110"/>
                <a:gd name="T2" fmla="*/ 19 w 110"/>
                <a:gd name="T3" fmla="*/ 90 h 110"/>
                <a:gd name="T4" fmla="*/ 19 w 110"/>
                <a:gd name="T5" fmla="*/ 19 h 110"/>
                <a:gd name="T6" fmla="*/ 90 w 110"/>
                <a:gd name="T7" fmla="*/ 19 h 110"/>
                <a:gd name="T8" fmla="*/ 90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0"/>
                  </a:moveTo>
                  <a:cubicBezTo>
                    <a:pt x="71" y="110"/>
                    <a:pt x="39" y="110"/>
                    <a:pt x="19" y="90"/>
                  </a:cubicBezTo>
                  <a:cubicBezTo>
                    <a:pt x="0" y="71"/>
                    <a:pt x="0" y="39"/>
                    <a:pt x="19" y="19"/>
                  </a:cubicBezTo>
                  <a:cubicBezTo>
                    <a:pt x="39" y="0"/>
                    <a:pt x="71" y="0"/>
                    <a:pt x="90" y="19"/>
                  </a:cubicBezTo>
                  <a:cubicBezTo>
                    <a:pt x="110" y="39"/>
                    <a:pt x="110" y="71"/>
                    <a:pt x="90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103" name="Freeform 108">
              <a:extLst>
                <a:ext uri="{FF2B5EF4-FFF2-40B4-BE49-F238E27FC236}">
                  <a16:creationId xmlns:a16="http://schemas.microsoft.com/office/drawing/2014/main" id="{2BA6C288-6A98-4CA4-8530-A7780652E08E}"/>
                </a:ext>
              </a:extLst>
            </p:cNvPr>
            <p:cNvSpPr>
              <a:spLocks/>
            </p:cNvSpPr>
            <p:nvPr/>
          </p:nvSpPr>
          <p:spPr bwMode="auto">
            <a:xfrm>
              <a:off x="8691803" y="675939"/>
              <a:ext cx="11113" cy="11112"/>
            </a:xfrm>
            <a:custGeom>
              <a:avLst/>
              <a:gdLst>
                <a:gd name="T0" fmla="*/ 91 w 110"/>
                <a:gd name="T1" fmla="*/ 90 h 110"/>
                <a:gd name="T2" fmla="*/ 20 w 110"/>
                <a:gd name="T3" fmla="*/ 90 h 110"/>
                <a:gd name="T4" fmla="*/ 20 w 110"/>
                <a:gd name="T5" fmla="*/ 19 h 110"/>
                <a:gd name="T6" fmla="*/ 91 w 110"/>
                <a:gd name="T7" fmla="*/ 19 h 110"/>
                <a:gd name="T8" fmla="*/ 91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1" y="90"/>
                  </a:moveTo>
                  <a:cubicBezTo>
                    <a:pt x="71" y="110"/>
                    <a:pt x="39" y="110"/>
                    <a:pt x="20" y="90"/>
                  </a:cubicBezTo>
                  <a:cubicBezTo>
                    <a:pt x="0" y="71"/>
                    <a:pt x="0" y="39"/>
                    <a:pt x="20" y="19"/>
                  </a:cubicBezTo>
                  <a:cubicBezTo>
                    <a:pt x="39" y="0"/>
                    <a:pt x="71" y="0"/>
                    <a:pt x="91" y="19"/>
                  </a:cubicBezTo>
                  <a:cubicBezTo>
                    <a:pt x="110" y="39"/>
                    <a:pt x="110" y="71"/>
                    <a:pt x="91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104" name="Freeform 109">
              <a:extLst>
                <a:ext uri="{FF2B5EF4-FFF2-40B4-BE49-F238E27FC236}">
                  <a16:creationId xmlns:a16="http://schemas.microsoft.com/office/drawing/2014/main" id="{174A87C3-199D-43B4-9245-A2045EC57529}"/>
                </a:ext>
              </a:extLst>
            </p:cNvPr>
            <p:cNvSpPr>
              <a:spLocks/>
            </p:cNvSpPr>
            <p:nvPr/>
          </p:nvSpPr>
          <p:spPr bwMode="auto">
            <a:xfrm>
              <a:off x="8691803" y="675939"/>
              <a:ext cx="11113" cy="11112"/>
            </a:xfrm>
            <a:custGeom>
              <a:avLst/>
              <a:gdLst>
                <a:gd name="T0" fmla="*/ 91 w 110"/>
                <a:gd name="T1" fmla="*/ 90 h 110"/>
                <a:gd name="T2" fmla="*/ 20 w 110"/>
                <a:gd name="T3" fmla="*/ 90 h 110"/>
                <a:gd name="T4" fmla="*/ 20 w 110"/>
                <a:gd name="T5" fmla="*/ 19 h 110"/>
                <a:gd name="T6" fmla="*/ 91 w 110"/>
                <a:gd name="T7" fmla="*/ 19 h 110"/>
                <a:gd name="T8" fmla="*/ 91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1" y="90"/>
                  </a:moveTo>
                  <a:cubicBezTo>
                    <a:pt x="71" y="110"/>
                    <a:pt x="39" y="110"/>
                    <a:pt x="20" y="90"/>
                  </a:cubicBezTo>
                  <a:cubicBezTo>
                    <a:pt x="0" y="71"/>
                    <a:pt x="0" y="39"/>
                    <a:pt x="20" y="19"/>
                  </a:cubicBezTo>
                  <a:cubicBezTo>
                    <a:pt x="39" y="0"/>
                    <a:pt x="71" y="0"/>
                    <a:pt x="91" y="19"/>
                  </a:cubicBezTo>
                  <a:cubicBezTo>
                    <a:pt x="110" y="39"/>
                    <a:pt x="110" y="71"/>
                    <a:pt x="91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105" name="Freeform 110">
              <a:extLst>
                <a:ext uri="{FF2B5EF4-FFF2-40B4-BE49-F238E27FC236}">
                  <a16:creationId xmlns:a16="http://schemas.microsoft.com/office/drawing/2014/main" id="{3545FD2B-298B-4F52-B5A7-CE4110B3532B}"/>
                </a:ext>
              </a:extLst>
            </p:cNvPr>
            <p:cNvSpPr>
              <a:spLocks/>
            </p:cNvSpPr>
            <p:nvPr/>
          </p:nvSpPr>
          <p:spPr bwMode="auto">
            <a:xfrm>
              <a:off x="8755303" y="675939"/>
              <a:ext cx="11113" cy="11112"/>
            </a:xfrm>
            <a:custGeom>
              <a:avLst/>
              <a:gdLst>
                <a:gd name="T0" fmla="*/ 91 w 110"/>
                <a:gd name="T1" fmla="*/ 90 h 110"/>
                <a:gd name="T2" fmla="*/ 20 w 110"/>
                <a:gd name="T3" fmla="*/ 90 h 110"/>
                <a:gd name="T4" fmla="*/ 20 w 110"/>
                <a:gd name="T5" fmla="*/ 19 h 110"/>
                <a:gd name="T6" fmla="*/ 91 w 110"/>
                <a:gd name="T7" fmla="*/ 19 h 110"/>
                <a:gd name="T8" fmla="*/ 91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1" y="90"/>
                  </a:moveTo>
                  <a:cubicBezTo>
                    <a:pt x="71" y="110"/>
                    <a:pt x="39" y="110"/>
                    <a:pt x="20" y="90"/>
                  </a:cubicBezTo>
                  <a:cubicBezTo>
                    <a:pt x="0" y="71"/>
                    <a:pt x="0" y="39"/>
                    <a:pt x="20" y="19"/>
                  </a:cubicBezTo>
                  <a:cubicBezTo>
                    <a:pt x="39" y="0"/>
                    <a:pt x="71" y="0"/>
                    <a:pt x="91" y="19"/>
                  </a:cubicBezTo>
                  <a:cubicBezTo>
                    <a:pt x="110" y="39"/>
                    <a:pt x="110" y="71"/>
                    <a:pt x="91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106" name="Freeform 111">
              <a:extLst>
                <a:ext uri="{FF2B5EF4-FFF2-40B4-BE49-F238E27FC236}">
                  <a16:creationId xmlns:a16="http://schemas.microsoft.com/office/drawing/2014/main" id="{3CED5E60-0C63-45AD-841A-3E8349544F8F}"/>
                </a:ext>
              </a:extLst>
            </p:cNvPr>
            <p:cNvSpPr>
              <a:spLocks/>
            </p:cNvSpPr>
            <p:nvPr/>
          </p:nvSpPr>
          <p:spPr bwMode="auto">
            <a:xfrm>
              <a:off x="8755303" y="675939"/>
              <a:ext cx="11113" cy="11112"/>
            </a:xfrm>
            <a:custGeom>
              <a:avLst/>
              <a:gdLst>
                <a:gd name="T0" fmla="*/ 91 w 110"/>
                <a:gd name="T1" fmla="*/ 90 h 110"/>
                <a:gd name="T2" fmla="*/ 20 w 110"/>
                <a:gd name="T3" fmla="*/ 90 h 110"/>
                <a:gd name="T4" fmla="*/ 20 w 110"/>
                <a:gd name="T5" fmla="*/ 19 h 110"/>
                <a:gd name="T6" fmla="*/ 91 w 110"/>
                <a:gd name="T7" fmla="*/ 19 h 110"/>
                <a:gd name="T8" fmla="*/ 91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1" y="90"/>
                  </a:moveTo>
                  <a:cubicBezTo>
                    <a:pt x="71" y="110"/>
                    <a:pt x="39" y="110"/>
                    <a:pt x="20" y="90"/>
                  </a:cubicBezTo>
                  <a:cubicBezTo>
                    <a:pt x="0" y="71"/>
                    <a:pt x="0" y="39"/>
                    <a:pt x="20" y="19"/>
                  </a:cubicBezTo>
                  <a:cubicBezTo>
                    <a:pt x="39" y="0"/>
                    <a:pt x="71" y="0"/>
                    <a:pt x="91" y="19"/>
                  </a:cubicBezTo>
                  <a:cubicBezTo>
                    <a:pt x="110" y="39"/>
                    <a:pt x="110" y="71"/>
                    <a:pt x="91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107" name="Freeform 112">
              <a:extLst>
                <a:ext uri="{FF2B5EF4-FFF2-40B4-BE49-F238E27FC236}">
                  <a16:creationId xmlns:a16="http://schemas.microsoft.com/office/drawing/2014/main" id="{2B73EB65-36AC-42BA-871A-6FE176E89037}"/>
                </a:ext>
              </a:extLst>
            </p:cNvPr>
            <p:cNvSpPr>
              <a:spLocks/>
            </p:cNvSpPr>
            <p:nvPr/>
          </p:nvSpPr>
          <p:spPr bwMode="auto">
            <a:xfrm>
              <a:off x="8820390" y="675939"/>
              <a:ext cx="9525" cy="9525"/>
            </a:xfrm>
            <a:custGeom>
              <a:avLst/>
              <a:gdLst>
                <a:gd name="T0" fmla="*/ 51 w 101"/>
                <a:gd name="T1" fmla="*/ 100 h 100"/>
                <a:gd name="T2" fmla="*/ 0 w 101"/>
                <a:gd name="T3" fmla="*/ 50 h 100"/>
                <a:gd name="T4" fmla="*/ 51 w 101"/>
                <a:gd name="T5" fmla="*/ 0 h 100"/>
                <a:gd name="T6" fmla="*/ 101 w 101"/>
                <a:gd name="T7" fmla="*/ 50 h 100"/>
                <a:gd name="T8" fmla="*/ 51 w 101"/>
                <a:gd name="T9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" h="100">
                  <a:moveTo>
                    <a:pt x="51" y="100"/>
                  </a:moveTo>
                  <a:cubicBezTo>
                    <a:pt x="23" y="100"/>
                    <a:pt x="0" y="77"/>
                    <a:pt x="0" y="50"/>
                  </a:cubicBezTo>
                  <a:cubicBezTo>
                    <a:pt x="0" y="22"/>
                    <a:pt x="23" y="0"/>
                    <a:pt x="51" y="0"/>
                  </a:cubicBezTo>
                  <a:cubicBezTo>
                    <a:pt x="78" y="0"/>
                    <a:pt x="101" y="22"/>
                    <a:pt x="101" y="50"/>
                  </a:cubicBezTo>
                  <a:cubicBezTo>
                    <a:pt x="101" y="78"/>
                    <a:pt x="78" y="100"/>
                    <a:pt x="51" y="10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108" name="Freeform 113">
              <a:extLst>
                <a:ext uri="{FF2B5EF4-FFF2-40B4-BE49-F238E27FC236}">
                  <a16:creationId xmlns:a16="http://schemas.microsoft.com/office/drawing/2014/main" id="{522AD19B-5130-46A2-86AF-EEE307C4F6AD}"/>
                </a:ext>
              </a:extLst>
            </p:cNvPr>
            <p:cNvSpPr>
              <a:spLocks/>
            </p:cNvSpPr>
            <p:nvPr/>
          </p:nvSpPr>
          <p:spPr bwMode="auto">
            <a:xfrm>
              <a:off x="8820390" y="675939"/>
              <a:ext cx="9525" cy="9525"/>
            </a:xfrm>
            <a:custGeom>
              <a:avLst/>
              <a:gdLst>
                <a:gd name="T0" fmla="*/ 51 w 101"/>
                <a:gd name="T1" fmla="*/ 100 h 100"/>
                <a:gd name="T2" fmla="*/ 0 w 101"/>
                <a:gd name="T3" fmla="*/ 50 h 100"/>
                <a:gd name="T4" fmla="*/ 51 w 101"/>
                <a:gd name="T5" fmla="*/ 0 h 100"/>
                <a:gd name="T6" fmla="*/ 101 w 101"/>
                <a:gd name="T7" fmla="*/ 50 h 100"/>
                <a:gd name="T8" fmla="*/ 51 w 101"/>
                <a:gd name="T9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" h="100">
                  <a:moveTo>
                    <a:pt x="51" y="100"/>
                  </a:moveTo>
                  <a:cubicBezTo>
                    <a:pt x="23" y="100"/>
                    <a:pt x="0" y="77"/>
                    <a:pt x="0" y="50"/>
                  </a:cubicBezTo>
                  <a:cubicBezTo>
                    <a:pt x="0" y="22"/>
                    <a:pt x="23" y="0"/>
                    <a:pt x="51" y="0"/>
                  </a:cubicBezTo>
                  <a:cubicBezTo>
                    <a:pt x="78" y="0"/>
                    <a:pt x="101" y="22"/>
                    <a:pt x="101" y="50"/>
                  </a:cubicBezTo>
                  <a:cubicBezTo>
                    <a:pt x="101" y="78"/>
                    <a:pt x="78" y="100"/>
                    <a:pt x="51" y="10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109" name="Freeform 114">
              <a:extLst>
                <a:ext uri="{FF2B5EF4-FFF2-40B4-BE49-F238E27FC236}">
                  <a16:creationId xmlns:a16="http://schemas.microsoft.com/office/drawing/2014/main" id="{A009900C-12D2-4BC7-8AC6-F34DDB446EE2}"/>
                </a:ext>
              </a:extLst>
            </p:cNvPr>
            <p:cNvSpPr>
              <a:spLocks/>
            </p:cNvSpPr>
            <p:nvPr/>
          </p:nvSpPr>
          <p:spPr bwMode="auto">
            <a:xfrm>
              <a:off x="8883890" y="675939"/>
              <a:ext cx="9525" cy="11112"/>
            </a:xfrm>
            <a:custGeom>
              <a:avLst/>
              <a:gdLst>
                <a:gd name="T0" fmla="*/ 90 w 110"/>
                <a:gd name="T1" fmla="*/ 90 h 110"/>
                <a:gd name="T2" fmla="*/ 19 w 110"/>
                <a:gd name="T3" fmla="*/ 90 h 110"/>
                <a:gd name="T4" fmla="*/ 19 w 110"/>
                <a:gd name="T5" fmla="*/ 19 h 110"/>
                <a:gd name="T6" fmla="*/ 90 w 110"/>
                <a:gd name="T7" fmla="*/ 19 h 110"/>
                <a:gd name="T8" fmla="*/ 90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0"/>
                  </a:moveTo>
                  <a:cubicBezTo>
                    <a:pt x="71" y="110"/>
                    <a:pt x="39" y="110"/>
                    <a:pt x="19" y="90"/>
                  </a:cubicBezTo>
                  <a:cubicBezTo>
                    <a:pt x="0" y="71"/>
                    <a:pt x="0" y="39"/>
                    <a:pt x="19" y="19"/>
                  </a:cubicBezTo>
                  <a:cubicBezTo>
                    <a:pt x="39" y="0"/>
                    <a:pt x="71" y="0"/>
                    <a:pt x="90" y="19"/>
                  </a:cubicBezTo>
                  <a:cubicBezTo>
                    <a:pt x="110" y="39"/>
                    <a:pt x="110" y="71"/>
                    <a:pt x="90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110" name="Freeform 115">
              <a:extLst>
                <a:ext uri="{FF2B5EF4-FFF2-40B4-BE49-F238E27FC236}">
                  <a16:creationId xmlns:a16="http://schemas.microsoft.com/office/drawing/2014/main" id="{03A81B7F-3F3F-4743-891B-B4D7A7C61C18}"/>
                </a:ext>
              </a:extLst>
            </p:cNvPr>
            <p:cNvSpPr>
              <a:spLocks/>
            </p:cNvSpPr>
            <p:nvPr/>
          </p:nvSpPr>
          <p:spPr bwMode="auto">
            <a:xfrm>
              <a:off x="8883890" y="675939"/>
              <a:ext cx="9525" cy="11112"/>
            </a:xfrm>
            <a:custGeom>
              <a:avLst/>
              <a:gdLst>
                <a:gd name="T0" fmla="*/ 90 w 110"/>
                <a:gd name="T1" fmla="*/ 90 h 110"/>
                <a:gd name="T2" fmla="*/ 19 w 110"/>
                <a:gd name="T3" fmla="*/ 90 h 110"/>
                <a:gd name="T4" fmla="*/ 19 w 110"/>
                <a:gd name="T5" fmla="*/ 19 h 110"/>
                <a:gd name="T6" fmla="*/ 90 w 110"/>
                <a:gd name="T7" fmla="*/ 19 h 110"/>
                <a:gd name="T8" fmla="*/ 90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0"/>
                  </a:moveTo>
                  <a:cubicBezTo>
                    <a:pt x="71" y="110"/>
                    <a:pt x="39" y="110"/>
                    <a:pt x="19" y="90"/>
                  </a:cubicBezTo>
                  <a:cubicBezTo>
                    <a:pt x="0" y="71"/>
                    <a:pt x="0" y="39"/>
                    <a:pt x="19" y="19"/>
                  </a:cubicBezTo>
                  <a:cubicBezTo>
                    <a:pt x="39" y="0"/>
                    <a:pt x="71" y="0"/>
                    <a:pt x="90" y="19"/>
                  </a:cubicBezTo>
                  <a:cubicBezTo>
                    <a:pt x="110" y="39"/>
                    <a:pt x="110" y="71"/>
                    <a:pt x="90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111" name="Freeform 116">
              <a:extLst>
                <a:ext uri="{FF2B5EF4-FFF2-40B4-BE49-F238E27FC236}">
                  <a16:creationId xmlns:a16="http://schemas.microsoft.com/office/drawing/2014/main" id="{76CBD16E-6854-4ED9-95C3-1F9DF7CA1E3A}"/>
                </a:ext>
              </a:extLst>
            </p:cNvPr>
            <p:cNvSpPr>
              <a:spLocks/>
            </p:cNvSpPr>
            <p:nvPr/>
          </p:nvSpPr>
          <p:spPr bwMode="auto">
            <a:xfrm>
              <a:off x="8947390" y="675939"/>
              <a:ext cx="9525" cy="11112"/>
            </a:xfrm>
            <a:custGeom>
              <a:avLst/>
              <a:gdLst>
                <a:gd name="T0" fmla="*/ 90 w 110"/>
                <a:gd name="T1" fmla="*/ 90 h 110"/>
                <a:gd name="T2" fmla="*/ 20 w 110"/>
                <a:gd name="T3" fmla="*/ 90 h 110"/>
                <a:gd name="T4" fmla="*/ 20 w 110"/>
                <a:gd name="T5" fmla="*/ 19 h 110"/>
                <a:gd name="T6" fmla="*/ 90 w 110"/>
                <a:gd name="T7" fmla="*/ 19 h 110"/>
                <a:gd name="T8" fmla="*/ 90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0"/>
                  </a:moveTo>
                  <a:cubicBezTo>
                    <a:pt x="71" y="110"/>
                    <a:pt x="39" y="110"/>
                    <a:pt x="20" y="90"/>
                  </a:cubicBezTo>
                  <a:cubicBezTo>
                    <a:pt x="0" y="71"/>
                    <a:pt x="0" y="39"/>
                    <a:pt x="20" y="19"/>
                  </a:cubicBezTo>
                  <a:cubicBezTo>
                    <a:pt x="39" y="0"/>
                    <a:pt x="71" y="0"/>
                    <a:pt x="90" y="19"/>
                  </a:cubicBezTo>
                  <a:cubicBezTo>
                    <a:pt x="110" y="39"/>
                    <a:pt x="110" y="71"/>
                    <a:pt x="90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112" name="Freeform 117">
              <a:extLst>
                <a:ext uri="{FF2B5EF4-FFF2-40B4-BE49-F238E27FC236}">
                  <a16:creationId xmlns:a16="http://schemas.microsoft.com/office/drawing/2014/main" id="{28D57EDC-93EC-4DF8-87AC-1630D4DA5B8E}"/>
                </a:ext>
              </a:extLst>
            </p:cNvPr>
            <p:cNvSpPr>
              <a:spLocks/>
            </p:cNvSpPr>
            <p:nvPr/>
          </p:nvSpPr>
          <p:spPr bwMode="auto">
            <a:xfrm>
              <a:off x="8947390" y="675939"/>
              <a:ext cx="9525" cy="11112"/>
            </a:xfrm>
            <a:custGeom>
              <a:avLst/>
              <a:gdLst>
                <a:gd name="T0" fmla="*/ 90 w 110"/>
                <a:gd name="T1" fmla="*/ 90 h 110"/>
                <a:gd name="T2" fmla="*/ 20 w 110"/>
                <a:gd name="T3" fmla="*/ 90 h 110"/>
                <a:gd name="T4" fmla="*/ 20 w 110"/>
                <a:gd name="T5" fmla="*/ 19 h 110"/>
                <a:gd name="T6" fmla="*/ 90 w 110"/>
                <a:gd name="T7" fmla="*/ 19 h 110"/>
                <a:gd name="T8" fmla="*/ 90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0"/>
                  </a:moveTo>
                  <a:cubicBezTo>
                    <a:pt x="71" y="110"/>
                    <a:pt x="39" y="110"/>
                    <a:pt x="20" y="90"/>
                  </a:cubicBezTo>
                  <a:cubicBezTo>
                    <a:pt x="0" y="71"/>
                    <a:pt x="0" y="39"/>
                    <a:pt x="20" y="19"/>
                  </a:cubicBezTo>
                  <a:cubicBezTo>
                    <a:pt x="39" y="0"/>
                    <a:pt x="71" y="0"/>
                    <a:pt x="90" y="19"/>
                  </a:cubicBezTo>
                  <a:cubicBezTo>
                    <a:pt x="110" y="39"/>
                    <a:pt x="110" y="71"/>
                    <a:pt x="90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113" name="Freeform 118">
              <a:extLst>
                <a:ext uri="{FF2B5EF4-FFF2-40B4-BE49-F238E27FC236}">
                  <a16:creationId xmlns:a16="http://schemas.microsoft.com/office/drawing/2014/main" id="{8E39BA9D-F1DC-415A-B6B4-CC9943D5F8DF}"/>
                </a:ext>
              </a:extLst>
            </p:cNvPr>
            <p:cNvSpPr>
              <a:spLocks/>
            </p:cNvSpPr>
            <p:nvPr/>
          </p:nvSpPr>
          <p:spPr bwMode="auto">
            <a:xfrm>
              <a:off x="7864715" y="612439"/>
              <a:ext cx="11113" cy="9525"/>
            </a:xfrm>
            <a:custGeom>
              <a:avLst/>
              <a:gdLst>
                <a:gd name="T0" fmla="*/ 90 w 110"/>
                <a:gd name="T1" fmla="*/ 91 h 110"/>
                <a:gd name="T2" fmla="*/ 19 w 110"/>
                <a:gd name="T3" fmla="*/ 91 h 110"/>
                <a:gd name="T4" fmla="*/ 19 w 110"/>
                <a:gd name="T5" fmla="*/ 20 h 110"/>
                <a:gd name="T6" fmla="*/ 90 w 110"/>
                <a:gd name="T7" fmla="*/ 20 h 110"/>
                <a:gd name="T8" fmla="*/ 90 w 110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1"/>
                  </a:moveTo>
                  <a:cubicBezTo>
                    <a:pt x="71" y="110"/>
                    <a:pt x="39" y="110"/>
                    <a:pt x="19" y="91"/>
                  </a:cubicBezTo>
                  <a:cubicBezTo>
                    <a:pt x="0" y="71"/>
                    <a:pt x="0" y="39"/>
                    <a:pt x="19" y="20"/>
                  </a:cubicBezTo>
                  <a:cubicBezTo>
                    <a:pt x="39" y="0"/>
                    <a:pt x="71" y="0"/>
                    <a:pt x="90" y="20"/>
                  </a:cubicBezTo>
                  <a:cubicBezTo>
                    <a:pt x="110" y="39"/>
                    <a:pt x="110" y="71"/>
                    <a:pt x="90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114" name="Freeform 119">
              <a:extLst>
                <a:ext uri="{FF2B5EF4-FFF2-40B4-BE49-F238E27FC236}">
                  <a16:creationId xmlns:a16="http://schemas.microsoft.com/office/drawing/2014/main" id="{7CA4B370-B050-4E68-B04C-2AF0E50EC978}"/>
                </a:ext>
              </a:extLst>
            </p:cNvPr>
            <p:cNvSpPr>
              <a:spLocks/>
            </p:cNvSpPr>
            <p:nvPr/>
          </p:nvSpPr>
          <p:spPr bwMode="auto">
            <a:xfrm>
              <a:off x="7864715" y="612439"/>
              <a:ext cx="11113" cy="9525"/>
            </a:xfrm>
            <a:custGeom>
              <a:avLst/>
              <a:gdLst>
                <a:gd name="T0" fmla="*/ 90 w 110"/>
                <a:gd name="T1" fmla="*/ 91 h 110"/>
                <a:gd name="T2" fmla="*/ 19 w 110"/>
                <a:gd name="T3" fmla="*/ 91 h 110"/>
                <a:gd name="T4" fmla="*/ 19 w 110"/>
                <a:gd name="T5" fmla="*/ 20 h 110"/>
                <a:gd name="T6" fmla="*/ 90 w 110"/>
                <a:gd name="T7" fmla="*/ 20 h 110"/>
                <a:gd name="T8" fmla="*/ 90 w 110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1"/>
                  </a:moveTo>
                  <a:cubicBezTo>
                    <a:pt x="71" y="110"/>
                    <a:pt x="39" y="110"/>
                    <a:pt x="19" y="91"/>
                  </a:cubicBezTo>
                  <a:cubicBezTo>
                    <a:pt x="0" y="71"/>
                    <a:pt x="0" y="39"/>
                    <a:pt x="19" y="20"/>
                  </a:cubicBezTo>
                  <a:cubicBezTo>
                    <a:pt x="39" y="0"/>
                    <a:pt x="71" y="0"/>
                    <a:pt x="90" y="20"/>
                  </a:cubicBezTo>
                  <a:cubicBezTo>
                    <a:pt x="110" y="39"/>
                    <a:pt x="110" y="71"/>
                    <a:pt x="90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115" name="Oval 120">
              <a:extLst>
                <a:ext uri="{FF2B5EF4-FFF2-40B4-BE49-F238E27FC236}">
                  <a16:creationId xmlns:a16="http://schemas.microsoft.com/office/drawing/2014/main" id="{DB6575A8-BF0E-456E-BF1B-C06C7842BB1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28215" y="612439"/>
              <a:ext cx="9525" cy="9525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116" name="Oval 121">
              <a:extLst>
                <a:ext uri="{FF2B5EF4-FFF2-40B4-BE49-F238E27FC236}">
                  <a16:creationId xmlns:a16="http://schemas.microsoft.com/office/drawing/2014/main" id="{28235612-0863-49EA-850C-C3399C3294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28215" y="612439"/>
              <a:ext cx="9525" cy="9525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117" name="Oval 122">
              <a:extLst>
                <a:ext uri="{FF2B5EF4-FFF2-40B4-BE49-F238E27FC236}">
                  <a16:creationId xmlns:a16="http://schemas.microsoft.com/office/drawing/2014/main" id="{CA8361C7-52D4-427F-8258-2742402B29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93303" y="612439"/>
              <a:ext cx="9525" cy="9525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118" name="Oval 123">
              <a:extLst>
                <a:ext uri="{FF2B5EF4-FFF2-40B4-BE49-F238E27FC236}">
                  <a16:creationId xmlns:a16="http://schemas.microsoft.com/office/drawing/2014/main" id="{5F3F36A8-B23B-4AD3-A480-3CE7516EBE2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93303" y="612439"/>
              <a:ext cx="9525" cy="9525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119" name="Freeform 124">
              <a:extLst>
                <a:ext uri="{FF2B5EF4-FFF2-40B4-BE49-F238E27FC236}">
                  <a16:creationId xmlns:a16="http://schemas.microsoft.com/office/drawing/2014/main" id="{42736053-090A-4927-A330-D31E2A7436A3}"/>
                </a:ext>
              </a:extLst>
            </p:cNvPr>
            <p:cNvSpPr>
              <a:spLocks/>
            </p:cNvSpPr>
            <p:nvPr/>
          </p:nvSpPr>
          <p:spPr bwMode="auto">
            <a:xfrm>
              <a:off x="8055215" y="612439"/>
              <a:ext cx="11113" cy="11112"/>
            </a:xfrm>
            <a:custGeom>
              <a:avLst/>
              <a:gdLst>
                <a:gd name="T0" fmla="*/ 90 w 110"/>
                <a:gd name="T1" fmla="*/ 90 h 110"/>
                <a:gd name="T2" fmla="*/ 20 w 110"/>
                <a:gd name="T3" fmla="*/ 90 h 110"/>
                <a:gd name="T4" fmla="*/ 20 w 110"/>
                <a:gd name="T5" fmla="*/ 19 h 110"/>
                <a:gd name="T6" fmla="*/ 90 w 110"/>
                <a:gd name="T7" fmla="*/ 19 h 110"/>
                <a:gd name="T8" fmla="*/ 90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0"/>
                  </a:moveTo>
                  <a:cubicBezTo>
                    <a:pt x="71" y="110"/>
                    <a:pt x="39" y="110"/>
                    <a:pt x="20" y="90"/>
                  </a:cubicBezTo>
                  <a:cubicBezTo>
                    <a:pt x="0" y="71"/>
                    <a:pt x="0" y="39"/>
                    <a:pt x="20" y="19"/>
                  </a:cubicBezTo>
                  <a:cubicBezTo>
                    <a:pt x="39" y="0"/>
                    <a:pt x="71" y="0"/>
                    <a:pt x="90" y="19"/>
                  </a:cubicBezTo>
                  <a:cubicBezTo>
                    <a:pt x="110" y="39"/>
                    <a:pt x="110" y="71"/>
                    <a:pt x="90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120" name="Freeform 125">
              <a:extLst>
                <a:ext uri="{FF2B5EF4-FFF2-40B4-BE49-F238E27FC236}">
                  <a16:creationId xmlns:a16="http://schemas.microsoft.com/office/drawing/2014/main" id="{C3A3902F-8AD8-4404-98FF-44E9414BC751}"/>
                </a:ext>
              </a:extLst>
            </p:cNvPr>
            <p:cNvSpPr>
              <a:spLocks/>
            </p:cNvSpPr>
            <p:nvPr/>
          </p:nvSpPr>
          <p:spPr bwMode="auto">
            <a:xfrm>
              <a:off x="8055215" y="612439"/>
              <a:ext cx="11113" cy="11112"/>
            </a:xfrm>
            <a:custGeom>
              <a:avLst/>
              <a:gdLst>
                <a:gd name="T0" fmla="*/ 90 w 110"/>
                <a:gd name="T1" fmla="*/ 90 h 110"/>
                <a:gd name="T2" fmla="*/ 20 w 110"/>
                <a:gd name="T3" fmla="*/ 90 h 110"/>
                <a:gd name="T4" fmla="*/ 20 w 110"/>
                <a:gd name="T5" fmla="*/ 19 h 110"/>
                <a:gd name="T6" fmla="*/ 90 w 110"/>
                <a:gd name="T7" fmla="*/ 19 h 110"/>
                <a:gd name="T8" fmla="*/ 90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0"/>
                  </a:moveTo>
                  <a:cubicBezTo>
                    <a:pt x="71" y="110"/>
                    <a:pt x="39" y="110"/>
                    <a:pt x="20" y="90"/>
                  </a:cubicBezTo>
                  <a:cubicBezTo>
                    <a:pt x="0" y="71"/>
                    <a:pt x="0" y="39"/>
                    <a:pt x="20" y="19"/>
                  </a:cubicBezTo>
                  <a:cubicBezTo>
                    <a:pt x="39" y="0"/>
                    <a:pt x="71" y="0"/>
                    <a:pt x="90" y="19"/>
                  </a:cubicBezTo>
                  <a:cubicBezTo>
                    <a:pt x="110" y="39"/>
                    <a:pt x="110" y="71"/>
                    <a:pt x="90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121" name="Oval 126">
              <a:extLst>
                <a:ext uri="{FF2B5EF4-FFF2-40B4-BE49-F238E27FC236}">
                  <a16:creationId xmlns:a16="http://schemas.microsoft.com/office/drawing/2014/main" id="{B6A04051-A83B-42C3-A460-852B9279437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20303" y="612439"/>
              <a:ext cx="9525" cy="9525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122" name="Oval 127">
              <a:extLst>
                <a:ext uri="{FF2B5EF4-FFF2-40B4-BE49-F238E27FC236}">
                  <a16:creationId xmlns:a16="http://schemas.microsoft.com/office/drawing/2014/main" id="{ACF164FF-646B-47F3-AD12-2C5E599E3E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20303" y="612439"/>
              <a:ext cx="9525" cy="9525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123" name="Freeform 128">
              <a:extLst>
                <a:ext uri="{FF2B5EF4-FFF2-40B4-BE49-F238E27FC236}">
                  <a16:creationId xmlns:a16="http://schemas.microsoft.com/office/drawing/2014/main" id="{512D3267-CC60-441D-8419-6B65980E24DB}"/>
                </a:ext>
              </a:extLst>
            </p:cNvPr>
            <p:cNvSpPr>
              <a:spLocks/>
            </p:cNvSpPr>
            <p:nvPr/>
          </p:nvSpPr>
          <p:spPr bwMode="auto">
            <a:xfrm>
              <a:off x="8182215" y="612439"/>
              <a:ext cx="11113" cy="11112"/>
            </a:xfrm>
            <a:custGeom>
              <a:avLst/>
              <a:gdLst>
                <a:gd name="T0" fmla="*/ 91 w 110"/>
                <a:gd name="T1" fmla="*/ 90 h 110"/>
                <a:gd name="T2" fmla="*/ 20 w 110"/>
                <a:gd name="T3" fmla="*/ 90 h 110"/>
                <a:gd name="T4" fmla="*/ 20 w 110"/>
                <a:gd name="T5" fmla="*/ 19 h 110"/>
                <a:gd name="T6" fmla="*/ 91 w 110"/>
                <a:gd name="T7" fmla="*/ 19 h 110"/>
                <a:gd name="T8" fmla="*/ 91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1" y="90"/>
                  </a:moveTo>
                  <a:cubicBezTo>
                    <a:pt x="71" y="110"/>
                    <a:pt x="40" y="110"/>
                    <a:pt x="20" y="90"/>
                  </a:cubicBezTo>
                  <a:cubicBezTo>
                    <a:pt x="0" y="70"/>
                    <a:pt x="0" y="39"/>
                    <a:pt x="20" y="19"/>
                  </a:cubicBezTo>
                  <a:cubicBezTo>
                    <a:pt x="40" y="0"/>
                    <a:pt x="71" y="0"/>
                    <a:pt x="91" y="19"/>
                  </a:cubicBezTo>
                  <a:cubicBezTo>
                    <a:pt x="110" y="39"/>
                    <a:pt x="110" y="70"/>
                    <a:pt x="91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124" name="Freeform 129">
              <a:extLst>
                <a:ext uri="{FF2B5EF4-FFF2-40B4-BE49-F238E27FC236}">
                  <a16:creationId xmlns:a16="http://schemas.microsoft.com/office/drawing/2014/main" id="{2517D841-60A3-4A19-A7C8-49B72125F7DC}"/>
                </a:ext>
              </a:extLst>
            </p:cNvPr>
            <p:cNvSpPr>
              <a:spLocks/>
            </p:cNvSpPr>
            <p:nvPr/>
          </p:nvSpPr>
          <p:spPr bwMode="auto">
            <a:xfrm>
              <a:off x="8182215" y="612439"/>
              <a:ext cx="11113" cy="11112"/>
            </a:xfrm>
            <a:custGeom>
              <a:avLst/>
              <a:gdLst>
                <a:gd name="T0" fmla="*/ 91 w 110"/>
                <a:gd name="T1" fmla="*/ 90 h 110"/>
                <a:gd name="T2" fmla="*/ 20 w 110"/>
                <a:gd name="T3" fmla="*/ 90 h 110"/>
                <a:gd name="T4" fmla="*/ 20 w 110"/>
                <a:gd name="T5" fmla="*/ 19 h 110"/>
                <a:gd name="T6" fmla="*/ 91 w 110"/>
                <a:gd name="T7" fmla="*/ 19 h 110"/>
                <a:gd name="T8" fmla="*/ 91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1" y="90"/>
                  </a:moveTo>
                  <a:cubicBezTo>
                    <a:pt x="71" y="110"/>
                    <a:pt x="40" y="110"/>
                    <a:pt x="20" y="90"/>
                  </a:cubicBezTo>
                  <a:cubicBezTo>
                    <a:pt x="0" y="70"/>
                    <a:pt x="0" y="39"/>
                    <a:pt x="20" y="19"/>
                  </a:cubicBezTo>
                  <a:cubicBezTo>
                    <a:pt x="40" y="0"/>
                    <a:pt x="71" y="0"/>
                    <a:pt x="91" y="19"/>
                  </a:cubicBezTo>
                  <a:cubicBezTo>
                    <a:pt x="110" y="39"/>
                    <a:pt x="110" y="70"/>
                    <a:pt x="91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125" name="Freeform 130">
              <a:extLst>
                <a:ext uri="{FF2B5EF4-FFF2-40B4-BE49-F238E27FC236}">
                  <a16:creationId xmlns:a16="http://schemas.microsoft.com/office/drawing/2014/main" id="{5BBC2ED1-1DFA-41C5-8F6F-3C5016596627}"/>
                </a:ext>
              </a:extLst>
            </p:cNvPr>
            <p:cNvSpPr>
              <a:spLocks/>
            </p:cNvSpPr>
            <p:nvPr/>
          </p:nvSpPr>
          <p:spPr bwMode="auto">
            <a:xfrm>
              <a:off x="8247303" y="612439"/>
              <a:ext cx="9525" cy="11112"/>
            </a:xfrm>
            <a:custGeom>
              <a:avLst/>
              <a:gdLst>
                <a:gd name="T0" fmla="*/ 90 w 110"/>
                <a:gd name="T1" fmla="*/ 90 h 110"/>
                <a:gd name="T2" fmla="*/ 19 w 110"/>
                <a:gd name="T3" fmla="*/ 90 h 110"/>
                <a:gd name="T4" fmla="*/ 19 w 110"/>
                <a:gd name="T5" fmla="*/ 19 h 110"/>
                <a:gd name="T6" fmla="*/ 90 w 110"/>
                <a:gd name="T7" fmla="*/ 19 h 110"/>
                <a:gd name="T8" fmla="*/ 90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0"/>
                  </a:moveTo>
                  <a:cubicBezTo>
                    <a:pt x="71" y="110"/>
                    <a:pt x="39" y="110"/>
                    <a:pt x="19" y="90"/>
                  </a:cubicBezTo>
                  <a:cubicBezTo>
                    <a:pt x="0" y="70"/>
                    <a:pt x="0" y="39"/>
                    <a:pt x="19" y="19"/>
                  </a:cubicBezTo>
                  <a:cubicBezTo>
                    <a:pt x="39" y="0"/>
                    <a:pt x="71" y="0"/>
                    <a:pt x="90" y="19"/>
                  </a:cubicBezTo>
                  <a:cubicBezTo>
                    <a:pt x="110" y="39"/>
                    <a:pt x="110" y="70"/>
                    <a:pt x="90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126" name="Freeform 131">
              <a:extLst>
                <a:ext uri="{FF2B5EF4-FFF2-40B4-BE49-F238E27FC236}">
                  <a16:creationId xmlns:a16="http://schemas.microsoft.com/office/drawing/2014/main" id="{91BAFBD1-F30E-4838-9EB1-0FE8FBB04D76}"/>
                </a:ext>
              </a:extLst>
            </p:cNvPr>
            <p:cNvSpPr>
              <a:spLocks/>
            </p:cNvSpPr>
            <p:nvPr/>
          </p:nvSpPr>
          <p:spPr bwMode="auto">
            <a:xfrm>
              <a:off x="8247303" y="612439"/>
              <a:ext cx="9525" cy="11112"/>
            </a:xfrm>
            <a:custGeom>
              <a:avLst/>
              <a:gdLst>
                <a:gd name="T0" fmla="*/ 90 w 110"/>
                <a:gd name="T1" fmla="*/ 90 h 110"/>
                <a:gd name="T2" fmla="*/ 19 w 110"/>
                <a:gd name="T3" fmla="*/ 90 h 110"/>
                <a:gd name="T4" fmla="*/ 19 w 110"/>
                <a:gd name="T5" fmla="*/ 19 h 110"/>
                <a:gd name="T6" fmla="*/ 90 w 110"/>
                <a:gd name="T7" fmla="*/ 19 h 110"/>
                <a:gd name="T8" fmla="*/ 90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0"/>
                  </a:moveTo>
                  <a:cubicBezTo>
                    <a:pt x="71" y="110"/>
                    <a:pt x="39" y="110"/>
                    <a:pt x="19" y="90"/>
                  </a:cubicBezTo>
                  <a:cubicBezTo>
                    <a:pt x="0" y="70"/>
                    <a:pt x="0" y="39"/>
                    <a:pt x="19" y="19"/>
                  </a:cubicBezTo>
                  <a:cubicBezTo>
                    <a:pt x="39" y="0"/>
                    <a:pt x="71" y="0"/>
                    <a:pt x="90" y="19"/>
                  </a:cubicBezTo>
                  <a:cubicBezTo>
                    <a:pt x="110" y="39"/>
                    <a:pt x="110" y="70"/>
                    <a:pt x="90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127" name="Freeform 132">
              <a:extLst>
                <a:ext uri="{FF2B5EF4-FFF2-40B4-BE49-F238E27FC236}">
                  <a16:creationId xmlns:a16="http://schemas.microsoft.com/office/drawing/2014/main" id="{03F5F161-C425-43FD-AD2B-76E86E7C8A52}"/>
                </a:ext>
              </a:extLst>
            </p:cNvPr>
            <p:cNvSpPr>
              <a:spLocks/>
            </p:cNvSpPr>
            <p:nvPr/>
          </p:nvSpPr>
          <p:spPr bwMode="auto">
            <a:xfrm>
              <a:off x="8310803" y="612439"/>
              <a:ext cx="9525" cy="9525"/>
            </a:xfrm>
            <a:custGeom>
              <a:avLst/>
              <a:gdLst>
                <a:gd name="T0" fmla="*/ 50 w 100"/>
                <a:gd name="T1" fmla="*/ 101 h 101"/>
                <a:gd name="T2" fmla="*/ 0 w 100"/>
                <a:gd name="T3" fmla="*/ 51 h 101"/>
                <a:gd name="T4" fmla="*/ 50 w 100"/>
                <a:gd name="T5" fmla="*/ 0 h 101"/>
                <a:gd name="T6" fmla="*/ 100 w 100"/>
                <a:gd name="T7" fmla="*/ 51 h 101"/>
                <a:gd name="T8" fmla="*/ 50 w 100"/>
                <a:gd name="T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01">
                  <a:moveTo>
                    <a:pt x="50" y="101"/>
                  </a:moveTo>
                  <a:cubicBezTo>
                    <a:pt x="22" y="101"/>
                    <a:pt x="0" y="78"/>
                    <a:pt x="0" y="51"/>
                  </a:cubicBezTo>
                  <a:cubicBezTo>
                    <a:pt x="0" y="23"/>
                    <a:pt x="22" y="0"/>
                    <a:pt x="50" y="0"/>
                  </a:cubicBezTo>
                  <a:cubicBezTo>
                    <a:pt x="77" y="0"/>
                    <a:pt x="100" y="23"/>
                    <a:pt x="100" y="51"/>
                  </a:cubicBezTo>
                  <a:cubicBezTo>
                    <a:pt x="100" y="78"/>
                    <a:pt x="78" y="101"/>
                    <a:pt x="50" y="10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128" name="Freeform 133">
              <a:extLst>
                <a:ext uri="{FF2B5EF4-FFF2-40B4-BE49-F238E27FC236}">
                  <a16:creationId xmlns:a16="http://schemas.microsoft.com/office/drawing/2014/main" id="{F1AD43E5-A51D-4940-9001-0F947E0C6E4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10803" y="612439"/>
              <a:ext cx="9525" cy="9525"/>
            </a:xfrm>
            <a:custGeom>
              <a:avLst/>
              <a:gdLst>
                <a:gd name="T0" fmla="*/ 50 w 100"/>
                <a:gd name="T1" fmla="*/ 101 h 101"/>
                <a:gd name="T2" fmla="*/ 0 w 100"/>
                <a:gd name="T3" fmla="*/ 51 h 101"/>
                <a:gd name="T4" fmla="*/ 50 w 100"/>
                <a:gd name="T5" fmla="*/ 0 h 101"/>
                <a:gd name="T6" fmla="*/ 100 w 100"/>
                <a:gd name="T7" fmla="*/ 51 h 101"/>
                <a:gd name="T8" fmla="*/ 50 w 100"/>
                <a:gd name="T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01">
                  <a:moveTo>
                    <a:pt x="50" y="101"/>
                  </a:moveTo>
                  <a:cubicBezTo>
                    <a:pt x="22" y="101"/>
                    <a:pt x="0" y="78"/>
                    <a:pt x="0" y="51"/>
                  </a:cubicBezTo>
                  <a:cubicBezTo>
                    <a:pt x="0" y="23"/>
                    <a:pt x="22" y="0"/>
                    <a:pt x="50" y="0"/>
                  </a:cubicBezTo>
                  <a:cubicBezTo>
                    <a:pt x="77" y="0"/>
                    <a:pt x="100" y="23"/>
                    <a:pt x="100" y="51"/>
                  </a:cubicBezTo>
                  <a:cubicBezTo>
                    <a:pt x="100" y="78"/>
                    <a:pt x="78" y="101"/>
                    <a:pt x="50" y="10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129" name="Freeform 134">
              <a:extLst>
                <a:ext uri="{FF2B5EF4-FFF2-40B4-BE49-F238E27FC236}">
                  <a16:creationId xmlns:a16="http://schemas.microsoft.com/office/drawing/2014/main" id="{FCF8A88E-2F7A-4A89-8150-618FA4B61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4303" y="612439"/>
              <a:ext cx="9525" cy="9525"/>
            </a:xfrm>
            <a:custGeom>
              <a:avLst/>
              <a:gdLst>
                <a:gd name="T0" fmla="*/ 90 w 110"/>
                <a:gd name="T1" fmla="*/ 91 h 110"/>
                <a:gd name="T2" fmla="*/ 19 w 110"/>
                <a:gd name="T3" fmla="*/ 91 h 110"/>
                <a:gd name="T4" fmla="*/ 19 w 110"/>
                <a:gd name="T5" fmla="*/ 20 h 110"/>
                <a:gd name="T6" fmla="*/ 90 w 110"/>
                <a:gd name="T7" fmla="*/ 20 h 110"/>
                <a:gd name="T8" fmla="*/ 90 w 110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1"/>
                  </a:moveTo>
                  <a:cubicBezTo>
                    <a:pt x="70" y="110"/>
                    <a:pt x="39" y="110"/>
                    <a:pt x="19" y="91"/>
                  </a:cubicBezTo>
                  <a:cubicBezTo>
                    <a:pt x="0" y="71"/>
                    <a:pt x="0" y="39"/>
                    <a:pt x="19" y="20"/>
                  </a:cubicBezTo>
                  <a:cubicBezTo>
                    <a:pt x="39" y="0"/>
                    <a:pt x="70" y="0"/>
                    <a:pt x="90" y="20"/>
                  </a:cubicBezTo>
                  <a:cubicBezTo>
                    <a:pt x="110" y="39"/>
                    <a:pt x="110" y="71"/>
                    <a:pt x="90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130" name="Freeform 135">
              <a:extLst>
                <a:ext uri="{FF2B5EF4-FFF2-40B4-BE49-F238E27FC236}">
                  <a16:creationId xmlns:a16="http://schemas.microsoft.com/office/drawing/2014/main" id="{E9CBFA19-B11C-43D2-9E3F-B55A0543E387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4303" y="612439"/>
              <a:ext cx="9525" cy="9525"/>
            </a:xfrm>
            <a:custGeom>
              <a:avLst/>
              <a:gdLst>
                <a:gd name="T0" fmla="*/ 90 w 110"/>
                <a:gd name="T1" fmla="*/ 91 h 110"/>
                <a:gd name="T2" fmla="*/ 19 w 110"/>
                <a:gd name="T3" fmla="*/ 91 h 110"/>
                <a:gd name="T4" fmla="*/ 19 w 110"/>
                <a:gd name="T5" fmla="*/ 20 h 110"/>
                <a:gd name="T6" fmla="*/ 90 w 110"/>
                <a:gd name="T7" fmla="*/ 20 h 110"/>
                <a:gd name="T8" fmla="*/ 90 w 110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1"/>
                  </a:moveTo>
                  <a:cubicBezTo>
                    <a:pt x="70" y="110"/>
                    <a:pt x="39" y="110"/>
                    <a:pt x="19" y="91"/>
                  </a:cubicBezTo>
                  <a:cubicBezTo>
                    <a:pt x="0" y="71"/>
                    <a:pt x="0" y="39"/>
                    <a:pt x="19" y="20"/>
                  </a:cubicBezTo>
                  <a:cubicBezTo>
                    <a:pt x="39" y="0"/>
                    <a:pt x="70" y="0"/>
                    <a:pt x="90" y="20"/>
                  </a:cubicBezTo>
                  <a:cubicBezTo>
                    <a:pt x="110" y="39"/>
                    <a:pt x="110" y="71"/>
                    <a:pt x="90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131" name="Freeform 136">
              <a:extLst>
                <a:ext uri="{FF2B5EF4-FFF2-40B4-BE49-F238E27FC236}">
                  <a16:creationId xmlns:a16="http://schemas.microsoft.com/office/drawing/2014/main" id="{0D17A17C-1CCF-4ED5-AB2A-3C31B78BE69A}"/>
                </a:ext>
              </a:extLst>
            </p:cNvPr>
            <p:cNvSpPr>
              <a:spLocks/>
            </p:cNvSpPr>
            <p:nvPr/>
          </p:nvSpPr>
          <p:spPr bwMode="auto">
            <a:xfrm>
              <a:off x="8437803" y="612439"/>
              <a:ext cx="11113" cy="9525"/>
            </a:xfrm>
            <a:custGeom>
              <a:avLst/>
              <a:gdLst>
                <a:gd name="T0" fmla="*/ 90 w 110"/>
                <a:gd name="T1" fmla="*/ 91 h 110"/>
                <a:gd name="T2" fmla="*/ 19 w 110"/>
                <a:gd name="T3" fmla="*/ 91 h 110"/>
                <a:gd name="T4" fmla="*/ 19 w 110"/>
                <a:gd name="T5" fmla="*/ 20 h 110"/>
                <a:gd name="T6" fmla="*/ 90 w 110"/>
                <a:gd name="T7" fmla="*/ 20 h 110"/>
                <a:gd name="T8" fmla="*/ 90 w 110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1"/>
                  </a:moveTo>
                  <a:cubicBezTo>
                    <a:pt x="71" y="110"/>
                    <a:pt x="39" y="110"/>
                    <a:pt x="19" y="91"/>
                  </a:cubicBezTo>
                  <a:cubicBezTo>
                    <a:pt x="0" y="71"/>
                    <a:pt x="0" y="39"/>
                    <a:pt x="19" y="20"/>
                  </a:cubicBezTo>
                  <a:cubicBezTo>
                    <a:pt x="39" y="0"/>
                    <a:pt x="71" y="0"/>
                    <a:pt x="90" y="20"/>
                  </a:cubicBezTo>
                  <a:cubicBezTo>
                    <a:pt x="110" y="39"/>
                    <a:pt x="110" y="71"/>
                    <a:pt x="90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132" name="Freeform 137">
              <a:extLst>
                <a:ext uri="{FF2B5EF4-FFF2-40B4-BE49-F238E27FC236}">
                  <a16:creationId xmlns:a16="http://schemas.microsoft.com/office/drawing/2014/main" id="{E8EB16B5-A0EC-4B81-9D98-E7C640BD2407}"/>
                </a:ext>
              </a:extLst>
            </p:cNvPr>
            <p:cNvSpPr>
              <a:spLocks/>
            </p:cNvSpPr>
            <p:nvPr/>
          </p:nvSpPr>
          <p:spPr bwMode="auto">
            <a:xfrm>
              <a:off x="8437803" y="612439"/>
              <a:ext cx="11113" cy="9525"/>
            </a:xfrm>
            <a:custGeom>
              <a:avLst/>
              <a:gdLst>
                <a:gd name="T0" fmla="*/ 90 w 110"/>
                <a:gd name="T1" fmla="*/ 91 h 110"/>
                <a:gd name="T2" fmla="*/ 19 w 110"/>
                <a:gd name="T3" fmla="*/ 91 h 110"/>
                <a:gd name="T4" fmla="*/ 19 w 110"/>
                <a:gd name="T5" fmla="*/ 20 h 110"/>
                <a:gd name="T6" fmla="*/ 90 w 110"/>
                <a:gd name="T7" fmla="*/ 20 h 110"/>
                <a:gd name="T8" fmla="*/ 90 w 110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1"/>
                  </a:moveTo>
                  <a:cubicBezTo>
                    <a:pt x="71" y="110"/>
                    <a:pt x="39" y="110"/>
                    <a:pt x="19" y="91"/>
                  </a:cubicBezTo>
                  <a:cubicBezTo>
                    <a:pt x="0" y="71"/>
                    <a:pt x="0" y="39"/>
                    <a:pt x="19" y="20"/>
                  </a:cubicBezTo>
                  <a:cubicBezTo>
                    <a:pt x="39" y="0"/>
                    <a:pt x="71" y="0"/>
                    <a:pt x="90" y="20"/>
                  </a:cubicBezTo>
                  <a:cubicBezTo>
                    <a:pt x="110" y="39"/>
                    <a:pt x="110" y="71"/>
                    <a:pt x="90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133" name="Freeform 138">
              <a:extLst>
                <a:ext uri="{FF2B5EF4-FFF2-40B4-BE49-F238E27FC236}">
                  <a16:creationId xmlns:a16="http://schemas.microsoft.com/office/drawing/2014/main" id="{35D56BC6-586A-40DA-A1D4-A7ED18EEF93C}"/>
                </a:ext>
              </a:extLst>
            </p:cNvPr>
            <p:cNvSpPr>
              <a:spLocks/>
            </p:cNvSpPr>
            <p:nvPr/>
          </p:nvSpPr>
          <p:spPr bwMode="auto">
            <a:xfrm>
              <a:off x="8501303" y="612439"/>
              <a:ext cx="11113" cy="11112"/>
            </a:xfrm>
            <a:custGeom>
              <a:avLst/>
              <a:gdLst>
                <a:gd name="T0" fmla="*/ 91 w 110"/>
                <a:gd name="T1" fmla="*/ 90 h 110"/>
                <a:gd name="T2" fmla="*/ 20 w 110"/>
                <a:gd name="T3" fmla="*/ 90 h 110"/>
                <a:gd name="T4" fmla="*/ 20 w 110"/>
                <a:gd name="T5" fmla="*/ 19 h 110"/>
                <a:gd name="T6" fmla="*/ 91 w 110"/>
                <a:gd name="T7" fmla="*/ 19 h 110"/>
                <a:gd name="T8" fmla="*/ 91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1" y="90"/>
                  </a:moveTo>
                  <a:cubicBezTo>
                    <a:pt x="71" y="110"/>
                    <a:pt x="40" y="110"/>
                    <a:pt x="20" y="90"/>
                  </a:cubicBezTo>
                  <a:cubicBezTo>
                    <a:pt x="0" y="70"/>
                    <a:pt x="0" y="39"/>
                    <a:pt x="20" y="19"/>
                  </a:cubicBezTo>
                  <a:cubicBezTo>
                    <a:pt x="40" y="0"/>
                    <a:pt x="71" y="0"/>
                    <a:pt x="91" y="19"/>
                  </a:cubicBezTo>
                  <a:cubicBezTo>
                    <a:pt x="110" y="39"/>
                    <a:pt x="110" y="70"/>
                    <a:pt x="91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134" name="Freeform 139">
              <a:extLst>
                <a:ext uri="{FF2B5EF4-FFF2-40B4-BE49-F238E27FC236}">
                  <a16:creationId xmlns:a16="http://schemas.microsoft.com/office/drawing/2014/main" id="{B54D3DB0-B604-4262-8D22-E5DB59E2B391}"/>
                </a:ext>
              </a:extLst>
            </p:cNvPr>
            <p:cNvSpPr>
              <a:spLocks/>
            </p:cNvSpPr>
            <p:nvPr/>
          </p:nvSpPr>
          <p:spPr bwMode="auto">
            <a:xfrm>
              <a:off x="8501303" y="612439"/>
              <a:ext cx="11113" cy="11112"/>
            </a:xfrm>
            <a:custGeom>
              <a:avLst/>
              <a:gdLst>
                <a:gd name="T0" fmla="*/ 91 w 110"/>
                <a:gd name="T1" fmla="*/ 90 h 110"/>
                <a:gd name="T2" fmla="*/ 20 w 110"/>
                <a:gd name="T3" fmla="*/ 90 h 110"/>
                <a:gd name="T4" fmla="*/ 20 w 110"/>
                <a:gd name="T5" fmla="*/ 19 h 110"/>
                <a:gd name="T6" fmla="*/ 91 w 110"/>
                <a:gd name="T7" fmla="*/ 19 h 110"/>
                <a:gd name="T8" fmla="*/ 91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1" y="90"/>
                  </a:moveTo>
                  <a:cubicBezTo>
                    <a:pt x="71" y="110"/>
                    <a:pt x="40" y="110"/>
                    <a:pt x="20" y="90"/>
                  </a:cubicBezTo>
                  <a:cubicBezTo>
                    <a:pt x="0" y="70"/>
                    <a:pt x="0" y="39"/>
                    <a:pt x="20" y="19"/>
                  </a:cubicBezTo>
                  <a:cubicBezTo>
                    <a:pt x="40" y="0"/>
                    <a:pt x="71" y="0"/>
                    <a:pt x="91" y="19"/>
                  </a:cubicBezTo>
                  <a:cubicBezTo>
                    <a:pt x="110" y="39"/>
                    <a:pt x="110" y="70"/>
                    <a:pt x="91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135" name="Freeform 140">
              <a:extLst>
                <a:ext uri="{FF2B5EF4-FFF2-40B4-BE49-F238E27FC236}">
                  <a16:creationId xmlns:a16="http://schemas.microsoft.com/office/drawing/2014/main" id="{742EF7E6-AC27-444C-A780-71CCE6FF7376}"/>
                </a:ext>
              </a:extLst>
            </p:cNvPr>
            <p:cNvSpPr>
              <a:spLocks/>
            </p:cNvSpPr>
            <p:nvPr/>
          </p:nvSpPr>
          <p:spPr bwMode="auto">
            <a:xfrm>
              <a:off x="8564803" y="612439"/>
              <a:ext cx="11113" cy="11112"/>
            </a:xfrm>
            <a:custGeom>
              <a:avLst/>
              <a:gdLst>
                <a:gd name="T0" fmla="*/ 90 w 110"/>
                <a:gd name="T1" fmla="*/ 90 h 110"/>
                <a:gd name="T2" fmla="*/ 19 w 110"/>
                <a:gd name="T3" fmla="*/ 90 h 110"/>
                <a:gd name="T4" fmla="*/ 19 w 110"/>
                <a:gd name="T5" fmla="*/ 19 h 110"/>
                <a:gd name="T6" fmla="*/ 90 w 110"/>
                <a:gd name="T7" fmla="*/ 19 h 110"/>
                <a:gd name="T8" fmla="*/ 90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0"/>
                  </a:moveTo>
                  <a:cubicBezTo>
                    <a:pt x="71" y="110"/>
                    <a:pt x="39" y="110"/>
                    <a:pt x="19" y="90"/>
                  </a:cubicBezTo>
                  <a:cubicBezTo>
                    <a:pt x="0" y="70"/>
                    <a:pt x="0" y="39"/>
                    <a:pt x="19" y="19"/>
                  </a:cubicBezTo>
                  <a:cubicBezTo>
                    <a:pt x="39" y="0"/>
                    <a:pt x="71" y="0"/>
                    <a:pt x="90" y="19"/>
                  </a:cubicBezTo>
                  <a:cubicBezTo>
                    <a:pt x="110" y="39"/>
                    <a:pt x="110" y="70"/>
                    <a:pt x="90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136" name="Freeform 141">
              <a:extLst>
                <a:ext uri="{FF2B5EF4-FFF2-40B4-BE49-F238E27FC236}">
                  <a16:creationId xmlns:a16="http://schemas.microsoft.com/office/drawing/2014/main" id="{249D0BEC-3970-4300-B1F3-0BFF96674BA7}"/>
                </a:ext>
              </a:extLst>
            </p:cNvPr>
            <p:cNvSpPr>
              <a:spLocks/>
            </p:cNvSpPr>
            <p:nvPr/>
          </p:nvSpPr>
          <p:spPr bwMode="auto">
            <a:xfrm>
              <a:off x="8564803" y="612439"/>
              <a:ext cx="11113" cy="11112"/>
            </a:xfrm>
            <a:custGeom>
              <a:avLst/>
              <a:gdLst>
                <a:gd name="T0" fmla="*/ 90 w 110"/>
                <a:gd name="T1" fmla="*/ 90 h 110"/>
                <a:gd name="T2" fmla="*/ 19 w 110"/>
                <a:gd name="T3" fmla="*/ 90 h 110"/>
                <a:gd name="T4" fmla="*/ 19 w 110"/>
                <a:gd name="T5" fmla="*/ 19 h 110"/>
                <a:gd name="T6" fmla="*/ 90 w 110"/>
                <a:gd name="T7" fmla="*/ 19 h 110"/>
                <a:gd name="T8" fmla="*/ 90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0"/>
                  </a:moveTo>
                  <a:cubicBezTo>
                    <a:pt x="71" y="110"/>
                    <a:pt x="39" y="110"/>
                    <a:pt x="19" y="90"/>
                  </a:cubicBezTo>
                  <a:cubicBezTo>
                    <a:pt x="0" y="70"/>
                    <a:pt x="0" y="39"/>
                    <a:pt x="19" y="19"/>
                  </a:cubicBezTo>
                  <a:cubicBezTo>
                    <a:pt x="39" y="0"/>
                    <a:pt x="71" y="0"/>
                    <a:pt x="90" y="19"/>
                  </a:cubicBezTo>
                  <a:cubicBezTo>
                    <a:pt x="110" y="39"/>
                    <a:pt x="110" y="70"/>
                    <a:pt x="90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137" name="Freeform 142">
              <a:extLst>
                <a:ext uri="{FF2B5EF4-FFF2-40B4-BE49-F238E27FC236}">
                  <a16:creationId xmlns:a16="http://schemas.microsoft.com/office/drawing/2014/main" id="{54170DDF-CFDE-4991-B461-2BFD3126E719}"/>
                </a:ext>
              </a:extLst>
            </p:cNvPr>
            <p:cNvSpPr>
              <a:spLocks/>
            </p:cNvSpPr>
            <p:nvPr/>
          </p:nvSpPr>
          <p:spPr bwMode="auto">
            <a:xfrm>
              <a:off x="8628303" y="612439"/>
              <a:ext cx="11113" cy="11112"/>
            </a:xfrm>
            <a:custGeom>
              <a:avLst/>
              <a:gdLst>
                <a:gd name="T0" fmla="*/ 90 w 110"/>
                <a:gd name="T1" fmla="*/ 90 h 110"/>
                <a:gd name="T2" fmla="*/ 19 w 110"/>
                <a:gd name="T3" fmla="*/ 90 h 110"/>
                <a:gd name="T4" fmla="*/ 19 w 110"/>
                <a:gd name="T5" fmla="*/ 19 h 110"/>
                <a:gd name="T6" fmla="*/ 90 w 110"/>
                <a:gd name="T7" fmla="*/ 19 h 110"/>
                <a:gd name="T8" fmla="*/ 90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0"/>
                  </a:moveTo>
                  <a:cubicBezTo>
                    <a:pt x="71" y="110"/>
                    <a:pt x="39" y="110"/>
                    <a:pt x="19" y="90"/>
                  </a:cubicBezTo>
                  <a:cubicBezTo>
                    <a:pt x="0" y="70"/>
                    <a:pt x="0" y="39"/>
                    <a:pt x="19" y="19"/>
                  </a:cubicBezTo>
                  <a:cubicBezTo>
                    <a:pt x="39" y="0"/>
                    <a:pt x="71" y="0"/>
                    <a:pt x="90" y="19"/>
                  </a:cubicBezTo>
                  <a:cubicBezTo>
                    <a:pt x="110" y="39"/>
                    <a:pt x="110" y="70"/>
                    <a:pt x="90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138" name="Freeform 143">
              <a:extLst>
                <a:ext uri="{FF2B5EF4-FFF2-40B4-BE49-F238E27FC236}">
                  <a16:creationId xmlns:a16="http://schemas.microsoft.com/office/drawing/2014/main" id="{606DDBCD-F482-4499-8643-AE5120E46EA4}"/>
                </a:ext>
              </a:extLst>
            </p:cNvPr>
            <p:cNvSpPr>
              <a:spLocks/>
            </p:cNvSpPr>
            <p:nvPr/>
          </p:nvSpPr>
          <p:spPr bwMode="auto">
            <a:xfrm>
              <a:off x="8628303" y="612439"/>
              <a:ext cx="11113" cy="11112"/>
            </a:xfrm>
            <a:custGeom>
              <a:avLst/>
              <a:gdLst>
                <a:gd name="T0" fmla="*/ 90 w 110"/>
                <a:gd name="T1" fmla="*/ 90 h 110"/>
                <a:gd name="T2" fmla="*/ 19 w 110"/>
                <a:gd name="T3" fmla="*/ 90 h 110"/>
                <a:gd name="T4" fmla="*/ 19 w 110"/>
                <a:gd name="T5" fmla="*/ 19 h 110"/>
                <a:gd name="T6" fmla="*/ 90 w 110"/>
                <a:gd name="T7" fmla="*/ 19 h 110"/>
                <a:gd name="T8" fmla="*/ 90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0"/>
                  </a:moveTo>
                  <a:cubicBezTo>
                    <a:pt x="71" y="110"/>
                    <a:pt x="39" y="110"/>
                    <a:pt x="19" y="90"/>
                  </a:cubicBezTo>
                  <a:cubicBezTo>
                    <a:pt x="0" y="70"/>
                    <a:pt x="0" y="39"/>
                    <a:pt x="19" y="19"/>
                  </a:cubicBezTo>
                  <a:cubicBezTo>
                    <a:pt x="39" y="0"/>
                    <a:pt x="71" y="0"/>
                    <a:pt x="90" y="19"/>
                  </a:cubicBezTo>
                  <a:cubicBezTo>
                    <a:pt x="110" y="39"/>
                    <a:pt x="110" y="70"/>
                    <a:pt x="90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139" name="Freeform 144">
              <a:extLst>
                <a:ext uri="{FF2B5EF4-FFF2-40B4-BE49-F238E27FC236}">
                  <a16:creationId xmlns:a16="http://schemas.microsoft.com/office/drawing/2014/main" id="{AF0CA44C-5EC4-448E-BC5E-51245C45A2C4}"/>
                </a:ext>
              </a:extLst>
            </p:cNvPr>
            <p:cNvSpPr>
              <a:spLocks/>
            </p:cNvSpPr>
            <p:nvPr/>
          </p:nvSpPr>
          <p:spPr bwMode="auto">
            <a:xfrm>
              <a:off x="8691803" y="612439"/>
              <a:ext cx="11113" cy="11112"/>
            </a:xfrm>
            <a:custGeom>
              <a:avLst/>
              <a:gdLst>
                <a:gd name="T0" fmla="*/ 91 w 110"/>
                <a:gd name="T1" fmla="*/ 91 h 111"/>
                <a:gd name="T2" fmla="*/ 20 w 110"/>
                <a:gd name="T3" fmla="*/ 91 h 111"/>
                <a:gd name="T4" fmla="*/ 20 w 110"/>
                <a:gd name="T5" fmla="*/ 20 h 111"/>
                <a:gd name="T6" fmla="*/ 91 w 110"/>
                <a:gd name="T7" fmla="*/ 20 h 111"/>
                <a:gd name="T8" fmla="*/ 91 w 110"/>
                <a:gd name="T9" fmla="*/ 9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1">
                  <a:moveTo>
                    <a:pt x="91" y="91"/>
                  </a:moveTo>
                  <a:cubicBezTo>
                    <a:pt x="71" y="111"/>
                    <a:pt x="39" y="111"/>
                    <a:pt x="20" y="91"/>
                  </a:cubicBezTo>
                  <a:cubicBezTo>
                    <a:pt x="0" y="71"/>
                    <a:pt x="0" y="40"/>
                    <a:pt x="20" y="20"/>
                  </a:cubicBezTo>
                  <a:cubicBezTo>
                    <a:pt x="39" y="0"/>
                    <a:pt x="71" y="0"/>
                    <a:pt x="91" y="20"/>
                  </a:cubicBezTo>
                  <a:cubicBezTo>
                    <a:pt x="110" y="40"/>
                    <a:pt x="110" y="71"/>
                    <a:pt x="91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140" name="Freeform 145">
              <a:extLst>
                <a:ext uri="{FF2B5EF4-FFF2-40B4-BE49-F238E27FC236}">
                  <a16:creationId xmlns:a16="http://schemas.microsoft.com/office/drawing/2014/main" id="{1061996C-0861-4989-B8A2-6EEA3DDC7476}"/>
                </a:ext>
              </a:extLst>
            </p:cNvPr>
            <p:cNvSpPr>
              <a:spLocks/>
            </p:cNvSpPr>
            <p:nvPr/>
          </p:nvSpPr>
          <p:spPr bwMode="auto">
            <a:xfrm>
              <a:off x="8691803" y="612439"/>
              <a:ext cx="11113" cy="11112"/>
            </a:xfrm>
            <a:custGeom>
              <a:avLst/>
              <a:gdLst>
                <a:gd name="T0" fmla="*/ 91 w 110"/>
                <a:gd name="T1" fmla="*/ 91 h 111"/>
                <a:gd name="T2" fmla="*/ 20 w 110"/>
                <a:gd name="T3" fmla="*/ 91 h 111"/>
                <a:gd name="T4" fmla="*/ 20 w 110"/>
                <a:gd name="T5" fmla="*/ 20 h 111"/>
                <a:gd name="T6" fmla="*/ 91 w 110"/>
                <a:gd name="T7" fmla="*/ 20 h 111"/>
                <a:gd name="T8" fmla="*/ 91 w 110"/>
                <a:gd name="T9" fmla="*/ 9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1">
                  <a:moveTo>
                    <a:pt x="91" y="91"/>
                  </a:moveTo>
                  <a:cubicBezTo>
                    <a:pt x="71" y="111"/>
                    <a:pt x="39" y="111"/>
                    <a:pt x="20" y="91"/>
                  </a:cubicBezTo>
                  <a:cubicBezTo>
                    <a:pt x="0" y="71"/>
                    <a:pt x="0" y="40"/>
                    <a:pt x="20" y="20"/>
                  </a:cubicBezTo>
                  <a:cubicBezTo>
                    <a:pt x="39" y="0"/>
                    <a:pt x="71" y="0"/>
                    <a:pt x="91" y="20"/>
                  </a:cubicBezTo>
                  <a:cubicBezTo>
                    <a:pt x="110" y="40"/>
                    <a:pt x="110" y="71"/>
                    <a:pt x="91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141" name="Freeform 146">
              <a:extLst>
                <a:ext uri="{FF2B5EF4-FFF2-40B4-BE49-F238E27FC236}">
                  <a16:creationId xmlns:a16="http://schemas.microsoft.com/office/drawing/2014/main" id="{D08AFCA3-FEB4-4513-A2AF-0E6A7A57C07A}"/>
                </a:ext>
              </a:extLst>
            </p:cNvPr>
            <p:cNvSpPr>
              <a:spLocks/>
            </p:cNvSpPr>
            <p:nvPr/>
          </p:nvSpPr>
          <p:spPr bwMode="auto">
            <a:xfrm>
              <a:off x="8755303" y="612439"/>
              <a:ext cx="11113" cy="11112"/>
            </a:xfrm>
            <a:custGeom>
              <a:avLst/>
              <a:gdLst>
                <a:gd name="T0" fmla="*/ 91 w 110"/>
                <a:gd name="T1" fmla="*/ 91 h 111"/>
                <a:gd name="T2" fmla="*/ 20 w 110"/>
                <a:gd name="T3" fmla="*/ 91 h 111"/>
                <a:gd name="T4" fmla="*/ 20 w 110"/>
                <a:gd name="T5" fmla="*/ 20 h 111"/>
                <a:gd name="T6" fmla="*/ 91 w 110"/>
                <a:gd name="T7" fmla="*/ 20 h 111"/>
                <a:gd name="T8" fmla="*/ 91 w 110"/>
                <a:gd name="T9" fmla="*/ 9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1">
                  <a:moveTo>
                    <a:pt x="91" y="91"/>
                  </a:moveTo>
                  <a:cubicBezTo>
                    <a:pt x="71" y="111"/>
                    <a:pt x="39" y="111"/>
                    <a:pt x="20" y="91"/>
                  </a:cubicBezTo>
                  <a:cubicBezTo>
                    <a:pt x="0" y="71"/>
                    <a:pt x="0" y="40"/>
                    <a:pt x="20" y="20"/>
                  </a:cubicBezTo>
                  <a:cubicBezTo>
                    <a:pt x="39" y="0"/>
                    <a:pt x="71" y="0"/>
                    <a:pt x="91" y="20"/>
                  </a:cubicBezTo>
                  <a:cubicBezTo>
                    <a:pt x="110" y="40"/>
                    <a:pt x="110" y="71"/>
                    <a:pt x="91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142" name="Freeform 147">
              <a:extLst>
                <a:ext uri="{FF2B5EF4-FFF2-40B4-BE49-F238E27FC236}">
                  <a16:creationId xmlns:a16="http://schemas.microsoft.com/office/drawing/2014/main" id="{B8974934-65FA-4EB9-A99E-14DC44458DA7}"/>
                </a:ext>
              </a:extLst>
            </p:cNvPr>
            <p:cNvSpPr>
              <a:spLocks/>
            </p:cNvSpPr>
            <p:nvPr/>
          </p:nvSpPr>
          <p:spPr bwMode="auto">
            <a:xfrm>
              <a:off x="8755303" y="612439"/>
              <a:ext cx="11113" cy="11112"/>
            </a:xfrm>
            <a:custGeom>
              <a:avLst/>
              <a:gdLst>
                <a:gd name="T0" fmla="*/ 91 w 110"/>
                <a:gd name="T1" fmla="*/ 91 h 111"/>
                <a:gd name="T2" fmla="*/ 20 w 110"/>
                <a:gd name="T3" fmla="*/ 91 h 111"/>
                <a:gd name="T4" fmla="*/ 20 w 110"/>
                <a:gd name="T5" fmla="*/ 20 h 111"/>
                <a:gd name="T6" fmla="*/ 91 w 110"/>
                <a:gd name="T7" fmla="*/ 20 h 111"/>
                <a:gd name="T8" fmla="*/ 91 w 110"/>
                <a:gd name="T9" fmla="*/ 9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1">
                  <a:moveTo>
                    <a:pt x="91" y="91"/>
                  </a:moveTo>
                  <a:cubicBezTo>
                    <a:pt x="71" y="111"/>
                    <a:pt x="39" y="111"/>
                    <a:pt x="20" y="91"/>
                  </a:cubicBezTo>
                  <a:cubicBezTo>
                    <a:pt x="0" y="71"/>
                    <a:pt x="0" y="40"/>
                    <a:pt x="20" y="20"/>
                  </a:cubicBezTo>
                  <a:cubicBezTo>
                    <a:pt x="39" y="0"/>
                    <a:pt x="71" y="0"/>
                    <a:pt x="91" y="20"/>
                  </a:cubicBezTo>
                  <a:cubicBezTo>
                    <a:pt x="110" y="40"/>
                    <a:pt x="110" y="71"/>
                    <a:pt x="91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143" name="Freeform 148">
              <a:extLst>
                <a:ext uri="{FF2B5EF4-FFF2-40B4-BE49-F238E27FC236}">
                  <a16:creationId xmlns:a16="http://schemas.microsoft.com/office/drawing/2014/main" id="{5785F713-D94A-4766-B5B3-7E8C0006D6D8}"/>
                </a:ext>
              </a:extLst>
            </p:cNvPr>
            <p:cNvSpPr>
              <a:spLocks/>
            </p:cNvSpPr>
            <p:nvPr/>
          </p:nvSpPr>
          <p:spPr bwMode="auto">
            <a:xfrm>
              <a:off x="8820390" y="612439"/>
              <a:ext cx="9525" cy="11112"/>
            </a:xfrm>
            <a:custGeom>
              <a:avLst/>
              <a:gdLst>
                <a:gd name="T0" fmla="*/ 90 w 110"/>
                <a:gd name="T1" fmla="*/ 91 h 111"/>
                <a:gd name="T2" fmla="*/ 19 w 110"/>
                <a:gd name="T3" fmla="*/ 91 h 111"/>
                <a:gd name="T4" fmla="*/ 19 w 110"/>
                <a:gd name="T5" fmla="*/ 20 h 111"/>
                <a:gd name="T6" fmla="*/ 90 w 110"/>
                <a:gd name="T7" fmla="*/ 20 h 111"/>
                <a:gd name="T8" fmla="*/ 90 w 110"/>
                <a:gd name="T9" fmla="*/ 9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1">
                  <a:moveTo>
                    <a:pt x="90" y="91"/>
                  </a:moveTo>
                  <a:cubicBezTo>
                    <a:pt x="70" y="111"/>
                    <a:pt x="39" y="111"/>
                    <a:pt x="19" y="91"/>
                  </a:cubicBezTo>
                  <a:cubicBezTo>
                    <a:pt x="0" y="71"/>
                    <a:pt x="0" y="40"/>
                    <a:pt x="19" y="20"/>
                  </a:cubicBezTo>
                  <a:cubicBezTo>
                    <a:pt x="39" y="0"/>
                    <a:pt x="70" y="0"/>
                    <a:pt x="90" y="20"/>
                  </a:cubicBezTo>
                  <a:cubicBezTo>
                    <a:pt x="110" y="40"/>
                    <a:pt x="110" y="71"/>
                    <a:pt x="90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144" name="Freeform 149">
              <a:extLst>
                <a:ext uri="{FF2B5EF4-FFF2-40B4-BE49-F238E27FC236}">
                  <a16:creationId xmlns:a16="http://schemas.microsoft.com/office/drawing/2014/main" id="{F41A0D06-3E19-451D-A3A0-29B968105CAD}"/>
                </a:ext>
              </a:extLst>
            </p:cNvPr>
            <p:cNvSpPr>
              <a:spLocks/>
            </p:cNvSpPr>
            <p:nvPr/>
          </p:nvSpPr>
          <p:spPr bwMode="auto">
            <a:xfrm>
              <a:off x="8820390" y="612439"/>
              <a:ext cx="9525" cy="11112"/>
            </a:xfrm>
            <a:custGeom>
              <a:avLst/>
              <a:gdLst>
                <a:gd name="T0" fmla="*/ 90 w 110"/>
                <a:gd name="T1" fmla="*/ 91 h 111"/>
                <a:gd name="T2" fmla="*/ 19 w 110"/>
                <a:gd name="T3" fmla="*/ 91 h 111"/>
                <a:gd name="T4" fmla="*/ 19 w 110"/>
                <a:gd name="T5" fmla="*/ 20 h 111"/>
                <a:gd name="T6" fmla="*/ 90 w 110"/>
                <a:gd name="T7" fmla="*/ 20 h 111"/>
                <a:gd name="T8" fmla="*/ 90 w 110"/>
                <a:gd name="T9" fmla="*/ 9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1">
                  <a:moveTo>
                    <a:pt x="90" y="91"/>
                  </a:moveTo>
                  <a:cubicBezTo>
                    <a:pt x="70" y="111"/>
                    <a:pt x="39" y="111"/>
                    <a:pt x="19" y="91"/>
                  </a:cubicBezTo>
                  <a:cubicBezTo>
                    <a:pt x="0" y="71"/>
                    <a:pt x="0" y="40"/>
                    <a:pt x="19" y="20"/>
                  </a:cubicBezTo>
                  <a:cubicBezTo>
                    <a:pt x="39" y="0"/>
                    <a:pt x="70" y="0"/>
                    <a:pt x="90" y="20"/>
                  </a:cubicBezTo>
                  <a:cubicBezTo>
                    <a:pt x="110" y="40"/>
                    <a:pt x="110" y="71"/>
                    <a:pt x="90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145" name="Freeform 150">
              <a:extLst>
                <a:ext uri="{FF2B5EF4-FFF2-40B4-BE49-F238E27FC236}">
                  <a16:creationId xmlns:a16="http://schemas.microsoft.com/office/drawing/2014/main" id="{0D1B9841-9909-42B8-985A-4BE0C935C5F9}"/>
                </a:ext>
              </a:extLst>
            </p:cNvPr>
            <p:cNvSpPr>
              <a:spLocks/>
            </p:cNvSpPr>
            <p:nvPr/>
          </p:nvSpPr>
          <p:spPr bwMode="auto">
            <a:xfrm>
              <a:off x="8883890" y="612439"/>
              <a:ext cx="9525" cy="9525"/>
            </a:xfrm>
            <a:custGeom>
              <a:avLst/>
              <a:gdLst>
                <a:gd name="T0" fmla="*/ 50 w 100"/>
                <a:gd name="T1" fmla="*/ 101 h 101"/>
                <a:gd name="T2" fmla="*/ 0 w 100"/>
                <a:gd name="T3" fmla="*/ 50 h 101"/>
                <a:gd name="T4" fmla="*/ 50 w 100"/>
                <a:gd name="T5" fmla="*/ 0 h 101"/>
                <a:gd name="T6" fmla="*/ 100 w 100"/>
                <a:gd name="T7" fmla="*/ 50 h 101"/>
                <a:gd name="T8" fmla="*/ 50 w 100"/>
                <a:gd name="T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01">
                  <a:moveTo>
                    <a:pt x="50" y="101"/>
                  </a:moveTo>
                  <a:cubicBezTo>
                    <a:pt x="22" y="101"/>
                    <a:pt x="0" y="78"/>
                    <a:pt x="0" y="50"/>
                  </a:cubicBezTo>
                  <a:cubicBezTo>
                    <a:pt x="0" y="23"/>
                    <a:pt x="22" y="0"/>
                    <a:pt x="50" y="0"/>
                  </a:cubicBezTo>
                  <a:cubicBezTo>
                    <a:pt x="77" y="0"/>
                    <a:pt x="100" y="23"/>
                    <a:pt x="100" y="50"/>
                  </a:cubicBezTo>
                  <a:cubicBezTo>
                    <a:pt x="100" y="78"/>
                    <a:pt x="78" y="101"/>
                    <a:pt x="50" y="10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146" name="Freeform 151">
              <a:extLst>
                <a:ext uri="{FF2B5EF4-FFF2-40B4-BE49-F238E27FC236}">
                  <a16:creationId xmlns:a16="http://schemas.microsoft.com/office/drawing/2014/main" id="{22837324-D81E-40B2-A5DD-9CC66AFCB3F9}"/>
                </a:ext>
              </a:extLst>
            </p:cNvPr>
            <p:cNvSpPr>
              <a:spLocks/>
            </p:cNvSpPr>
            <p:nvPr/>
          </p:nvSpPr>
          <p:spPr bwMode="auto">
            <a:xfrm>
              <a:off x="8883890" y="612439"/>
              <a:ext cx="9525" cy="9525"/>
            </a:xfrm>
            <a:custGeom>
              <a:avLst/>
              <a:gdLst>
                <a:gd name="T0" fmla="*/ 50 w 100"/>
                <a:gd name="T1" fmla="*/ 101 h 101"/>
                <a:gd name="T2" fmla="*/ 0 w 100"/>
                <a:gd name="T3" fmla="*/ 50 h 101"/>
                <a:gd name="T4" fmla="*/ 50 w 100"/>
                <a:gd name="T5" fmla="*/ 0 h 101"/>
                <a:gd name="T6" fmla="*/ 100 w 100"/>
                <a:gd name="T7" fmla="*/ 50 h 101"/>
                <a:gd name="T8" fmla="*/ 50 w 100"/>
                <a:gd name="T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01">
                  <a:moveTo>
                    <a:pt x="50" y="101"/>
                  </a:moveTo>
                  <a:cubicBezTo>
                    <a:pt x="22" y="101"/>
                    <a:pt x="0" y="78"/>
                    <a:pt x="0" y="50"/>
                  </a:cubicBezTo>
                  <a:cubicBezTo>
                    <a:pt x="0" y="23"/>
                    <a:pt x="22" y="0"/>
                    <a:pt x="50" y="0"/>
                  </a:cubicBezTo>
                  <a:cubicBezTo>
                    <a:pt x="77" y="0"/>
                    <a:pt x="100" y="23"/>
                    <a:pt x="100" y="50"/>
                  </a:cubicBezTo>
                  <a:cubicBezTo>
                    <a:pt x="100" y="78"/>
                    <a:pt x="78" y="101"/>
                    <a:pt x="50" y="10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147" name="Freeform 152">
              <a:extLst>
                <a:ext uri="{FF2B5EF4-FFF2-40B4-BE49-F238E27FC236}">
                  <a16:creationId xmlns:a16="http://schemas.microsoft.com/office/drawing/2014/main" id="{796C0C34-F1F8-4F98-AB44-6AEEAE495F99}"/>
                </a:ext>
              </a:extLst>
            </p:cNvPr>
            <p:cNvSpPr>
              <a:spLocks/>
            </p:cNvSpPr>
            <p:nvPr/>
          </p:nvSpPr>
          <p:spPr bwMode="auto">
            <a:xfrm>
              <a:off x="8947390" y="612439"/>
              <a:ext cx="9525" cy="9525"/>
            </a:xfrm>
            <a:custGeom>
              <a:avLst/>
              <a:gdLst>
                <a:gd name="T0" fmla="*/ 91 w 110"/>
                <a:gd name="T1" fmla="*/ 90 h 110"/>
                <a:gd name="T2" fmla="*/ 20 w 110"/>
                <a:gd name="T3" fmla="*/ 90 h 110"/>
                <a:gd name="T4" fmla="*/ 20 w 110"/>
                <a:gd name="T5" fmla="*/ 20 h 110"/>
                <a:gd name="T6" fmla="*/ 91 w 110"/>
                <a:gd name="T7" fmla="*/ 20 h 110"/>
                <a:gd name="T8" fmla="*/ 91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1" y="90"/>
                  </a:moveTo>
                  <a:cubicBezTo>
                    <a:pt x="71" y="110"/>
                    <a:pt x="40" y="110"/>
                    <a:pt x="20" y="90"/>
                  </a:cubicBezTo>
                  <a:cubicBezTo>
                    <a:pt x="0" y="71"/>
                    <a:pt x="0" y="39"/>
                    <a:pt x="20" y="20"/>
                  </a:cubicBezTo>
                  <a:cubicBezTo>
                    <a:pt x="40" y="0"/>
                    <a:pt x="71" y="0"/>
                    <a:pt x="91" y="20"/>
                  </a:cubicBezTo>
                  <a:cubicBezTo>
                    <a:pt x="110" y="39"/>
                    <a:pt x="110" y="71"/>
                    <a:pt x="91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148" name="Freeform 153">
              <a:extLst>
                <a:ext uri="{FF2B5EF4-FFF2-40B4-BE49-F238E27FC236}">
                  <a16:creationId xmlns:a16="http://schemas.microsoft.com/office/drawing/2014/main" id="{F78EFD57-4A6B-4E39-81C4-1BDA3C509C44}"/>
                </a:ext>
              </a:extLst>
            </p:cNvPr>
            <p:cNvSpPr>
              <a:spLocks/>
            </p:cNvSpPr>
            <p:nvPr/>
          </p:nvSpPr>
          <p:spPr bwMode="auto">
            <a:xfrm>
              <a:off x="8947390" y="612439"/>
              <a:ext cx="9525" cy="9525"/>
            </a:xfrm>
            <a:custGeom>
              <a:avLst/>
              <a:gdLst>
                <a:gd name="T0" fmla="*/ 91 w 110"/>
                <a:gd name="T1" fmla="*/ 90 h 110"/>
                <a:gd name="T2" fmla="*/ 20 w 110"/>
                <a:gd name="T3" fmla="*/ 90 h 110"/>
                <a:gd name="T4" fmla="*/ 20 w 110"/>
                <a:gd name="T5" fmla="*/ 20 h 110"/>
                <a:gd name="T6" fmla="*/ 91 w 110"/>
                <a:gd name="T7" fmla="*/ 20 h 110"/>
                <a:gd name="T8" fmla="*/ 91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1" y="90"/>
                  </a:moveTo>
                  <a:cubicBezTo>
                    <a:pt x="71" y="110"/>
                    <a:pt x="40" y="110"/>
                    <a:pt x="20" y="90"/>
                  </a:cubicBezTo>
                  <a:cubicBezTo>
                    <a:pt x="0" y="71"/>
                    <a:pt x="0" y="39"/>
                    <a:pt x="20" y="20"/>
                  </a:cubicBezTo>
                  <a:cubicBezTo>
                    <a:pt x="40" y="0"/>
                    <a:pt x="71" y="0"/>
                    <a:pt x="91" y="20"/>
                  </a:cubicBezTo>
                  <a:cubicBezTo>
                    <a:pt x="110" y="39"/>
                    <a:pt x="110" y="71"/>
                    <a:pt x="91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149" name="Freeform 154">
              <a:extLst>
                <a:ext uri="{FF2B5EF4-FFF2-40B4-BE49-F238E27FC236}">
                  <a16:creationId xmlns:a16="http://schemas.microsoft.com/office/drawing/2014/main" id="{348B8FB4-E395-4F92-87A3-FA370504E931}"/>
                </a:ext>
              </a:extLst>
            </p:cNvPr>
            <p:cNvSpPr>
              <a:spLocks/>
            </p:cNvSpPr>
            <p:nvPr/>
          </p:nvSpPr>
          <p:spPr bwMode="auto">
            <a:xfrm>
              <a:off x="7864715" y="548939"/>
              <a:ext cx="9525" cy="9525"/>
            </a:xfrm>
            <a:custGeom>
              <a:avLst/>
              <a:gdLst>
                <a:gd name="T0" fmla="*/ 50 w 100"/>
                <a:gd name="T1" fmla="*/ 100 h 101"/>
                <a:gd name="T2" fmla="*/ 0 w 100"/>
                <a:gd name="T3" fmla="*/ 50 h 101"/>
                <a:gd name="T4" fmla="*/ 50 w 100"/>
                <a:gd name="T5" fmla="*/ 0 h 101"/>
                <a:gd name="T6" fmla="*/ 100 w 100"/>
                <a:gd name="T7" fmla="*/ 50 h 101"/>
                <a:gd name="T8" fmla="*/ 50 w 100"/>
                <a:gd name="T9" fmla="*/ 10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01">
                  <a:moveTo>
                    <a:pt x="50" y="100"/>
                  </a:moveTo>
                  <a:cubicBezTo>
                    <a:pt x="22" y="100"/>
                    <a:pt x="0" y="77"/>
                    <a:pt x="0" y="50"/>
                  </a:cubicBezTo>
                  <a:cubicBezTo>
                    <a:pt x="0" y="23"/>
                    <a:pt x="22" y="0"/>
                    <a:pt x="50" y="0"/>
                  </a:cubicBezTo>
                  <a:cubicBezTo>
                    <a:pt x="77" y="0"/>
                    <a:pt x="100" y="23"/>
                    <a:pt x="100" y="50"/>
                  </a:cubicBezTo>
                  <a:cubicBezTo>
                    <a:pt x="100" y="78"/>
                    <a:pt x="78" y="101"/>
                    <a:pt x="50" y="10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150" name="Freeform 155">
              <a:extLst>
                <a:ext uri="{FF2B5EF4-FFF2-40B4-BE49-F238E27FC236}">
                  <a16:creationId xmlns:a16="http://schemas.microsoft.com/office/drawing/2014/main" id="{48552306-03D5-4EAF-9EEB-559A99CBE2D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64715" y="548939"/>
              <a:ext cx="9525" cy="9525"/>
            </a:xfrm>
            <a:custGeom>
              <a:avLst/>
              <a:gdLst>
                <a:gd name="T0" fmla="*/ 50 w 100"/>
                <a:gd name="T1" fmla="*/ 100 h 101"/>
                <a:gd name="T2" fmla="*/ 0 w 100"/>
                <a:gd name="T3" fmla="*/ 50 h 101"/>
                <a:gd name="T4" fmla="*/ 50 w 100"/>
                <a:gd name="T5" fmla="*/ 0 h 101"/>
                <a:gd name="T6" fmla="*/ 100 w 100"/>
                <a:gd name="T7" fmla="*/ 50 h 101"/>
                <a:gd name="T8" fmla="*/ 50 w 100"/>
                <a:gd name="T9" fmla="*/ 10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01">
                  <a:moveTo>
                    <a:pt x="50" y="100"/>
                  </a:moveTo>
                  <a:cubicBezTo>
                    <a:pt x="22" y="100"/>
                    <a:pt x="0" y="77"/>
                    <a:pt x="0" y="50"/>
                  </a:cubicBezTo>
                  <a:cubicBezTo>
                    <a:pt x="0" y="23"/>
                    <a:pt x="22" y="0"/>
                    <a:pt x="50" y="0"/>
                  </a:cubicBezTo>
                  <a:cubicBezTo>
                    <a:pt x="77" y="0"/>
                    <a:pt x="100" y="23"/>
                    <a:pt x="100" y="50"/>
                  </a:cubicBezTo>
                  <a:cubicBezTo>
                    <a:pt x="100" y="78"/>
                    <a:pt x="78" y="101"/>
                    <a:pt x="50" y="10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151" name="Oval 156">
              <a:extLst>
                <a:ext uri="{FF2B5EF4-FFF2-40B4-BE49-F238E27FC236}">
                  <a16:creationId xmlns:a16="http://schemas.microsoft.com/office/drawing/2014/main" id="{F1F7BB90-8C50-4B47-A111-1FC2B3EB48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28215" y="548939"/>
              <a:ext cx="9525" cy="9525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152" name="Oval 157">
              <a:extLst>
                <a:ext uri="{FF2B5EF4-FFF2-40B4-BE49-F238E27FC236}">
                  <a16:creationId xmlns:a16="http://schemas.microsoft.com/office/drawing/2014/main" id="{4796F4DF-653C-4D8A-8736-E3D1A0173C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28215" y="548939"/>
              <a:ext cx="9525" cy="9525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153" name="Freeform 158">
              <a:extLst>
                <a:ext uri="{FF2B5EF4-FFF2-40B4-BE49-F238E27FC236}">
                  <a16:creationId xmlns:a16="http://schemas.microsoft.com/office/drawing/2014/main" id="{5A9B09D4-3643-4F66-A977-528AD0B7AB7E}"/>
                </a:ext>
              </a:extLst>
            </p:cNvPr>
            <p:cNvSpPr>
              <a:spLocks/>
            </p:cNvSpPr>
            <p:nvPr/>
          </p:nvSpPr>
          <p:spPr bwMode="auto">
            <a:xfrm>
              <a:off x="7991715" y="548939"/>
              <a:ext cx="11113" cy="9525"/>
            </a:xfrm>
            <a:custGeom>
              <a:avLst/>
              <a:gdLst>
                <a:gd name="T0" fmla="*/ 90 w 110"/>
                <a:gd name="T1" fmla="*/ 91 h 110"/>
                <a:gd name="T2" fmla="*/ 19 w 110"/>
                <a:gd name="T3" fmla="*/ 91 h 110"/>
                <a:gd name="T4" fmla="*/ 19 w 110"/>
                <a:gd name="T5" fmla="*/ 20 h 110"/>
                <a:gd name="T6" fmla="*/ 90 w 110"/>
                <a:gd name="T7" fmla="*/ 20 h 110"/>
                <a:gd name="T8" fmla="*/ 90 w 110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1"/>
                  </a:moveTo>
                  <a:cubicBezTo>
                    <a:pt x="71" y="110"/>
                    <a:pt x="39" y="110"/>
                    <a:pt x="19" y="91"/>
                  </a:cubicBezTo>
                  <a:cubicBezTo>
                    <a:pt x="0" y="71"/>
                    <a:pt x="0" y="40"/>
                    <a:pt x="19" y="20"/>
                  </a:cubicBezTo>
                  <a:cubicBezTo>
                    <a:pt x="39" y="0"/>
                    <a:pt x="71" y="0"/>
                    <a:pt x="90" y="20"/>
                  </a:cubicBezTo>
                  <a:cubicBezTo>
                    <a:pt x="110" y="40"/>
                    <a:pt x="110" y="71"/>
                    <a:pt x="90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154" name="Freeform 159">
              <a:extLst>
                <a:ext uri="{FF2B5EF4-FFF2-40B4-BE49-F238E27FC236}">
                  <a16:creationId xmlns:a16="http://schemas.microsoft.com/office/drawing/2014/main" id="{84A8EEE3-44D6-4504-B6A0-20F19DEC3CE9}"/>
                </a:ext>
              </a:extLst>
            </p:cNvPr>
            <p:cNvSpPr>
              <a:spLocks/>
            </p:cNvSpPr>
            <p:nvPr/>
          </p:nvSpPr>
          <p:spPr bwMode="auto">
            <a:xfrm>
              <a:off x="7991715" y="548939"/>
              <a:ext cx="11113" cy="9525"/>
            </a:xfrm>
            <a:custGeom>
              <a:avLst/>
              <a:gdLst>
                <a:gd name="T0" fmla="*/ 90 w 110"/>
                <a:gd name="T1" fmla="*/ 91 h 110"/>
                <a:gd name="T2" fmla="*/ 19 w 110"/>
                <a:gd name="T3" fmla="*/ 91 h 110"/>
                <a:gd name="T4" fmla="*/ 19 w 110"/>
                <a:gd name="T5" fmla="*/ 20 h 110"/>
                <a:gd name="T6" fmla="*/ 90 w 110"/>
                <a:gd name="T7" fmla="*/ 20 h 110"/>
                <a:gd name="T8" fmla="*/ 90 w 110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1"/>
                  </a:moveTo>
                  <a:cubicBezTo>
                    <a:pt x="71" y="110"/>
                    <a:pt x="39" y="110"/>
                    <a:pt x="19" y="91"/>
                  </a:cubicBezTo>
                  <a:cubicBezTo>
                    <a:pt x="0" y="71"/>
                    <a:pt x="0" y="40"/>
                    <a:pt x="19" y="20"/>
                  </a:cubicBezTo>
                  <a:cubicBezTo>
                    <a:pt x="39" y="0"/>
                    <a:pt x="71" y="0"/>
                    <a:pt x="90" y="20"/>
                  </a:cubicBezTo>
                  <a:cubicBezTo>
                    <a:pt x="110" y="40"/>
                    <a:pt x="110" y="71"/>
                    <a:pt x="90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155" name="Oval 160">
              <a:extLst>
                <a:ext uri="{FF2B5EF4-FFF2-40B4-BE49-F238E27FC236}">
                  <a16:creationId xmlns:a16="http://schemas.microsoft.com/office/drawing/2014/main" id="{1F78F40F-CF17-467C-858E-8185A25BD90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56803" y="548939"/>
              <a:ext cx="9525" cy="9525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156" name="Oval 161">
              <a:extLst>
                <a:ext uri="{FF2B5EF4-FFF2-40B4-BE49-F238E27FC236}">
                  <a16:creationId xmlns:a16="http://schemas.microsoft.com/office/drawing/2014/main" id="{A12D3C11-11CA-42B2-AAE5-A797707210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56803" y="548939"/>
              <a:ext cx="9525" cy="9525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157" name="Freeform 162">
              <a:extLst>
                <a:ext uri="{FF2B5EF4-FFF2-40B4-BE49-F238E27FC236}">
                  <a16:creationId xmlns:a16="http://schemas.microsoft.com/office/drawing/2014/main" id="{9B955521-0254-468A-B027-D7E9E09286DA}"/>
                </a:ext>
              </a:extLst>
            </p:cNvPr>
            <p:cNvSpPr>
              <a:spLocks/>
            </p:cNvSpPr>
            <p:nvPr/>
          </p:nvSpPr>
          <p:spPr bwMode="auto">
            <a:xfrm>
              <a:off x="8118715" y="548939"/>
              <a:ext cx="11113" cy="9525"/>
            </a:xfrm>
            <a:custGeom>
              <a:avLst/>
              <a:gdLst>
                <a:gd name="T0" fmla="*/ 91 w 110"/>
                <a:gd name="T1" fmla="*/ 91 h 110"/>
                <a:gd name="T2" fmla="*/ 20 w 110"/>
                <a:gd name="T3" fmla="*/ 91 h 110"/>
                <a:gd name="T4" fmla="*/ 20 w 110"/>
                <a:gd name="T5" fmla="*/ 20 h 110"/>
                <a:gd name="T6" fmla="*/ 91 w 110"/>
                <a:gd name="T7" fmla="*/ 20 h 110"/>
                <a:gd name="T8" fmla="*/ 91 w 110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1" y="91"/>
                  </a:moveTo>
                  <a:cubicBezTo>
                    <a:pt x="71" y="110"/>
                    <a:pt x="39" y="110"/>
                    <a:pt x="20" y="91"/>
                  </a:cubicBezTo>
                  <a:cubicBezTo>
                    <a:pt x="0" y="71"/>
                    <a:pt x="0" y="40"/>
                    <a:pt x="20" y="20"/>
                  </a:cubicBezTo>
                  <a:cubicBezTo>
                    <a:pt x="39" y="0"/>
                    <a:pt x="71" y="0"/>
                    <a:pt x="91" y="20"/>
                  </a:cubicBezTo>
                  <a:cubicBezTo>
                    <a:pt x="110" y="40"/>
                    <a:pt x="110" y="71"/>
                    <a:pt x="91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158" name="Freeform 163">
              <a:extLst>
                <a:ext uri="{FF2B5EF4-FFF2-40B4-BE49-F238E27FC236}">
                  <a16:creationId xmlns:a16="http://schemas.microsoft.com/office/drawing/2014/main" id="{FB2B4DDC-5510-4CBD-9ABD-42D74153E1F7}"/>
                </a:ext>
              </a:extLst>
            </p:cNvPr>
            <p:cNvSpPr>
              <a:spLocks/>
            </p:cNvSpPr>
            <p:nvPr/>
          </p:nvSpPr>
          <p:spPr bwMode="auto">
            <a:xfrm>
              <a:off x="8118715" y="548939"/>
              <a:ext cx="11113" cy="9525"/>
            </a:xfrm>
            <a:custGeom>
              <a:avLst/>
              <a:gdLst>
                <a:gd name="T0" fmla="*/ 91 w 110"/>
                <a:gd name="T1" fmla="*/ 91 h 110"/>
                <a:gd name="T2" fmla="*/ 20 w 110"/>
                <a:gd name="T3" fmla="*/ 91 h 110"/>
                <a:gd name="T4" fmla="*/ 20 w 110"/>
                <a:gd name="T5" fmla="*/ 20 h 110"/>
                <a:gd name="T6" fmla="*/ 91 w 110"/>
                <a:gd name="T7" fmla="*/ 20 h 110"/>
                <a:gd name="T8" fmla="*/ 91 w 110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1" y="91"/>
                  </a:moveTo>
                  <a:cubicBezTo>
                    <a:pt x="71" y="110"/>
                    <a:pt x="39" y="110"/>
                    <a:pt x="20" y="91"/>
                  </a:cubicBezTo>
                  <a:cubicBezTo>
                    <a:pt x="0" y="71"/>
                    <a:pt x="0" y="40"/>
                    <a:pt x="20" y="20"/>
                  </a:cubicBezTo>
                  <a:cubicBezTo>
                    <a:pt x="39" y="0"/>
                    <a:pt x="71" y="0"/>
                    <a:pt x="91" y="20"/>
                  </a:cubicBezTo>
                  <a:cubicBezTo>
                    <a:pt x="110" y="40"/>
                    <a:pt x="110" y="71"/>
                    <a:pt x="91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159" name="Freeform 164">
              <a:extLst>
                <a:ext uri="{FF2B5EF4-FFF2-40B4-BE49-F238E27FC236}">
                  <a16:creationId xmlns:a16="http://schemas.microsoft.com/office/drawing/2014/main" id="{31103AA7-13E4-4C7F-90FA-DA7C1D3C1E28}"/>
                </a:ext>
              </a:extLst>
            </p:cNvPr>
            <p:cNvSpPr>
              <a:spLocks/>
            </p:cNvSpPr>
            <p:nvPr/>
          </p:nvSpPr>
          <p:spPr bwMode="auto">
            <a:xfrm>
              <a:off x="8182215" y="548939"/>
              <a:ext cx="11113" cy="9525"/>
            </a:xfrm>
            <a:custGeom>
              <a:avLst/>
              <a:gdLst>
                <a:gd name="T0" fmla="*/ 91 w 110"/>
                <a:gd name="T1" fmla="*/ 91 h 110"/>
                <a:gd name="T2" fmla="*/ 20 w 110"/>
                <a:gd name="T3" fmla="*/ 91 h 110"/>
                <a:gd name="T4" fmla="*/ 20 w 110"/>
                <a:gd name="T5" fmla="*/ 20 h 110"/>
                <a:gd name="T6" fmla="*/ 91 w 110"/>
                <a:gd name="T7" fmla="*/ 20 h 110"/>
                <a:gd name="T8" fmla="*/ 91 w 110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1" y="91"/>
                  </a:moveTo>
                  <a:cubicBezTo>
                    <a:pt x="71" y="110"/>
                    <a:pt x="40" y="110"/>
                    <a:pt x="20" y="91"/>
                  </a:cubicBezTo>
                  <a:cubicBezTo>
                    <a:pt x="0" y="71"/>
                    <a:pt x="0" y="40"/>
                    <a:pt x="20" y="20"/>
                  </a:cubicBezTo>
                  <a:cubicBezTo>
                    <a:pt x="40" y="0"/>
                    <a:pt x="71" y="0"/>
                    <a:pt x="91" y="20"/>
                  </a:cubicBezTo>
                  <a:cubicBezTo>
                    <a:pt x="110" y="40"/>
                    <a:pt x="110" y="71"/>
                    <a:pt x="91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160" name="Freeform 165">
              <a:extLst>
                <a:ext uri="{FF2B5EF4-FFF2-40B4-BE49-F238E27FC236}">
                  <a16:creationId xmlns:a16="http://schemas.microsoft.com/office/drawing/2014/main" id="{3358252A-B02E-47D6-A943-5706956E07B0}"/>
                </a:ext>
              </a:extLst>
            </p:cNvPr>
            <p:cNvSpPr>
              <a:spLocks/>
            </p:cNvSpPr>
            <p:nvPr/>
          </p:nvSpPr>
          <p:spPr bwMode="auto">
            <a:xfrm>
              <a:off x="8182215" y="548939"/>
              <a:ext cx="11113" cy="9525"/>
            </a:xfrm>
            <a:custGeom>
              <a:avLst/>
              <a:gdLst>
                <a:gd name="T0" fmla="*/ 91 w 110"/>
                <a:gd name="T1" fmla="*/ 91 h 110"/>
                <a:gd name="T2" fmla="*/ 20 w 110"/>
                <a:gd name="T3" fmla="*/ 91 h 110"/>
                <a:gd name="T4" fmla="*/ 20 w 110"/>
                <a:gd name="T5" fmla="*/ 20 h 110"/>
                <a:gd name="T6" fmla="*/ 91 w 110"/>
                <a:gd name="T7" fmla="*/ 20 h 110"/>
                <a:gd name="T8" fmla="*/ 91 w 110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1" y="91"/>
                  </a:moveTo>
                  <a:cubicBezTo>
                    <a:pt x="71" y="110"/>
                    <a:pt x="40" y="110"/>
                    <a:pt x="20" y="91"/>
                  </a:cubicBezTo>
                  <a:cubicBezTo>
                    <a:pt x="0" y="71"/>
                    <a:pt x="0" y="40"/>
                    <a:pt x="20" y="20"/>
                  </a:cubicBezTo>
                  <a:cubicBezTo>
                    <a:pt x="40" y="0"/>
                    <a:pt x="71" y="0"/>
                    <a:pt x="91" y="20"/>
                  </a:cubicBezTo>
                  <a:cubicBezTo>
                    <a:pt x="110" y="40"/>
                    <a:pt x="110" y="71"/>
                    <a:pt x="91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161" name="Freeform 166">
              <a:extLst>
                <a:ext uri="{FF2B5EF4-FFF2-40B4-BE49-F238E27FC236}">
                  <a16:creationId xmlns:a16="http://schemas.microsoft.com/office/drawing/2014/main" id="{CC7DF910-8197-4767-AEF4-07D20D759B6B}"/>
                </a:ext>
              </a:extLst>
            </p:cNvPr>
            <p:cNvSpPr>
              <a:spLocks/>
            </p:cNvSpPr>
            <p:nvPr/>
          </p:nvSpPr>
          <p:spPr bwMode="auto">
            <a:xfrm>
              <a:off x="8247303" y="548939"/>
              <a:ext cx="9525" cy="9525"/>
            </a:xfrm>
            <a:custGeom>
              <a:avLst/>
              <a:gdLst>
                <a:gd name="T0" fmla="*/ 50 w 100"/>
                <a:gd name="T1" fmla="*/ 100 h 100"/>
                <a:gd name="T2" fmla="*/ 0 w 100"/>
                <a:gd name="T3" fmla="*/ 50 h 100"/>
                <a:gd name="T4" fmla="*/ 50 w 100"/>
                <a:gd name="T5" fmla="*/ 0 h 100"/>
                <a:gd name="T6" fmla="*/ 100 w 100"/>
                <a:gd name="T7" fmla="*/ 50 h 100"/>
                <a:gd name="T8" fmla="*/ 50 w 100"/>
                <a:gd name="T9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00">
                  <a:moveTo>
                    <a:pt x="50" y="100"/>
                  </a:moveTo>
                  <a:cubicBezTo>
                    <a:pt x="22" y="100"/>
                    <a:pt x="0" y="78"/>
                    <a:pt x="0" y="50"/>
                  </a:cubicBezTo>
                  <a:cubicBezTo>
                    <a:pt x="0" y="23"/>
                    <a:pt x="22" y="0"/>
                    <a:pt x="50" y="0"/>
                  </a:cubicBezTo>
                  <a:cubicBezTo>
                    <a:pt x="77" y="0"/>
                    <a:pt x="100" y="23"/>
                    <a:pt x="100" y="50"/>
                  </a:cubicBezTo>
                  <a:cubicBezTo>
                    <a:pt x="100" y="78"/>
                    <a:pt x="78" y="100"/>
                    <a:pt x="50" y="10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162" name="Freeform 167">
              <a:extLst>
                <a:ext uri="{FF2B5EF4-FFF2-40B4-BE49-F238E27FC236}">
                  <a16:creationId xmlns:a16="http://schemas.microsoft.com/office/drawing/2014/main" id="{44634659-A673-42DE-A32B-1F31B3ECE287}"/>
                </a:ext>
              </a:extLst>
            </p:cNvPr>
            <p:cNvSpPr>
              <a:spLocks/>
            </p:cNvSpPr>
            <p:nvPr/>
          </p:nvSpPr>
          <p:spPr bwMode="auto">
            <a:xfrm>
              <a:off x="8247303" y="548939"/>
              <a:ext cx="9525" cy="9525"/>
            </a:xfrm>
            <a:custGeom>
              <a:avLst/>
              <a:gdLst>
                <a:gd name="T0" fmla="*/ 50 w 100"/>
                <a:gd name="T1" fmla="*/ 100 h 100"/>
                <a:gd name="T2" fmla="*/ 0 w 100"/>
                <a:gd name="T3" fmla="*/ 50 h 100"/>
                <a:gd name="T4" fmla="*/ 50 w 100"/>
                <a:gd name="T5" fmla="*/ 0 h 100"/>
                <a:gd name="T6" fmla="*/ 100 w 100"/>
                <a:gd name="T7" fmla="*/ 50 h 100"/>
                <a:gd name="T8" fmla="*/ 50 w 100"/>
                <a:gd name="T9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00">
                  <a:moveTo>
                    <a:pt x="50" y="100"/>
                  </a:moveTo>
                  <a:cubicBezTo>
                    <a:pt x="22" y="100"/>
                    <a:pt x="0" y="78"/>
                    <a:pt x="0" y="50"/>
                  </a:cubicBezTo>
                  <a:cubicBezTo>
                    <a:pt x="0" y="23"/>
                    <a:pt x="22" y="0"/>
                    <a:pt x="50" y="0"/>
                  </a:cubicBezTo>
                  <a:cubicBezTo>
                    <a:pt x="77" y="0"/>
                    <a:pt x="100" y="23"/>
                    <a:pt x="100" y="50"/>
                  </a:cubicBezTo>
                  <a:cubicBezTo>
                    <a:pt x="100" y="78"/>
                    <a:pt x="78" y="100"/>
                    <a:pt x="50" y="10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163" name="Freeform 168">
              <a:extLst>
                <a:ext uri="{FF2B5EF4-FFF2-40B4-BE49-F238E27FC236}">
                  <a16:creationId xmlns:a16="http://schemas.microsoft.com/office/drawing/2014/main" id="{1102952D-53D5-40DE-B843-6F74571D8155}"/>
                </a:ext>
              </a:extLst>
            </p:cNvPr>
            <p:cNvSpPr>
              <a:spLocks/>
            </p:cNvSpPr>
            <p:nvPr/>
          </p:nvSpPr>
          <p:spPr bwMode="auto">
            <a:xfrm>
              <a:off x="8310803" y="548939"/>
              <a:ext cx="9525" cy="9525"/>
            </a:xfrm>
            <a:custGeom>
              <a:avLst/>
              <a:gdLst>
                <a:gd name="T0" fmla="*/ 91 w 110"/>
                <a:gd name="T1" fmla="*/ 90 h 110"/>
                <a:gd name="T2" fmla="*/ 20 w 110"/>
                <a:gd name="T3" fmla="*/ 90 h 110"/>
                <a:gd name="T4" fmla="*/ 20 w 110"/>
                <a:gd name="T5" fmla="*/ 19 h 110"/>
                <a:gd name="T6" fmla="*/ 91 w 110"/>
                <a:gd name="T7" fmla="*/ 19 h 110"/>
                <a:gd name="T8" fmla="*/ 91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1" y="90"/>
                  </a:moveTo>
                  <a:cubicBezTo>
                    <a:pt x="71" y="110"/>
                    <a:pt x="39" y="110"/>
                    <a:pt x="20" y="90"/>
                  </a:cubicBezTo>
                  <a:cubicBezTo>
                    <a:pt x="0" y="71"/>
                    <a:pt x="0" y="39"/>
                    <a:pt x="20" y="19"/>
                  </a:cubicBezTo>
                  <a:cubicBezTo>
                    <a:pt x="39" y="0"/>
                    <a:pt x="71" y="0"/>
                    <a:pt x="91" y="19"/>
                  </a:cubicBezTo>
                  <a:cubicBezTo>
                    <a:pt x="110" y="39"/>
                    <a:pt x="110" y="71"/>
                    <a:pt x="91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164" name="Freeform 169">
              <a:extLst>
                <a:ext uri="{FF2B5EF4-FFF2-40B4-BE49-F238E27FC236}">
                  <a16:creationId xmlns:a16="http://schemas.microsoft.com/office/drawing/2014/main" id="{B6AF78C2-EB5E-45DB-BC5C-0AE91D37C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8310803" y="548939"/>
              <a:ext cx="9525" cy="9525"/>
            </a:xfrm>
            <a:custGeom>
              <a:avLst/>
              <a:gdLst>
                <a:gd name="T0" fmla="*/ 91 w 110"/>
                <a:gd name="T1" fmla="*/ 90 h 110"/>
                <a:gd name="T2" fmla="*/ 20 w 110"/>
                <a:gd name="T3" fmla="*/ 90 h 110"/>
                <a:gd name="T4" fmla="*/ 20 w 110"/>
                <a:gd name="T5" fmla="*/ 19 h 110"/>
                <a:gd name="T6" fmla="*/ 91 w 110"/>
                <a:gd name="T7" fmla="*/ 19 h 110"/>
                <a:gd name="T8" fmla="*/ 91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1" y="90"/>
                  </a:moveTo>
                  <a:cubicBezTo>
                    <a:pt x="71" y="110"/>
                    <a:pt x="39" y="110"/>
                    <a:pt x="20" y="90"/>
                  </a:cubicBezTo>
                  <a:cubicBezTo>
                    <a:pt x="0" y="71"/>
                    <a:pt x="0" y="39"/>
                    <a:pt x="20" y="19"/>
                  </a:cubicBezTo>
                  <a:cubicBezTo>
                    <a:pt x="39" y="0"/>
                    <a:pt x="71" y="0"/>
                    <a:pt x="91" y="19"/>
                  </a:cubicBezTo>
                  <a:cubicBezTo>
                    <a:pt x="110" y="39"/>
                    <a:pt x="110" y="71"/>
                    <a:pt x="91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165" name="Freeform 170">
              <a:extLst>
                <a:ext uri="{FF2B5EF4-FFF2-40B4-BE49-F238E27FC236}">
                  <a16:creationId xmlns:a16="http://schemas.microsoft.com/office/drawing/2014/main" id="{6F25083E-9F61-4D17-A026-BA11EFF9D8F3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4303" y="548939"/>
              <a:ext cx="9525" cy="9525"/>
            </a:xfrm>
            <a:custGeom>
              <a:avLst/>
              <a:gdLst>
                <a:gd name="T0" fmla="*/ 90 w 110"/>
                <a:gd name="T1" fmla="*/ 90 h 110"/>
                <a:gd name="T2" fmla="*/ 19 w 110"/>
                <a:gd name="T3" fmla="*/ 90 h 110"/>
                <a:gd name="T4" fmla="*/ 19 w 110"/>
                <a:gd name="T5" fmla="*/ 19 h 110"/>
                <a:gd name="T6" fmla="*/ 90 w 110"/>
                <a:gd name="T7" fmla="*/ 19 h 110"/>
                <a:gd name="T8" fmla="*/ 90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0"/>
                  </a:moveTo>
                  <a:cubicBezTo>
                    <a:pt x="70" y="110"/>
                    <a:pt x="39" y="110"/>
                    <a:pt x="19" y="90"/>
                  </a:cubicBezTo>
                  <a:cubicBezTo>
                    <a:pt x="0" y="71"/>
                    <a:pt x="0" y="39"/>
                    <a:pt x="19" y="19"/>
                  </a:cubicBezTo>
                  <a:cubicBezTo>
                    <a:pt x="39" y="0"/>
                    <a:pt x="70" y="0"/>
                    <a:pt x="90" y="19"/>
                  </a:cubicBezTo>
                  <a:cubicBezTo>
                    <a:pt x="110" y="39"/>
                    <a:pt x="110" y="71"/>
                    <a:pt x="90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166" name="Freeform 171">
              <a:extLst>
                <a:ext uri="{FF2B5EF4-FFF2-40B4-BE49-F238E27FC236}">
                  <a16:creationId xmlns:a16="http://schemas.microsoft.com/office/drawing/2014/main" id="{9758D21A-7751-4629-9E82-601A21C4DF92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4303" y="548939"/>
              <a:ext cx="9525" cy="9525"/>
            </a:xfrm>
            <a:custGeom>
              <a:avLst/>
              <a:gdLst>
                <a:gd name="T0" fmla="*/ 90 w 110"/>
                <a:gd name="T1" fmla="*/ 90 h 110"/>
                <a:gd name="T2" fmla="*/ 19 w 110"/>
                <a:gd name="T3" fmla="*/ 90 h 110"/>
                <a:gd name="T4" fmla="*/ 19 w 110"/>
                <a:gd name="T5" fmla="*/ 19 h 110"/>
                <a:gd name="T6" fmla="*/ 90 w 110"/>
                <a:gd name="T7" fmla="*/ 19 h 110"/>
                <a:gd name="T8" fmla="*/ 90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0"/>
                  </a:moveTo>
                  <a:cubicBezTo>
                    <a:pt x="70" y="110"/>
                    <a:pt x="39" y="110"/>
                    <a:pt x="19" y="90"/>
                  </a:cubicBezTo>
                  <a:cubicBezTo>
                    <a:pt x="0" y="71"/>
                    <a:pt x="0" y="39"/>
                    <a:pt x="19" y="19"/>
                  </a:cubicBezTo>
                  <a:cubicBezTo>
                    <a:pt x="39" y="0"/>
                    <a:pt x="70" y="0"/>
                    <a:pt x="90" y="19"/>
                  </a:cubicBezTo>
                  <a:cubicBezTo>
                    <a:pt x="110" y="39"/>
                    <a:pt x="110" y="71"/>
                    <a:pt x="90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167" name="Freeform 172">
              <a:extLst>
                <a:ext uri="{FF2B5EF4-FFF2-40B4-BE49-F238E27FC236}">
                  <a16:creationId xmlns:a16="http://schemas.microsoft.com/office/drawing/2014/main" id="{C597835B-519F-44ED-8DC7-26349FA5D200}"/>
                </a:ext>
              </a:extLst>
            </p:cNvPr>
            <p:cNvSpPr>
              <a:spLocks/>
            </p:cNvSpPr>
            <p:nvPr/>
          </p:nvSpPr>
          <p:spPr bwMode="auto">
            <a:xfrm>
              <a:off x="8437803" y="548939"/>
              <a:ext cx="11113" cy="9525"/>
            </a:xfrm>
            <a:custGeom>
              <a:avLst/>
              <a:gdLst>
                <a:gd name="T0" fmla="*/ 90 w 110"/>
                <a:gd name="T1" fmla="*/ 90 h 110"/>
                <a:gd name="T2" fmla="*/ 19 w 110"/>
                <a:gd name="T3" fmla="*/ 90 h 110"/>
                <a:gd name="T4" fmla="*/ 19 w 110"/>
                <a:gd name="T5" fmla="*/ 19 h 110"/>
                <a:gd name="T6" fmla="*/ 90 w 110"/>
                <a:gd name="T7" fmla="*/ 19 h 110"/>
                <a:gd name="T8" fmla="*/ 90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0"/>
                  </a:moveTo>
                  <a:cubicBezTo>
                    <a:pt x="71" y="110"/>
                    <a:pt x="39" y="110"/>
                    <a:pt x="19" y="90"/>
                  </a:cubicBezTo>
                  <a:cubicBezTo>
                    <a:pt x="0" y="71"/>
                    <a:pt x="0" y="39"/>
                    <a:pt x="19" y="19"/>
                  </a:cubicBezTo>
                  <a:cubicBezTo>
                    <a:pt x="39" y="0"/>
                    <a:pt x="71" y="0"/>
                    <a:pt x="90" y="19"/>
                  </a:cubicBezTo>
                  <a:cubicBezTo>
                    <a:pt x="110" y="39"/>
                    <a:pt x="110" y="71"/>
                    <a:pt x="90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168" name="Freeform 173">
              <a:extLst>
                <a:ext uri="{FF2B5EF4-FFF2-40B4-BE49-F238E27FC236}">
                  <a16:creationId xmlns:a16="http://schemas.microsoft.com/office/drawing/2014/main" id="{23E944E4-4080-477D-8297-0D19BAB5E86A}"/>
                </a:ext>
              </a:extLst>
            </p:cNvPr>
            <p:cNvSpPr>
              <a:spLocks/>
            </p:cNvSpPr>
            <p:nvPr/>
          </p:nvSpPr>
          <p:spPr bwMode="auto">
            <a:xfrm>
              <a:off x="8437803" y="548939"/>
              <a:ext cx="11113" cy="9525"/>
            </a:xfrm>
            <a:custGeom>
              <a:avLst/>
              <a:gdLst>
                <a:gd name="T0" fmla="*/ 90 w 110"/>
                <a:gd name="T1" fmla="*/ 90 h 110"/>
                <a:gd name="T2" fmla="*/ 19 w 110"/>
                <a:gd name="T3" fmla="*/ 90 h 110"/>
                <a:gd name="T4" fmla="*/ 19 w 110"/>
                <a:gd name="T5" fmla="*/ 19 h 110"/>
                <a:gd name="T6" fmla="*/ 90 w 110"/>
                <a:gd name="T7" fmla="*/ 19 h 110"/>
                <a:gd name="T8" fmla="*/ 90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0"/>
                  </a:moveTo>
                  <a:cubicBezTo>
                    <a:pt x="71" y="110"/>
                    <a:pt x="39" y="110"/>
                    <a:pt x="19" y="90"/>
                  </a:cubicBezTo>
                  <a:cubicBezTo>
                    <a:pt x="0" y="71"/>
                    <a:pt x="0" y="39"/>
                    <a:pt x="19" y="19"/>
                  </a:cubicBezTo>
                  <a:cubicBezTo>
                    <a:pt x="39" y="0"/>
                    <a:pt x="71" y="0"/>
                    <a:pt x="90" y="19"/>
                  </a:cubicBezTo>
                  <a:cubicBezTo>
                    <a:pt x="110" y="39"/>
                    <a:pt x="110" y="71"/>
                    <a:pt x="90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169" name="Freeform 174">
              <a:extLst>
                <a:ext uri="{FF2B5EF4-FFF2-40B4-BE49-F238E27FC236}">
                  <a16:creationId xmlns:a16="http://schemas.microsoft.com/office/drawing/2014/main" id="{0922F627-97D7-4DED-B376-A2D7D20A342D}"/>
                </a:ext>
              </a:extLst>
            </p:cNvPr>
            <p:cNvSpPr>
              <a:spLocks/>
            </p:cNvSpPr>
            <p:nvPr/>
          </p:nvSpPr>
          <p:spPr bwMode="auto">
            <a:xfrm>
              <a:off x="8501303" y="548939"/>
              <a:ext cx="11113" cy="9525"/>
            </a:xfrm>
            <a:custGeom>
              <a:avLst/>
              <a:gdLst>
                <a:gd name="T0" fmla="*/ 90 w 110"/>
                <a:gd name="T1" fmla="*/ 90 h 110"/>
                <a:gd name="T2" fmla="*/ 20 w 110"/>
                <a:gd name="T3" fmla="*/ 90 h 110"/>
                <a:gd name="T4" fmla="*/ 20 w 110"/>
                <a:gd name="T5" fmla="*/ 19 h 110"/>
                <a:gd name="T6" fmla="*/ 90 w 110"/>
                <a:gd name="T7" fmla="*/ 19 h 110"/>
                <a:gd name="T8" fmla="*/ 90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0"/>
                  </a:moveTo>
                  <a:cubicBezTo>
                    <a:pt x="71" y="110"/>
                    <a:pt x="39" y="110"/>
                    <a:pt x="20" y="90"/>
                  </a:cubicBezTo>
                  <a:cubicBezTo>
                    <a:pt x="0" y="71"/>
                    <a:pt x="0" y="39"/>
                    <a:pt x="20" y="19"/>
                  </a:cubicBezTo>
                  <a:cubicBezTo>
                    <a:pt x="39" y="0"/>
                    <a:pt x="71" y="0"/>
                    <a:pt x="90" y="19"/>
                  </a:cubicBezTo>
                  <a:cubicBezTo>
                    <a:pt x="110" y="39"/>
                    <a:pt x="110" y="71"/>
                    <a:pt x="90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170" name="Freeform 175">
              <a:extLst>
                <a:ext uri="{FF2B5EF4-FFF2-40B4-BE49-F238E27FC236}">
                  <a16:creationId xmlns:a16="http://schemas.microsoft.com/office/drawing/2014/main" id="{1AA1019B-6FAE-4B7F-A23E-2AC96C96D095}"/>
                </a:ext>
              </a:extLst>
            </p:cNvPr>
            <p:cNvSpPr>
              <a:spLocks/>
            </p:cNvSpPr>
            <p:nvPr/>
          </p:nvSpPr>
          <p:spPr bwMode="auto">
            <a:xfrm>
              <a:off x="8501303" y="548939"/>
              <a:ext cx="11113" cy="9525"/>
            </a:xfrm>
            <a:custGeom>
              <a:avLst/>
              <a:gdLst>
                <a:gd name="T0" fmla="*/ 90 w 110"/>
                <a:gd name="T1" fmla="*/ 90 h 110"/>
                <a:gd name="T2" fmla="*/ 20 w 110"/>
                <a:gd name="T3" fmla="*/ 90 h 110"/>
                <a:gd name="T4" fmla="*/ 20 w 110"/>
                <a:gd name="T5" fmla="*/ 19 h 110"/>
                <a:gd name="T6" fmla="*/ 90 w 110"/>
                <a:gd name="T7" fmla="*/ 19 h 110"/>
                <a:gd name="T8" fmla="*/ 90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0"/>
                  </a:moveTo>
                  <a:cubicBezTo>
                    <a:pt x="71" y="110"/>
                    <a:pt x="39" y="110"/>
                    <a:pt x="20" y="90"/>
                  </a:cubicBezTo>
                  <a:cubicBezTo>
                    <a:pt x="0" y="71"/>
                    <a:pt x="0" y="39"/>
                    <a:pt x="20" y="19"/>
                  </a:cubicBezTo>
                  <a:cubicBezTo>
                    <a:pt x="39" y="0"/>
                    <a:pt x="71" y="0"/>
                    <a:pt x="90" y="19"/>
                  </a:cubicBezTo>
                  <a:cubicBezTo>
                    <a:pt x="110" y="39"/>
                    <a:pt x="110" y="71"/>
                    <a:pt x="90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171" name="Freeform 176">
              <a:extLst>
                <a:ext uri="{FF2B5EF4-FFF2-40B4-BE49-F238E27FC236}">
                  <a16:creationId xmlns:a16="http://schemas.microsoft.com/office/drawing/2014/main" id="{B3D98B16-241A-4C2B-8EEB-BA71A12079C6}"/>
                </a:ext>
              </a:extLst>
            </p:cNvPr>
            <p:cNvSpPr>
              <a:spLocks/>
            </p:cNvSpPr>
            <p:nvPr/>
          </p:nvSpPr>
          <p:spPr bwMode="auto">
            <a:xfrm>
              <a:off x="8564803" y="548939"/>
              <a:ext cx="11113" cy="9525"/>
            </a:xfrm>
            <a:custGeom>
              <a:avLst/>
              <a:gdLst>
                <a:gd name="T0" fmla="*/ 90 w 110"/>
                <a:gd name="T1" fmla="*/ 91 h 110"/>
                <a:gd name="T2" fmla="*/ 19 w 110"/>
                <a:gd name="T3" fmla="*/ 91 h 110"/>
                <a:gd name="T4" fmla="*/ 19 w 110"/>
                <a:gd name="T5" fmla="*/ 20 h 110"/>
                <a:gd name="T6" fmla="*/ 90 w 110"/>
                <a:gd name="T7" fmla="*/ 20 h 110"/>
                <a:gd name="T8" fmla="*/ 90 w 110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1"/>
                  </a:moveTo>
                  <a:cubicBezTo>
                    <a:pt x="71" y="110"/>
                    <a:pt x="39" y="110"/>
                    <a:pt x="19" y="91"/>
                  </a:cubicBezTo>
                  <a:cubicBezTo>
                    <a:pt x="0" y="71"/>
                    <a:pt x="0" y="39"/>
                    <a:pt x="19" y="20"/>
                  </a:cubicBezTo>
                  <a:cubicBezTo>
                    <a:pt x="39" y="0"/>
                    <a:pt x="71" y="0"/>
                    <a:pt x="90" y="20"/>
                  </a:cubicBezTo>
                  <a:cubicBezTo>
                    <a:pt x="110" y="39"/>
                    <a:pt x="110" y="71"/>
                    <a:pt x="90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172" name="Freeform 177">
              <a:extLst>
                <a:ext uri="{FF2B5EF4-FFF2-40B4-BE49-F238E27FC236}">
                  <a16:creationId xmlns:a16="http://schemas.microsoft.com/office/drawing/2014/main" id="{FF273206-8652-4463-9F90-B17FA9BF18D9}"/>
                </a:ext>
              </a:extLst>
            </p:cNvPr>
            <p:cNvSpPr>
              <a:spLocks/>
            </p:cNvSpPr>
            <p:nvPr/>
          </p:nvSpPr>
          <p:spPr bwMode="auto">
            <a:xfrm>
              <a:off x="8564803" y="548939"/>
              <a:ext cx="11113" cy="9525"/>
            </a:xfrm>
            <a:custGeom>
              <a:avLst/>
              <a:gdLst>
                <a:gd name="T0" fmla="*/ 90 w 110"/>
                <a:gd name="T1" fmla="*/ 91 h 110"/>
                <a:gd name="T2" fmla="*/ 19 w 110"/>
                <a:gd name="T3" fmla="*/ 91 h 110"/>
                <a:gd name="T4" fmla="*/ 19 w 110"/>
                <a:gd name="T5" fmla="*/ 20 h 110"/>
                <a:gd name="T6" fmla="*/ 90 w 110"/>
                <a:gd name="T7" fmla="*/ 20 h 110"/>
                <a:gd name="T8" fmla="*/ 90 w 110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1"/>
                  </a:moveTo>
                  <a:cubicBezTo>
                    <a:pt x="71" y="110"/>
                    <a:pt x="39" y="110"/>
                    <a:pt x="19" y="91"/>
                  </a:cubicBezTo>
                  <a:cubicBezTo>
                    <a:pt x="0" y="71"/>
                    <a:pt x="0" y="39"/>
                    <a:pt x="19" y="20"/>
                  </a:cubicBezTo>
                  <a:cubicBezTo>
                    <a:pt x="39" y="0"/>
                    <a:pt x="71" y="0"/>
                    <a:pt x="90" y="20"/>
                  </a:cubicBezTo>
                  <a:cubicBezTo>
                    <a:pt x="110" y="39"/>
                    <a:pt x="110" y="71"/>
                    <a:pt x="90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173" name="Freeform 178">
              <a:extLst>
                <a:ext uri="{FF2B5EF4-FFF2-40B4-BE49-F238E27FC236}">
                  <a16:creationId xmlns:a16="http://schemas.microsoft.com/office/drawing/2014/main" id="{AB32877B-E22F-46E9-A90A-FAE9EA959340}"/>
                </a:ext>
              </a:extLst>
            </p:cNvPr>
            <p:cNvSpPr>
              <a:spLocks/>
            </p:cNvSpPr>
            <p:nvPr/>
          </p:nvSpPr>
          <p:spPr bwMode="auto">
            <a:xfrm>
              <a:off x="8628303" y="548939"/>
              <a:ext cx="11113" cy="9525"/>
            </a:xfrm>
            <a:custGeom>
              <a:avLst/>
              <a:gdLst>
                <a:gd name="T0" fmla="*/ 90 w 110"/>
                <a:gd name="T1" fmla="*/ 91 h 110"/>
                <a:gd name="T2" fmla="*/ 19 w 110"/>
                <a:gd name="T3" fmla="*/ 91 h 110"/>
                <a:gd name="T4" fmla="*/ 19 w 110"/>
                <a:gd name="T5" fmla="*/ 20 h 110"/>
                <a:gd name="T6" fmla="*/ 90 w 110"/>
                <a:gd name="T7" fmla="*/ 20 h 110"/>
                <a:gd name="T8" fmla="*/ 90 w 110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1"/>
                  </a:moveTo>
                  <a:cubicBezTo>
                    <a:pt x="71" y="110"/>
                    <a:pt x="39" y="110"/>
                    <a:pt x="19" y="91"/>
                  </a:cubicBezTo>
                  <a:cubicBezTo>
                    <a:pt x="0" y="71"/>
                    <a:pt x="0" y="39"/>
                    <a:pt x="19" y="20"/>
                  </a:cubicBezTo>
                  <a:cubicBezTo>
                    <a:pt x="39" y="0"/>
                    <a:pt x="71" y="0"/>
                    <a:pt x="90" y="20"/>
                  </a:cubicBezTo>
                  <a:cubicBezTo>
                    <a:pt x="110" y="39"/>
                    <a:pt x="110" y="71"/>
                    <a:pt x="90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174" name="Freeform 179">
              <a:extLst>
                <a:ext uri="{FF2B5EF4-FFF2-40B4-BE49-F238E27FC236}">
                  <a16:creationId xmlns:a16="http://schemas.microsoft.com/office/drawing/2014/main" id="{B765F080-17C4-42A0-8FEB-9A0E74006A15}"/>
                </a:ext>
              </a:extLst>
            </p:cNvPr>
            <p:cNvSpPr>
              <a:spLocks/>
            </p:cNvSpPr>
            <p:nvPr/>
          </p:nvSpPr>
          <p:spPr bwMode="auto">
            <a:xfrm>
              <a:off x="8628303" y="548939"/>
              <a:ext cx="11113" cy="9525"/>
            </a:xfrm>
            <a:custGeom>
              <a:avLst/>
              <a:gdLst>
                <a:gd name="T0" fmla="*/ 90 w 110"/>
                <a:gd name="T1" fmla="*/ 91 h 110"/>
                <a:gd name="T2" fmla="*/ 19 w 110"/>
                <a:gd name="T3" fmla="*/ 91 h 110"/>
                <a:gd name="T4" fmla="*/ 19 w 110"/>
                <a:gd name="T5" fmla="*/ 20 h 110"/>
                <a:gd name="T6" fmla="*/ 90 w 110"/>
                <a:gd name="T7" fmla="*/ 20 h 110"/>
                <a:gd name="T8" fmla="*/ 90 w 110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1"/>
                  </a:moveTo>
                  <a:cubicBezTo>
                    <a:pt x="71" y="110"/>
                    <a:pt x="39" y="110"/>
                    <a:pt x="19" y="91"/>
                  </a:cubicBezTo>
                  <a:cubicBezTo>
                    <a:pt x="0" y="71"/>
                    <a:pt x="0" y="39"/>
                    <a:pt x="19" y="20"/>
                  </a:cubicBezTo>
                  <a:cubicBezTo>
                    <a:pt x="39" y="0"/>
                    <a:pt x="71" y="0"/>
                    <a:pt x="90" y="20"/>
                  </a:cubicBezTo>
                  <a:cubicBezTo>
                    <a:pt x="110" y="39"/>
                    <a:pt x="110" y="71"/>
                    <a:pt x="90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175" name="Freeform 180">
              <a:extLst>
                <a:ext uri="{FF2B5EF4-FFF2-40B4-BE49-F238E27FC236}">
                  <a16:creationId xmlns:a16="http://schemas.microsoft.com/office/drawing/2014/main" id="{8A5F9F59-165F-43CD-A151-36C9D6301F75}"/>
                </a:ext>
              </a:extLst>
            </p:cNvPr>
            <p:cNvSpPr>
              <a:spLocks/>
            </p:cNvSpPr>
            <p:nvPr/>
          </p:nvSpPr>
          <p:spPr bwMode="auto">
            <a:xfrm>
              <a:off x="8691803" y="548939"/>
              <a:ext cx="11113" cy="9525"/>
            </a:xfrm>
            <a:custGeom>
              <a:avLst/>
              <a:gdLst>
                <a:gd name="T0" fmla="*/ 91 w 110"/>
                <a:gd name="T1" fmla="*/ 91 h 110"/>
                <a:gd name="T2" fmla="*/ 20 w 110"/>
                <a:gd name="T3" fmla="*/ 91 h 110"/>
                <a:gd name="T4" fmla="*/ 20 w 110"/>
                <a:gd name="T5" fmla="*/ 20 h 110"/>
                <a:gd name="T6" fmla="*/ 91 w 110"/>
                <a:gd name="T7" fmla="*/ 20 h 110"/>
                <a:gd name="T8" fmla="*/ 91 w 110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1" y="91"/>
                  </a:moveTo>
                  <a:cubicBezTo>
                    <a:pt x="71" y="110"/>
                    <a:pt x="39" y="110"/>
                    <a:pt x="20" y="91"/>
                  </a:cubicBezTo>
                  <a:cubicBezTo>
                    <a:pt x="0" y="71"/>
                    <a:pt x="0" y="39"/>
                    <a:pt x="20" y="20"/>
                  </a:cubicBezTo>
                  <a:cubicBezTo>
                    <a:pt x="39" y="0"/>
                    <a:pt x="71" y="0"/>
                    <a:pt x="91" y="20"/>
                  </a:cubicBezTo>
                  <a:cubicBezTo>
                    <a:pt x="110" y="39"/>
                    <a:pt x="110" y="71"/>
                    <a:pt x="91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176" name="Freeform 181">
              <a:extLst>
                <a:ext uri="{FF2B5EF4-FFF2-40B4-BE49-F238E27FC236}">
                  <a16:creationId xmlns:a16="http://schemas.microsoft.com/office/drawing/2014/main" id="{2FAB007A-1690-4C2A-A0F1-BCDA030BDD4A}"/>
                </a:ext>
              </a:extLst>
            </p:cNvPr>
            <p:cNvSpPr>
              <a:spLocks/>
            </p:cNvSpPr>
            <p:nvPr/>
          </p:nvSpPr>
          <p:spPr bwMode="auto">
            <a:xfrm>
              <a:off x="8691803" y="548939"/>
              <a:ext cx="11113" cy="9525"/>
            </a:xfrm>
            <a:custGeom>
              <a:avLst/>
              <a:gdLst>
                <a:gd name="T0" fmla="*/ 91 w 110"/>
                <a:gd name="T1" fmla="*/ 91 h 110"/>
                <a:gd name="T2" fmla="*/ 20 w 110"/>
                <a:gd name="T3" fmla="*/ 91 h 110"/>
                <a:gd name="T4" fmla="*/ 20 w 110"/>
                <a:gd name="T5" fmla="*/ 20 h 110"/>
                <a:gd name="T6" fmla="*/ 91 w 110"/>
                <a:gd name="T7" fmla="*/ 20 h 110"/>
                <a:gd name="T8" fmla="*/ 91 w 110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1" y="91"/>
                  </a:moveTo>
                  <a:cubicBezTo>
                    <a:pt x="71" y="110"/>
                    <a:pt x="39" y="110"/>
                    <a:pt x="20" y="91"/>
                  </a:cubicBezTo>
                  <a:cubicBezTo>
                    <a:pt x="0" y="71"/>
                    <a:pt x="0" y="39"/>
                    <a:pt x="20" y="20"/>
                  </a:cubicBezTo>
                  <a:cubicBezTo>
                    <a:pt x="39" y="0"/>
                    <a:pt x="71" y="0"/>
                    <a:pt x="91" y="20"/>
                  </a:cubicBezTo>
                  <a:cubicBezTo>
                    <a:pt x="110" y="39"/>
                    <a:pt x="110" y="71"/>
                    <a:pt x="91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177" name="Freeform 182">
              <a:extLst>
                <a:ext uri="{FF2B5EF4-FFF2-40B4-BE49-F238E27FC236}">
                  <a16:creationId xmlns:a16="http://schemas.microsoft.com/office/drawing/2014/main" id="{1AE7C673-C2ED-431A-991E-C9A067D1D526}"/>
                </a:ext>
              </a:extLst>
            </p:cNvPr>
            <p:cNvSpPr>
              <a:spLocks/>
            </p:cNvSpPr>
            <p:nvPr/>
          </p:nvSpPr>
          <p:spPr bwMode="auto">
            <a:xfrm>
              <a:off x="8755303" y="548939"/>
              <a:ext cx="11113" cy="9525"/>
            </a:xfrm>
            <a:custGeom>
              <a:avLst/>
              <a:gdLst>
                <a:gd name="T0" fmla="*/ 91 w 110"/>
                <a:gd name="T1" fmla="*/ 91 h 110"/>
                <a:gd name="T2" fmla="*/ 20 w 110"/>
                <a:gd name="T3" fmla="*/ 91 h 110"/>
                <a:gd name="T4" fmla="*/ 20 w 110"/>
                <a:gd name="T5" fmla="*/ 20 h 110"/>
                <a:gd name="T6" fmla="*/ 91 w 110"/>
                <a:gd name="T7" fmla="*/ 20 h 110"/>
                <a:gd name="T8" fmla="*/ 91 w 110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1" y="91"/>
                  </a:moveTo>
                  <a:cubicBezTo>
                    <a:pt x="71" y="110"/>
                    <a:pt x="39" y="110"/>
                    <a:pt x="20" y="91"/>
                  </a:cubicBezTo>
                  <a:cubicBezTo>
                    <a:pt x="0" y="71"/>
                    <a:pt x="0" y="39"/>
                    <a:pt x="20" y="20"/>
                  </a:cubicBezTo>
                  <a:cubicBezTo>
                    <a:pt x="39" y="0"/>
                    <a:pt x="71" y="0"/>
                    <a:pt x="91" y="20"/>
                  </a:cubicBezTo>
                  <a:cubicBezTo>
                    <a:pt x="110" y="39"/>
                    <a:pt x="110" y="71"/>
                    <a:pt x="91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178" name="Freeform 183">
              <a:extLst>
                <a:ext uri="{FF2B5EF4-FFF2-40B4-BE49-F238E27FC236}">
                  <a16:creationId xmlns:a16="http://schemas.microsoft.com/office/drawing/2014/main" id="{CF82647C-AA70-4898-9100-29CEDF23938E}"/>
                </a:ext>
              </a:extLst>
            </p:cNvPr>
            <p:cNvSpPr>
              <a:spLocks/>
            </p:cNvSpPr>
            <p:nvPr/>
          </p:nvSpPr>
          <p:spPr bwMode="auto">
            <a:xfrm>
              <a:off x="8755303" y="548939"/>
              <a:ext cx="11113" cy="9525"/>
            </a:xfrm>
            <a:custGeom>
              <a:avLst/>
              <a:gdLst>
                <a:gd name="T0" fmla="*/ 91 w 110"/>
                <a:gd name="T1" fmla="*/ 91 h 110"/>
                <a:gd name="T2" fmla="*/ 20 w 110"/>
                <a:gd name="T3" fmla="*/ 91 h 110"/>
                <a:gd name="T4" fmla="*/ 20 w 110"/>
                <a:gd name="T5" fmla="*/ 20 h 110"/>
                <a:gd name="T6" fmla="*/ 91 w 110"/>
                <a:gd name="T7" fmla="*/ 20 h 110"/>
                <a:gd name="T8" fmla="*/ 91 w 110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1" y="91"/>
                  </a:moveTo>
                  <a:cubicBezTo>
                    <a:pt x="71" y="110"/>
                    <a:pt x="39" y="110"/>
                    <a:pt x="20" y="91"/>
                  </a:cubicBezTo>
                  <a:cubicBezTo>
                    <a:pt x="0" y="71"/>
                    <a:pt x="0" y="39"/>
                    <a:pt x="20" y="20"/>
                  </a:cubicBezTo>
                  <a:cubicBezTo>
                    <a:pt x="39" y="0"/>
                    <a:pt x="71" y="0"/>
                    <a:pt x="91" y="20"/>
                  </a:cubicBezTo>
                  <a:cubicBezTo>
                    <a:pt x="110" y="39"/>
                    <a:pt x="110" y="71"/>
                    <a:pt x="91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179" name="Freeform 184">
              <a:extLst>
                <a:ext uri="{FF2B5EF4-FFF2-40B4-BE49-F238E27FC236}">
                  <a16:creationId xmlns:a16="http://schemas.microsoft.com/office/drawing/2014/main" id="{86F64AD0-1DBE-4D5B-9B84-9C0F41B58EF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20390" y="548939"/>
              <a:ext cx="9525" cy="9525"/>
            </a:xfrm>
            <a:custGeom>
              <a:avLst/>
              <a:gdLst>
                <a:gd name="T0" fmla="*/ 90 w 110"/>
                <a:gd name="T1" fmla="*/ 91 h 110"/>
                <a:gd name="T2" fmla="*/ 19 w 110"/>
                <a:gd name="T3" fmla="*/ 91 h 110"/>
                <a:gd name="T4" fmla="*/ 19 w 110"/>
                <a:gd name="T5" fmla="*/ 20 h 110"/>
                <a:gd name="T6" fmla="*/ 90 w 110"/>
                <a:gd name="T7" fmla="*/ 20 h 110"/>
                <a:gd name="T8" fmla="*/ 90 w 110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1"/>
                  </a:moveTo>
                  <a:cubicBezTo>
                    <a:pt x="70" y="110"/>
                    <a:pt x="39" y="110"/>
                    <a:pt x="19" y="91"/>
                  </a:cubicBezTo>
                  <a:cubicBezTo>
                    <a:pt x="0" y="71"/>
                    <a:pt x="0" y="39"/>
                    <a:pt x="19" y="20"/>
                  </a:cubicBezTo>
                  <a:cubicBezTo>
                    <a:pt x="39" y="0"/>
                    <a:pt x="70" y="0"/>
                    <a:pt x="90" y="20"/>
                  </a:cubicBezTo>
                  <a:cubicBezTo>
                    <a:pt x="110" y="39"/>
                    <a:pt x="110" y="71"/>
                    <a:pt x="90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180" name="Freeform 185">
              <a:extLst>
                <a:ext uri="{FF2B5EF4-FFF2-40B4-BE49-F238E27FC236}">
                  <a16:creationId xmlns:a16="http://schemas.microsoft.com/office/drawing/2014/main" id="{A974E4D8-0838-4489-8EB7-17DA325FA643}"/>
                </a:ext>
              </a:extLst>
            </p:cNvPr>
            <p:cNvSpPr>
              <a:spLocks/>
            </p:cNvSpPr>
            <p:nvPr/>
          </p:nvSpPr>
          <p:spPr bwMode="auto">
            <a:xfrm>
              <a:off x="8820390" y="548939"/>
              <a:ext cx="9525" cy="9525"/>
            </a:xfrm>
            <a:custGeom>
              <a:avLst/>
              <a:gdLst>
                <a:gd name="T0" fmla="*/ 90 w 110"/>
                <a:gd name="T1" fmla="*/ 91 h 110"/>
                <a:gd name="T2" fmla="*/ 19 w 110"/>
                <a:gd name="T3" fmla="*/ 91 h 110"/>
                <a:gd name="T4" fmla="*/ 19 w 110"/>
                <a:gd name="T5" fmla="*/ 20 h 110"/>
                <a:gd name="T6" fmla="*/ 90 w 110"/>
                <a:gd name="T7" fmla="*/ 20 h 110"/>
                <a:gd name="T8" fmla="*/ 90 w 110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1"/>
                  </a:moveTo>
                  <a:cubicBezTo>
                    <a:pt x="70" y="110"/>
                    <a:pt x="39" y="110"/>
                    <a:pt x="19" y="91"/>
                  </a:cubicBezTo>
                  <a:cubicBezTo>
                    <a:pt x="0" y="71"/>
                    <a:pt x="0" y="39"/>
                    <a:pt x="19" y="20"/>
                  </a:cubicBezTo>
                  <a:cubicBezTo>
                    <a:pt x="39" y="0"/>
                    <a:pt x="70" y="0"/>
                    <a:pt x="90" y="20"/>
                  </a:cubicBezTo>
                  <a:cubicBezTo>
                    <a:pt x="110" y="39"/>
                    <a:pt x="110" y="71"/>
                    <a:pt x="90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181" name="Freeform 186">
              <a:extLst>
                <a:ext uri="{FF2B5EF4-FFF2-40B4-BE49-F238E27FC236}">
                  <a16:creationId xmlns:a16="http://schemas.microsoft.com/office/drawing/2014/main" id="{4451D33F-1835-4D8C-82B0-6060B4262ECC}"/>
                </a:ext>
              </a:extLst>
            </p:cNvPr>
            <p:cNvSpPr>
              <a:spLocks/>
            </p:cNvSpPr>
            <p:nvPr/>
          </p:nvSpPr>
          <p:spPr bwMode="auto">
            <a:xfrm>
              <a:off x="8883890" y="548939"/>
              <a:ext cx="9525" cy="9525"/>
            </a:xfrm>
            <a:custGeom>
              <a:avLst/>
              <a:gdLst>
                <a:gd name="T0" fmla="*/ 91 w 110"/>
                <a:gd name="T1" fmla="*/ 90 h 110"/>
                <a:gd name="T2" fmla="*/ 20 w 110"/>
                <a:gd name="T3" fmla="*/ 90 h 110"/>
                <a:gd name="T4" fmla="*/ 20 w 110"/>
                <a:gd name="T5" fmla="*/ 19 h 110"/>
                <a:gd name="T6" fmla="*/ 91 w 110"/>
                <a:gd name="T7" fmla="*/ 19 h 110"/>
                <a:gd name="T8" fmla="*/ 91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1" y="90"/>
                  </a:moveTo>
                  <a:cubicBezTo>
                    <a:pt x="71" y="110"/>
                    <a:pt x="39" y="110"/>
                    <a:pt x="20" y="90"/>
                  </a:cubicBezTo>
                  <a:cubicBezTo>
                    <a:pt x="0" y="71"/>
                    <a:pt x="0" y="39"/>
                    <a:pt x="20" y="19"/>
                  </a:cubicBezTo>
                  <a:cubicBezTo>
                    <a:pt x="39" y="0"/>
                    <a:pt x="71" y="0"/>
                    <a:pt x="91" y="19"/>
                  </a:cubicBezTo>
                  <a:cubicBezTo>
                    <a:pt x="110" y="39"/>
                    <a:pt x="110" y="71"/>
                    <a:pt x="91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182" name="Freeform 187">
              <a:extLst>
                <a:ext uri="{FF2B5EF4-FFF2-40B4-BE49-F238E27FC236}">
                  <a16:creationId xmlns:a16="http://schemas.microsoft.com/office/drawing/2014/main" id="{204025F2-139E-45CC-9D1A-89F46C3F14C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83890" y="548939"/>
              <a:ext cx="9525" cy="9525"/>
            </a:xfrm>
            <a:custGeom>
              <a:avLst/>
              <a:gdLst>
                <a:gd name="T0" fmla="*/ 91 w 110"/>
                <a:gd name="T1" fmla="*/ 90 h 110"/>
                <a:gd name="T2" fmla="*/ 20 w 110"/>
                <a:gd name="T3" fmla="*/ 90 h 110"/>
                <a:gd name="T4" fmla="*/ 20 w 110"/>
                <a:gd name="T5" fmla="*/ 19 h 110"/>
                <a:gd name="T6" fmla="*/ 91 w 110"/>
                <a:gd name="T7" fmla="*/ 19 h 110"/>
                <a:gd name="T8" fmla="*/ 91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1" y="90"/>
                  </a:moveTo>
                  <a:cubicBezTo>
                    <a:pt x="71" y="110"/>
                    <a:pt x="39" y="110"/>
                    <a:pt x="20" y="90"/>
                  </a:cubicBezTo>
                  <a:cubicBezTo>
                    <a:pt x="0" y="71"/>
                    <a:pt x="0" y="39"/>
                    <a:pt x="20" y="19"/>
                  </a:cubicBezTo>
                  <a:cubicBezTo>
                    <a:pt x="39" y="0"/>
                    <a:pt x="71" y="0"/>
                    <a:pt x="91" y="19"/>
                  </a:cubicBezTo>
                  <a:cubicBezTo>
                    <a:pt x="110" y="39"/>
                    <a:pt x="110" y="71"/>
                    <a:pt x="91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183" name="Freeform 188">
              <a:extLst>
                <a:ext uri="{FF2B5EF4-FFF2-40B4-BE49-F238E27FC236}">
                  <a16:creationId xmlns:a16="http://schemas.microsoft.com/office/drawing/2014/main" id="{099E1BAC-B648-4FCF-AF29-EC9AD669FFBA}"/>
                </a:ext>
              </a:extLst>
            </p:cNvPr>
            <p:cNvSpPr>
              <a:spLocks/>
            </p:cNvSpPr>
            <p:nvPr/>
          </p:nvSpPr>
          <p:spPr bwMode="auto">
            <a:xfrm>
              <a:off x="8947390" y="548939"/>
              <a:ext cx="9525" cy="9525"/>
            </a:xfrm>
            <a:custGeom>
              <a:avLst/>
              <a:gdLst>
                <a:gd name="T0" fmla="*/ 50 w 101"/>
                <a:gd name="T1" fmla="*/ 100 h 100"/>
                <a:gd name="T2" fmla="*/ 0 w 101"/>
                <a:gd name="T3" fmla="*/ 50 h 100"/>
                <a:gd name="T4" fmla="*/ 50 w 101"/>
                <a:gd name="T5" fmla="*/ 0 h 100"/>
                <a:gd name="T6" fmla="*/ 101 w 101"/>
                <a:gd name="T7" fmla="*/ 50 h 100"/>
                <a:gd name="T8" fmla="*/ 50 w 101"/>
                <a:gd name="T9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" h="100">
                  <a:moveTo>
                    <a:pt x="50" y="100"/>
                  </a:moveTo>
                  <a:cubicBezTo>
                    <a:pt x="23" y="100"/>
                    <a:pt x="0" y="77"/>
                    <a:pt x="0" y="50"/>
                  </a:cubicBezTo>
                  <a:cubicBezTo>
                    <a:pt x="0" y="22"/>
                    <a:pt x="23" y="0"/>
                    <a:pt x="50" y="0"/>
                  </a:cubicBezTo>
                  <a:cubicBezTo>
                    <a:pt x="78" y="0"/>
                    <a:pt x="101" y="22"/>
                    <a:pt x="101" y="50"/>
                  </a:cubicBezTo>
                  <a:cubicBezTo>
                    <a:pt x="101" y="78"/>
                    <a:pt x="78" y="100"/>
                    <a:pt x="50" y="10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184" name="Freeform 189">
              <a:extLst>
                <a:ext uri="{FF2B5EF4-FFF2-40B4-BE49-F238E27FC236}">
                  <a16:creationId xmlns:a16="http://schemas.microsoft.com/office/drawing/2014/main" id="{91609424-997F-423D-AFD1-D7FE5FD47A7D}"/>
                </a:ext>
              </a:extLst>
            </p:cNvPr>
            <p:cNvSpPr>
              <a:spLocks/>
            </p:cNvSpPr>
            <p:nvPr/>
          </p:nvSpPr>
          <p:spPr bwMode="auto">
            <a:xfrm>
              <a:off x="8947390" y="548939"/>
              <a:ext cx="9525" cy="9525"/>
            </a:xfrm>
            <a:custGeom>
              <a:avLst/>
              <a:gdLst>
                <a:gd name="T0" fmla="*/ 50 w 101"/>
                <a:gd name="T1" fmla="*/ 100 h 100"/>
                <a:gd name="T2" fmla="*/ 0 w 101"/>
                <a:gd name="T3" fmla="*/ 50 h 100"/>
                <a:gd name="T4" fmla="*/ 50 w 101"/>
                <a:gd name="T5" fmla="*/ 0 h 100"/>
                <a:gd name="T6" fmla="*/ 101 w 101"/>
                <a:gd name="T7" fmla="*/ 50 h 100"/>
                <a:gd name="T8" fmla="*/ 50 w 101"/>
                <a:gd name="T9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" h="100">
                  <a:moveTo>
                    <a:pt x="50" y="100"/>
                  </a:moveTo>
                  <a:cubicBezTo>
                    <a:pt x="23" y="100"/>
                    <a:pt x="0" y="77"/>
                    <a:pt x="0" y="50"/>
                  </a:cubicBezTo>
                  <a:cubicBezTo>
                    <a:pt x="0" y="22"/>
                    <a:pt x="23" y="0"/>
                    <a:pt x="50" y="0"/>
                  </a:cubicBezTo>
                  <a:cubicBezTo>
                    <a:pt x="78" y="0"/>
                    <a:pt x="101" y="22"/>
                    <a:pt x="101" y="50"/>
                  </a:cubicBezTo>
                  <a:cubicBezTo>
                    <a:pt x="101" y="78"/>
                    <a:pt x="78" y="100"/>
                    <a:pt x="50" y="10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185" name="Freeform 190">
              <a:extLst>
                <a:ext uri="{FF2B5EF4-FFF2-40B4-BE49-F238E27FC236}">
                  <a16:creationId xmlns:a16="http://schemas.microsoft.com/office/drawing/2014/main" id="{61E59CF0-177B-4475-A0B7-4DD046028EC3}"/>
                </a:ext>
              </a:extLst>
            </p:cNvPr>
            <p:cNvSpPr>
              <a:spLocks/>
            </p:cNvSpPr>
            <p:nvPr/>
          </p:nvSpPr>
          <p:spPr bwMode="auto">
            <a:xfrm>
              <a:off x="7864715" y="485439"/>
              <a:ext cx="9525" cy="9525"/>
            </a:xfrm>
            <a:custGeom>
              <a:avLst/>
              <a:gdLst>
                <a:gd name="T0" fmla="*/ 50 w 100"/>
                <a:gd name="T1" fmla="*/ 100 h 100"/>
                <a:gd name="T2" fmla="*/ 0 w 100"/>
                <a:gd name="T3" fmla="*/ 50 h 100"/>
                <a:gd name="T4" fmla="*/ 50 w 100"/>
                <a:gd name="T5" fmla="*/ 0 h 100"/>
                <a:gd name="T6" fmla="*/ 100 w 100"/>
                <a:gd name="T7" fmla="*/ 50 h 100"/>
                <a:gd name="T8" fmla="*/ 50 w 100"/>
                <a:gd name="T9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00">
                  <a:moveTo>
                    <a:pt x="50" y="100"/>
                  </a:moveTo>
                  <a:cubicBezTo>
                    <a:pt x="22" y="100"/>
                    <a:pt x="0" y="77"/>
                    <a:pt x="0" y="50"/>
                  </a:cubicBezTo>
                  <a:cubicBezTo>
                    <a:pt x="0" y="22"/>
                    <a:pt x="22" y="0"/>
                    <a:pt x="50" y="0"/>
                  </a:cubicBezTo>
                  <a:cubicBezTo>
                    <a:pt x="77" y="0"/>
                    <a:pt x="100" y="22"/>
                    <a:pt x="100" y="50"/>
                  </a:cubicBezTo>
                  <a:cubicBezTo>
                    <a:pt x="100" y="78"/>
                    <a:pt x="78" y="100"/>
                    <a:pt x="50" y="10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186" name="Freeform 191">
              <a:extLst>
                <a:ext uri="{FF2B5EF4-FFF2-40B4-BE49-F238E27FC236}">
                  <a16:creationId xmlns:a16="http://schemas.microsoft.com/office/drawing/2014/main" id="{F2A1EC84-3B3B-4961-871A-707C97F7645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64715" y="485439"/>
              <a:ext cx="9525" cy="9525"/>
            </a:xfrm>
            <a:custGeom>
              <a:avLst/>
              <a:gdLst>
                <a:gd name="T0" fmla="*/ 50 w 100"/>
                <a:gd name="T1" fmla="*/ 100 h 100"/>
                <a:gd name="T2" fmla="*/ 0 w 100"/>
                <a:gd name="T3" fmla="*/ 50 h 100"/>
                <a:gd name="T4" fmla="*/ 50 w 100"/>
                <a:gd name="T5" fmla="*/ 0 h 100"/>
                <a:gd name="T6" fmla="*/ 100 w 100"/>
                <a:gd name="T7" fmla="*/ 50 h 100"/>
                <a:gd name="T8" fmla="*/ 50 w 100"/>
                <a:gd name="T9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00">
                  <a:moveTo>
                    <a:pt x="50" y="100"/>
                  </a:moveTo>
                  <a:cubicBezTo>
                    <a:pt x="22" y="100"/>
                    <a:pt x="0" y="77"/>
                    <a:pt x="0" y="50"/>
                  </a:cubicBezTo>
                  <a:cubicBezTo>
                    <a:pt x="0" y="22"/>
                    <a:pt x="22" y="0"/>
                    <a:pt x="50" y="0"/>
                  </a:cubicBezTo>
                  <a:cubicBezTo>
                    <a:pt x="77" y="0"/>
                    <a:pt x="100" y="22"/>
                    <a:pt x="100" y="50"/>
                  </a:cubicBezTo>
                  <a:cubicBezTo>
                    <a:pt x="100" y="78"/>
                    <a:pt x="78" y="100"/>
                    <a:pt x="50" y="10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187" name="Freeform 192">
              <a:extLst>
                <a:ext uri="{FF2B5EF4-FFF2-40B4-BE49-F238E27FC236}">
                  <a16:creationId xmlns:a16="http://schemas.microsoft.com/office/drawing/2014/main" id="{9E1E356F-5858-427F-8326-B01AECEF9F72}"/>
                </a:ext>
              </a:extLst>
            </p:cNvPr>
            <p:cNvSpPr>
              <a:spLocks/>
            </p:cNvSpPr>
            <p:nvPr/>
          </p:nvSpPr>
          <p:spPr bwMode="auto">
            <a:xfrm>
              <a:off x="7928215" y="485439"/>
              <a:ext cx="9525" cy="9525"/>
            </a:xfrm>
            <a:custGeom>
              <a:avLst/>
              <a:gdLst>
                <a:gd name="T0" fmla="*/ 50 w 101"/>
                <a:gd name="T1" fmla="*/ 100 h 100"/>
                <a:gd name="T2" fmla="*/ 0 w 101"/>
                <a:gd name="T3" fmla="*/ 50 h 100"/>
                <a:gd name="T4" fmla="*/ 50 w 101"/>
                <a:gd name="T5" fmla="*/ 0 h 100"/>
                <a:gd name="T6" fmla="*/ 100 w 101"/>
                <a:gd name="T7" fmla="*/ 50 h 100"/>
                <a:gd name="T8" fmla="*/ 50 w 101"/>
                <a:gd name="T9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" h="100">
                  <a:moveTo>
                    <a:pt x="50" y="100"/>
                  </a:moveTo>
                  <a:cubicBezTo>
                    <a:pt x="23" y="100"/>
                    <a:pt x="0" y="77"/>
                    <a:pt x="0" y="50"/>
                  </a:cubicBezTo>
                  <a:cubicBezTo>
                    <a:pt x="0" y="22"/>
                    <a:pt x="23" y="0"/>
                    <a:pt x="50" y="0"/>
                  </a:cubicBezTo>
                  <a:cubicBezTo>
                    <a:pt x="78" y="0"/>
                    <a:pt x="100" y="22"/>
                    <a:pt x="100" y="50"/>
                  </a:cubicBezTo>
                  <a:cubicBezTo>
                    <a:pt x="101" y="78"/>
                    <a:pt x="78" y="100"/>
                    <a:pt x="50" y="10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188" name="Freeform 193">
              <a:extLst>
                <a:ext uri="{FF2B5EF4-FFF2-40B4-BE49-F238E27FC236}">
                  <a16:creationId xmlns:a16="http://schemas.microsoft.com/office/drawing/2014/main" id="{C3C7FF54-6D6D-452F-9049-7F8A2C21CFDA}"/>
                </a:ext>
              </a:extLst>
            </p:cNvPr>
            <p:cNvSpPr>
              <a:spLocks/>
            </p:cNvSpPr>
            <p:nvPr/>
          </p:nvSpPr>
          <p:spPr bwMode="auto">
            <a:xfrm>
              <a:off x="7928215" y="485439"/>
              <a:ext cx="9525" cy="9525"/>
            </a:xfrm>
            <a:custGeom>
              <a:avLst/>
              <a:gdLst>
                <a:gd name="T0" fmla="*/ 50 w 101"/>
                <a:gd name="T1" fmla="*/ 100 h 100"/>
                <a:gd name="T2" fmla="*/ 0 w 101"/>
                <a:gd name="T3" fmla="*/ 50 h 100"/>
                <a:gd name="T4" fmla="*/ 50 w 101"/>
                <a:gd name="T5" fmla="*/ 0 h 100"/>
                <a:gd name="T6" fmla="*/ 100 w 101"/>
                <a:gd name="T7" fmla="*/ 50 h 100"/>
                <a:gd name="T8" fmla="*/ 50 w 101"/>
                <a:gd name="T9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" h="100">
                  <a:moveTo>
                    <a:pt x="50" y="100"/>
                  </a:moveTo>
                  <a:cubicBezTo>
                    <a:pt x="23" y="100"/>
                    <a:pt x="0" y="77"/>
                    <a:pt x="0" y="50"/>
                  </a:cubicBezTo>
                  <a:cubicBezTo>
                    <a:pt x="0" y="22"/>
                    <a:pt x="23" y="0"/>
                    <a:pt x="50" y="0"/>
                  </a:cubicBezTo>
                  <a:cubicBezTo>
                    <a:pt x="78" y="0"/>
                    <a:pt x="100" y="22"/>
                    <a:pt x="100" y="50"/>
                  </a:cubicBezTo>
                  <a:cubicBezTo>
                    <a:pt x="101" y="78"/>
                    <a:pt x="78" y="100"/>
                    <a:pt x="50" y="10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189" name="Oval 194">
              <a:extLst>
                <a:ext uri="{FF2B5EF4-FFF2-40B4-BE49-F238E27FC236}">
                  <a16:creationId xmlns:a16="http://schemas.microsoft.com/office/drawing/2014/main" id="{BB2A3BDC-3A46-40CA-9289-D98802DFDAA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93303" y="485439"/>
              <a:ext cx="9525" cy="9525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190" name="Oval 195">
              <a:extLst>
                <a:ext uri="{FF2B5EF4-FFF2-40B4-BE49-F238E27FC236}">
                  <a16:creationId xmlns:a16="http://schemas.microsoft.com/office/drawing/2014/main" id="{1A7BC442-DF59-4DFB-941D-D89B13632AB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93303" y="485439"/>
              <a:ext cx="9525" cy="9525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191" name="Freeform 196">
              <a:extLst>
                <a:ext uri="{FF2B5EF4-FFF2-40B4-BE49-F238E27FC236}">
                  <a16:creationId xmlns:a16="http://schemas.microsoft.com/office/drawing/2014/main" id="{A59CC3C6-BA90-41A0-AC75-2E95DE80E516}"/>
                </a:ext>
              </a:extLst>
            </p:cNvPr>
            <p:cNvSpPr>
              <a:spLocks/>
            </p:cNvSpPr>
            <p:nvPr/>
          </p:nvSpPr>
          <p:spPr bwMode="auto">
            <a:xfrm>
              <a:off x="8055215" y="485439"/>
              <a:ext cx="11113" cy="9525"/>
            </a:xfrm>
            <a:custGeom>
              <a:avLst/>
              <a:gdLst>
                <a:gd name="T0" fmla="*/ 90 w 110"/>
                <a:gd name="T1" fmla="*/ 91 h 110"/>
                <a:gd name="T2" fmla="*/ 20 w 110"/>
                <a:gd name="T3" fmla="*/ 91 h 110"/>
                <a:gd name="T4" fmla="*/ 20 w 110"/>
                <a:gd name="T5" fmla="*/ 20 h 110"/>
                <a:gd name="T6" fmla="*/ 90 w 110"/>
                <a:gd name="T7" fmla="*/ 20 h 110"/>
                <a:gd name="T8" fmla="*/ 90 w 110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1"/>
                  </a:moveTo>
                  <a:cubicBezTo>
                    <a:pt x="71" y="110"/>
                    <a:pt x="39" y="110"/>
                    <a:pt x="20" y="91"/>
                  </a:cubicBezTo>
                  <a:cubicBezTo>
                    <a:pt x="0" y="71"/>
                    <a:pt x="0" y="39"/>
                    <a:pt x="20" y="20"/>
                  </a:cubicBezTo>
                  <a:cubicBezTo>
                    <a:pt x="39" y="0"/>
                    <a:pt x="71" y="0"/>
                    <a:pt x="90" y="20"/>
                  </a:cubicBezTo>
                  <a:cubicBezTo>
                    <a:pt x="110" y="39"/>
                    <a:pt x="110" y="71"/>
                    <a:pt x="90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192" name="Freeform 197">
              <a:extLst>
                <a:ext uri="{FF2B5EF4-FFF2-40B4-BE49-F238E27FC236}">
                  <a16:creationId xmlns:a16="http://schemas.microsoft.com/office/drawing/2014/main" id="{1BD67422-652A-4467-8CD4-1CEC9D7700CB}"/>
                </a:ext>
              </a:extLst>
            </p:cNvPr>
            <p:cNvSpPr>
              <a:spLocks/>
            </p:cNvSpPr>
            <p:nvPr/>
          </p:nvSpPr>
          <p:spPr bwMode="auto">
            <a:xfrm>
              <a:off x="8055215" y="485439"/>
              <a:ext cx="11113" cy="9525"/>
            </a:xfrm>
            <a:custGeom>
              <a:avLst/>
              <a:gdLst>
                <a:gd name="T0" fmla="*/ 90 w 110"/>
                <a:gd name="T1" fmla="*/ 91 h 110"/>
                <a:gd name="T2" fmla="*/ 20 w 110"/>
                <a:gd name="T3" fmla="*/ 91 h 110"/>
                <a:gd name="T4" fmla="*/ 20 w 110"/>
                <a:gd name="T5" fmla="*/ 20 h 110"/>
                <a:gd name="T6" fmla="*/ 90 w 110"/>
                <a:gd name="T7" fmla="*/ 20 h 110"/>
                <a:gd name="T8" fmla="*/ 90 w 110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1"/>
                  </a:moveTo>
                  <a:cubicBezTo>
                    <a:pt x="71" y="110"/>
                    <a:pt x="39" y="110"/>
                    <a:pt x="20" y="91"/>
                  </a:cubicBezTo>
                  <a:cubicBezTo>
                    <a:pt x="0" y="71"/>
                    <a:pt x="0" y="39"/>
                    <a:pt x="20" y="20"/>
                  </a:cubicBezTo>
                  <a:cubicBezTo>
                    <a:pt x="39" y="0"/>
                    <a:pt x="71" y="0"/>
                    <a:pt x="90" y="20"/>
                  </a:cubicBezTo>
                  <a:cubicBezTo>
                    <a:pt x="110" y="39"/>
                    <a:pt x="110" y="71"/>
                    <a:pt x="90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193" name="Oval 198">
              <a:extLst>
                <a:ext uri="{FF2B5EF4-FFF2-40B4-BE49-F238E27FC236}">
                  <a16:creationId xmlns:a16="http://schemas.microsoft.com/office/drawing/2014/main" id="{ED007A0B-8069-49F7-854F-FD33FB1C3EE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20303" y="485439"/>
              <a:ext cx="9525" cy="9525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194" name="Oval 199">
              <a:extLst>
                <a:ext uri="{FF2B5EF4-FFF2-40B4-BE49-F238E27FC236}">
                  <a16:creationId xmlns:a16="http://schemas.microsoft.com/office/drawing/2014/main" id="{45C5B634-39CB-4C88-AB81-5B1F31F17B5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20303" y="485439"/>
              <a:ext cx="9525" cy="9525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195" name="Oval 200">
              <a:extLst>
                <a:ext uri="{FF2B5EF4-FFF2-40B4-BE49-F238E27FC236}">
                  <a16:creationId xmlns:a16="http://schemas.microsoft.com/office/drawing/2014/main" id="{87D877CA-F770-4B56-9405-6483099629F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83803" y="485439"/>
              <a:ext cx="9525" cy="9525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196" name="Oval 201">
              <a:extLst>
                <a:ext uri="{FF2B5EF4-FFF2-40B4-BE49-F238E27FC236}">
                  <a16:creationId xmlns:a16="http://schemas.microsoft.com/office/drawing/2014/main" id="{ED180588-7421-4EFC-A492-1944F94414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83803" y="485439"/>
              <a:ext cx="9525" cy="9525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197" name="Freeform 202">
              <a:extLst>
                <a:ext uri="{FF2B5EF4-FFF2-40B4-BE49-F238E27FC236}">
                  <a16:creationId xmlns:a16="http://schemas.microsoft.com/office/drawing/2014/main" id="{156EB55C-6EC2-4B1B-8454-0865AC80C872}"/>
                </a:ext>
              </a:extLst>
            </p:cNvPr>
            <p:cNvSpPr>
              <a:spLocks/>
            </p:cNvSpPr>
            <p:nvPr/>
          </p:nvSpPr>
          <p:spPr bwMode="auto">
            <a:xfrm>
              <a:off x="8247303" y="485439"/>
              <a:ext cx="9525" cy="9525"/>
            </a:xfrm>
            <a:custGeom>
              <a:avLst/>
              <a:gdLst>
                <a:gd name="T0" fmla="*/ 91 w 110"/>
                <a:gd name="T1" fmla="*/ 90 h 110"/>
                <a:gd name="T2" fmla="*/ 20 w 110"/>
                <a:gd name="T3" fmla="*/ 90 h 110"/>
                <a:gd name="T4" fmla="*/ 20 w 110"/>
                <a:gd name="T5" fmla="*/ 19 h 110"/>
                <a:gd name="T6" fmla="*/ 91 w 110"/>
                <a:gd name="T7" fmla="*/ 19 h 110"/>
                <a:gd name="T8" fmla="*/ 91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1" y="90"/>
                  </a:moveTo>
                  <a:cubicBezTo>
                    <a:pt x="71" y="110"/>
                    <a:pt x="39" y="110"/>
                    <a:pt x="20" y="90"/>
                  </a:cubicBezTo>
                  <a:cubicBezTo>
                    <a:pt x="0" y="71"/>
                    <a:pt x="0" y="39"/>
                    <a:pt x="20" y="19"/>
                  </a:cubicBezTo>
                  <a:cubicBezTo>
                    <a:pt x="39" y="0"/>
                    <a:pt x="71" y="0"/>
                    <a:pt x="91" y="19"/>
                  </a:cubicBezTo>
                  <a:cubicBezTo>
                    <a:pt x="110" y="39"/>
                    <a:pt x="110" y="71"/>
                    <a:pt x="91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198" name="Freeform 203">
              <a:extLst>
                <a:ext uri="{FF2B5EF4-FFF2-40B4-BE49-F238E27FC236}">
                  <a16:creationId xmlns:a16="http://schemas.microsoft.com/office/drawing/2014/main" id="{5DDFBC49-DBA3-49B1-B428-78D389CD0A69}"/>
                </a:ext>
              </a:extLst>
            </p:cNvPr>
            <p:cNvSpPr>
              <a:spLocks/>
            </p:cNvSpPr>
            <p:nvPr/>
          </p:nvSpPr>
          <p:spPr bwMode="auto">
            <a:xfrm>
              <a:off x="8247303" y="485439"/>
              <a:ext cx="9525" cy="9525"/>
            </a:xfrm>
            <a:custGeom>
              <a:avLst/>
              <a:gdLst>
                <a:gd name="T0" fmla="*/ 91 w 110"/>
                <a:gd name="T1" fmla="*/ 90 h 110"/>
                <a:gd name="T2" fmla="*/ 20 w 110"/>
                <a:gd name="T3" fmla="*/ 90 h 110"/>
                <a:gd name="T4" fmla="*/ 20 w 110"/>
                <a:gd name="T5" fmla="*/ 19 h 110"/>
                <a:gd name="T6" fmla="*/ 91 w 110"/>
                <a:gd name="T7" fmla="*/ 19 h 110"/>
                <a:gd name="T8" fmla="*/ 91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1" y="90"/>
                  </a:moveTo>
                  <a:cubicBezTo>
                    <a:pt x="71" y="110"/>
                    <a:pt x="39" y="110"/>
                    <a:pt x="20" y="90"/>
                  </a:cubicBezTo>
                  <a:cubicBezTo>
                    <a:pt x="0" y="71"/>
                    <a:pt x="0" y="39"/>
                    <a:pt x="20" y="19"/>
                  </a:cubicBezTo>
                  <a:cubicBezTo>
                    <a:pt x="39" y="0"/>
                    <a:pt x="71" y="0"/>
                    <a:pt x="91" y="19"/>
                  </a:cubicBezTo>
                  <a:cubicBezTo>
                    <a:pt x="110" y="39"/>
                    <a:pt x="110" y="71"/>
                    <a:pt x="91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199" name="Freeform 204">
              <a:extLst>
                <a:ext uri="{FF2B5EF4-FFF2-40B4-BE49-F238E27FC236}">
                  <a16:creationId xmlns:a16="http://schemas.microsoft.com/office/drawing/2014/main" id="{114FDD3F-620F-42B7-8CB5-0736347503B2}"/>
                </a:ext>
              </a:extLst>
            </p:cNvPr>
            <p:cNvSpPr>
              <a:spLocks/>
            </p:cNvSpPr>
            <p:nvPr/>
          </p:nvSpPr>
          <p:spPr bwMode="auto">
            <a:xfrm>
              <a:off x="8310803" y="485439"/>
              <a:ext cx="9525" cy="9525"/>
            </a:xfrm>
            <a:custGeom>
              <a:avLst/>
              <a:gdLst>
                <a:gd name="T0" fmla="*/ 91 w 110"/>
                <a:gd name="T1" fmla="*/ 90 h 110"/>
                <a:gd name="T2" fmla="*/ 20 w 110"/>
                <a:gd name="T3" fmla="*/ 90 h 110"/>
                <a:gd name="T4" fmla="*/ 20 w 110"/>
                <a:gd name="T5" fmla="*/ 19 h 110"/>
                <a:gd name="T6" fmla="*/ 91 w 110"/>
                <a:gd name="T7" fmla="*/ 19 h 110"/>
                <a:gd name="T8" fmla="*/ 91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1" y="90"/>
                  </a:moveTo>
                  <a:cubicBezTo>
                    <a:pt x="71" y="110"/>
                    <a:pt x="39" y="110"/>
                    <a:pt x="20" y="90"/>
                  </a:cubicBezTo>
                  <a:cubicBezTo>
                    <a:pt x="0" y="71"/>
                    <a:pt x="0" y="39"/>
                    <a:pt x="20" y="19"/>
                  </a:cubicBezTo>
                  <a:cubicBezTo>
                    <a:pt x="39" y="0"/>
                    <a:pt x="71" y="0"/>
                    <a:pt x="91" y="19"/>
                  </a:cubicBezTo>
                  <a:cubicBezTo>
                    <a:pt x="110" y="39"/>
                    <a:pt x="110" y="71"/>
                    <a:pt x="91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200" name="Freeform 205">
              <a:extLst>
                <a:ext uri="{FF2B5EF4-FFF2-40B4-BE49-F238E27FC236}">
                  <a16:creationId xmlns:a16="http://schemas.microsoft.com/office/drawing/2014/main" id="{2C53EB39-4293-4771-B96C-B11B9C1CE0F6}"/>
                </a:ext>
              </a:extLst>
            </p:cNvPr>
            <p:cNvSpPr>
              <a:spLocks/>
            </p:cNvSpPr>
            <p:nvPr/>
          </p:nvSpPr>
          <p:spPr bwMode="auto">
            <a:xfrm>
              <a:off x="8310803" y="485439"/>
              <a:ext cx="9525" cy="9525"/>
            </a:xfrm>
            <a:custGeom>
              <a:avLst/>
              <a:gdLst>
                <a:gd name="T0" fmla="*/ 91 w 110"/>
                <a:gd name="T1" fmla="*/ 90 h 110"/>
                <a:gd name="T2" fmla="*/ 20 w 110"/>
                <a:gd name="T3" fmla="*/ 90 h 110"/>
                <a:gd name="T4" fmla="*/ 20 w 110"/>
                <a:gd name="T5" fmla="*/ 19 h 110"/>
                <a:gd name="T6" fmla="*/ 91 w 110"/>
                <a:gd name="T7" fmla="*/ 19 h 110"/>
                <a:gd name="T8" fmla="*/ 91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1" y="90"/>
                  </a:moveTo>
                  <a:cubicBezTo>
                    <a:pt x="71" y="110"/>
                    <a:pt x="39" y="110"/>
                    <a:pt x="20" y="90"/>
                  </a:cubicBezTo>
                  <a:cubicBezTo>
                    <a:pt x="0" y="71"/>
                    <a:pt x="0" y="39"/>
                    <a:pt x="20" y="19"/>
                  </a:cubicBezTo>
                  <a:cubicBezTo>
                    <a:pt x="39" y="0"/>
                    <a:pt x="71" y="0"/>
                    <a:pt x="91" y="19"/>
                  </a:cubicBezTo>
                  <a:cubicBezTo>
                    <a:pt x="110" y="39"/>
                    <a:pt x="110" y="71"/>
                    <a:pt x="91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201" name="Freeform 206">
              <a:extLst>
                <a:ext uri="{FF2B5EF4-FFF2-40B4-BE49-F238E27FC236}">
                  <a16:creationId xmlns:a16="http://schemas.microsoft.com/office/drawing/2014/main" id="{EA989C92-E4C9-4471-AA32-F0644F9AB341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4303" y="485439"/>
              <a:ext cx="9525" cy="9525"/>
            </a:xfrm>
            <a:custGeom>
              <a:avLst/>
              <a:gdLst>
                <a:gd name="T0" fmla="*/ 90 w 110"/>
                <a:gd name="T1" fmla="*/ 90 h 110"/>
                <a:gd name="T2" fmla="*/ 19 w 110"/>
                <a:gd name="T3" fmla="*/ 90 h 110"/>
                <a:gd name="T4" fmla="*/ 19 w 110"/>
                <a:gd name="T5" fmla="*/ 19 h 110"/>
                <a:gd name="T6" fmla="*/ 90 w 110"/>
                <a:gd name="T7" fmla="*/ 19 h 110"/>
                <a:gd name="T8" fmla="*/ 90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0"/>
                  </a:moveTo>
                  <a:cubicBezTo>
                    <a:pt x="70" y="110"/>
                    <a:pt x="39" y="110"/>
                    <a:pt x="19" y="90"/>
                  </a:cubicBezTo>
                  <a:cubicBezTo>
                    <a:pt x="0" y="71"/>
                    <a:pt x="0" y="39"/>
                    <a:pt x="19" y="19"/>
                  </a:cubicBezTo>
                  <a:cubicBezTo>
                    <a:pt x="39" y="0"/>
                    <a:pt x="70" y="0"/>
                    <a:pt x="90" y="19"/>
                  </a:cubicBezTo>
                  <a:cubicBezTo>
                    <a:pt x="110" y="39"/>
                    <a:pt x="110" y="71"/>
                    <a:pt x="90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202" name="Freeform 207">
              <a:extLst>
                <a:ext uri="{FF2B5EF4-FFF2-40B4-BE49-F238E27FC236}">
                  <a16:creationId xmlns:a16="http://schemas.microsoft.com/office/drawing/2014/main" id="{E9064242-198E-42F1-83E2-8F0151A90300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4303" y="485439"/>
              <a:ext cx="9525" cy="9525"/>
            </a:xfrm>
            <a:custGeom>
              <a:avLst/>
              <a:gdLst>
                <a:gd name="T0" fmla="*/ 90 w 110"/>
                <a:gd name="T1" fmla="*/ 90 h 110"/>
                <a:gd name="T2" fmla="*/ 19 w 110"/>
                <a:gd name="T3" fmla="*/ 90 h 110"/>
                <a:gd name="T4" fmla="*/ 19 w 110"/>
                <a:gd name="T5" fmla="*/ 19 h 110"/>
                <a:gd name="T6" fmla="*/ 90 w 110"/>
                <a:gd name="T7" fmla="*/ 19 h 110"/>
                <a:gd name="T8" fmla="*/ 90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0"/>
                  </a:moveTo>
                  <a:cubicBezTo>
                    <a:pt x="70" y="110"/>
                    <a:pt x="39" y="110"/>
                    <a:pt x="19" y="90"/>
                  </a:cubicBezTo>
                  <a:cubicBezTo>
                    <a:pt x="0" y="71"/>
                    <a:pt x="0" y="39"/>
                    <a:pt x="19" y="19"/>
                  </a:cubicBezTo>
                  <a:cubicBezTo>
                    <a:pt x="39" y="0"/>
                    <a:pt x="70" y="0"/>
                    <a:pt x="90" y="19"/>
                  </a:cubicBezTo>
                  <a:cubicBezTo>
                    <a:pt x="110" y="39"/>
                    <a:pt x="110" y="71"/>
                    <a:pt x="90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203" name="Freeform 208">
              <a:extLst>
                <a:ext uri="{FF2B5EF4-FFF2-40B4-BE49-F238E27FC236}">
                  <a16:creationId xmlns:a16="http://schemas.microsoft.com/office/drawing/2014/main" id="{89CF29C7-C8D5-457B-A033-CEFC59B9AC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437803" y="485439"/>
              <a:ext cx="11113" cy="9525"/>
            </a:xfrm>
            <a:custGeom>
              <a:avLst/>
              <a:gdLst>
                <a:gd name="T0" fmla="*/ 90 w 110"/>
                <a:gd name="T1" fmla="*/ 90 h 110"/>
                <a:gd name="T2" fmla="*/ 19 w 110"/>
                <a:gd name="T3" fmla="*/ 90 h 110"/>
                <a:gd name="T4" fmla="*/ 19 w 110"/>
                <a:gd name="T5" fmla="*/ 19 h 110"/>
                <a:gd name="T6" fmla="*/ 90 w 110"/>
                <a:gd name="T7" fmla="*/ 19 h 110"/>
                <a:gd name="T8" fmla="*/ 90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0"/>
                  </a:moveTo>
                  <a:cubicBezTo>
                    <a:pt x="71" y="110"/>
                    <a:pt x="39" y="110"/>
                    <a:pt x="19" y="90"/>
                  </a:cubicBezTo>
                  <a:cubicBezTo>
                    <a:pt x="0" y="71"/>
                    <a:pt x="0" y="39"/>
                    <a:pt x="19" y="19"/>
                  </a:cubicBezTo>
                  <a:cubicBezTo>
                    <a:pt x="39" y="0"/>
                    <a:pt x="71" y="0"/>
                    <a:pt x="90" y="19"/>
                  </a:cubicBezTo>
                  <a:cubicBezTo>
                    <a:pt x="110" y="39"/>
                    <a:pt x="110" y="71"/>
                    <a:pt x="90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204" name="Freeform 209">
              <a:extLst>
                <a:ext uri="{FF2B5EF4-FFF2-40B4-BE49-F238E27FC236}">
                  <a16:creationId xmlns:a16="http://schemas.microsoft.com/office/drawing/2014/main" id="{926A3233-21AD-4550-B9B3-A6566BBD93D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37803" y="485439"/>
              <a:ext cx="11113" cy="9525"/>
            </a:xfrm>
            <a:custGeom>
              <a:avLst/>
              <a:gdLst>
                <a:gd name="T0" fmla="*/ 90 w 110"/>
                <a:gd name="T1" fmla="*/ 90 h 110"/>
                <a:gd name="T2" fmla="*/ 19 w 110"/>
                <a:gd name="T3" fmla="*/ 90 h 110"/>
                <a:gd name="T4" fmla="*/ 19 w 110"/>
                <a:gd name="T5" fmla="*/ 19 h 110"/>
                <a:gd name="T6" fmla="*/ 90 w 110"/>
                <a:gd name="T7" fmla="*/ 19 h 110"/>
                <a:gd name="T8" fmla="*/ 90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0"/>
                  </a:moveTo>
                  <a:cubicBezTo>
                    <a:pt x="71" y="110"/>
                    <a:pt x="39" y="110"/>
                    <a:pt x="19" y="90"/>
                  </a:cubicBezTo>
                  <a:cubicBezTo>
                    <a:pt x="0" y="71"/>
                    <a:pt x="0" y="39"/>
                    <a:pt x="19" y="19"/>
                  </a:cubicBezTo>
                  <a:cubicBezTo>
                    <a:pt x="39" y="0"/>
                    <a:pt x="71" y="0"/>
                    <a:pt x="90" y="19"/>
                  </a:cubicBezTo>
                  <a:cubicBezTo>
                    <a:pt x="110" y="39"/>
                    <a:pt x="110" y="71"/>
                    <a:pt x="90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205" name="Freeform 211">
              <a:extLst>
                <a:ext uri="{FF2B5EF4-FFF2-40B4-BE49-F238E27FC236}">
                  <a16:creationId xmlns:a16="http://schemas.microsoft.com/office/drawing/2014/main" id="{B11B8AA1-322C-4C91-B2E1-D8FBE63BE18A}"/>
                </a:ext>
              </a:extLst>
            </p:cNvPr>
            <p:cNvSpPr>
              <a:spLocks/>
            </p:cNvSpPr>
            <p:nvPr/>
          </p:nvSpPr>
          <p:spPr bwMode="auto">
            <a:xfrm>
              <a:off x="8501303" y="485439"/>
              <a:ext cx="11113" cy="9525"/>
            </a:xfrm>
            <a:custGeom>
              <a:avLst/>
              <a:gdLst>
                <a:gd name="T0" fmla="*/ 90 w 110"/>
                <a:gd name="T1" fmla="*/ 90 h 110"/>
                <a:gd name="T2" fmla="*/ 20 w 110"/>
                <a:gd name="T3" fmla="*/ 90 h 110"/>
                <a:gd name="T4" fmla="*/ 20 w 110"/>
                <a:gd name="T5" fmla="*/ 19 h 110"/>
                <a:gd name="T6" fmla="*/ 90 w 110"/>
                <a:gd name="T7" fmla="*/ 19 h 110"/>
                <a:gd name="T8" fmla="*/ 90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0"/>
                  </a:moveTo>
                  <a:cubicBezTo>
                    <a:pt x="71" y="110"/>
                    <a:pt x="39" y="110"/>
                    <a:pt x="20" y="90"/>
                  </a:cubicBezTo>
                  <a:cubicBezTo>
                    <a:pt x="0" y="71"/>
                    <a:pt x="0" y="39"/>
                    <a:pt x="20" y="19"/>
                  </a:cubicBezTo>
                  <a:cubicBezTo>
                    <a:pt x="39" y="0"/>
                    <a:pt x="71" y="0"/>
                    <a:pt x="90" y="19"/>
                  </a:cubicBezTo>
                  <a:cubicBezTo>
                    <a:pt x="110" y="39"/>
                    <a:pt x="110" y="71"/>
                    <a:pt x="90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206" name="Freeform 212">
              <a:extLst>
                <a:ext uri="{FF2B5EF4-FFF2-40B4-BE49-F238E27FC236}">
                  <a16:creationId xmlns:a16="http://schemas.microsoft.com/office/drawing/2014/main" id="{75E2A17E-8087-489E-9D74-00C42CD5265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01303" y="485439"/>
              <a:ext cx="11113" cy="9525"/>
            </a:xfrm>
            <a:custGeom>
              <a:avLst/>
              <a:gdLst>
                <a:gd name="T0" fmla="*/ 90 w 110"/>
                <a:gd name="T1" fmla="*/ 90 h 110"/>
                <a:gd name="T2" fmla="*/ 20 w 110"/>
                <a:gd name="T3" fmla="*/ 90 h 110"/>
                <a:gd name="T4" fmla="*/ 20 w 110"/>
                <a:gd name="T5" fmla="*/ 19 h 110"/>
                <a:gd name="T6" fmla="*/ 90 w 110"/>
                <a:gd name="T7" fmla="*/ 19 h 110"/>
                <a:gd name="T8" fmla="*/ 90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0"/>
                  </a:moveTo>
                  <a:cubicBezTo>
                    <a:pt x="71" y="110"/>
                    <a:pt x="39" y="110"/>
                    <a:pt x="20" y="90"/>
                  </a:cubicBezTo>
                  <a:cubicBezTo>
                    <a:pt x="0" y="71"/>
                    <a:pt x="0" y="39"/>
                    <a:pt x="20" y="19"/>
                  </a:cubicBezTo>
                  <a:cubicBezTo>
                    <a:pt x="39" y="0"/>
                    <a:pt x="71" y="0"/>
                    <a:pt x="90" y="19"/>
                  </a:cubicBezTo>
                  <a:cubicBezTo>
                    <a:pt x="110" y="39"/>
                    <a:pt x="110" y="71"/>
                    <a:pt x="90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207" name="Freeform 213">
              <a:extLst>
                <a:ext uri="{FF2B5EF4-FFF2-40B4-BE49-F238E27FC236}">
                  <a16:creationId xmlns:a16="http://schemas.microsoft.com/office/drawing/2014/main" id="{3679789E-3402-4707-AC51-88439F80B8EF}"/>
                </a:ext>
              </a:extLst>
            </p:cNvPr>
            <p:cNvSpPr>
              <a:spLocks/>
            </p:cNvSpPr>
            <p:nvPr/>
          </p:nvSpPr>
          <p:spPr bwMode="auto">
            <a:xfrm>
              <a:off x="8564803" y="485439"/>
              <a:ext cx="11113" cy="9525"/>
            </a:xfrm>
            <a:custGeom>
              <a:avLst/>
              <a:gdLst>
                <a:gd name="T0" fmla="*/ 91 w 110"/>
                <a:gd name="T1" fmla="*/ 90 h 110"/>
                <a:gd name="T2" fmla="*/ 20 w 110"/>
                <a:gd name="T3" fmla="*/ 90 h 110"/>
                <a:gd name="T4" fmla="*/ 20 w 110"/>
                <a:gd name="T5" fmla="*/ 19 h 110"/>
                <a:gd name="T6" fmla="*/ 91 w 110"/>
                <a:gd name="T7" fmla="*/ 19 h 110"/>
                <a:gd name="T8" fmla="*/ 91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1" y="90"/>
                  </a:moveTo>
                  <a:cubicBezTo>
                    <a:pt x="71" y="110"/>
                    <a:pt x="39" y="110"/>
                    <a:pt x="20" y="90"/>
                  </a:cubicBezTo>
                  <a:cubicBezTo>
                    <a:pt x="0" y="70"/>
                    <a:pt x="0" y="39"/>
                    <a:pt x="20" y="19"/>
                  </a:cubicBezTo>
                  <a:cubicBezTo>
                    <a:pt x="39" y="0"/>
                    <a:pt x="71" y="0"/>
                    <a:pt x="91" y="19"/>
                  </a:cubicBezTo>
                  <a:cubicBezTo>
                    <a:pt x="110" y="39"/>
                    <a:pt x="110" y="70"/>
                    <a:pt x="91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208" name="Freeform 214">
              <a:extLst>
                <a:ext uri="{FF2B5EF4-FFF2-40B4-BE49-F238E27FC236}">
                  <a16:creationId xmlns:a16="http://schemas.microsoft.com/office/drawing/2014/main" id="{B624BF7F-EB55-496B-869D-E153376EB62C}"/>
                </a:ext>
              </a:extLst>
            </p:cNvPr>
            <p:cNvSpPr>
              <a:spLocks/>
            </p:cNvSpPr>
            <p:nvPr/>
          </p:nvSpPr>
          <p:spPr bwMode="auto">
            <a:xfrm>
              <a:off x="8564803" y="485439"/>
              <a:ext cx="11113" cy="9525"/>
            </a:xfrm>
            <a:custGeom>
              <a:avLst/>
              <a:gdLst>
                <a:gd name="T0" fmla="*/ 91 w 110"/>
                <a:gd name="T1" fmla="*/ 90 h 110"/>
                <a:gd name="T2" fmla="*/ 20 w 110"/>
                <a:gd name="T3" fmla="*/ 90 h 110"/>
                <a:gd name="T4" fmla="*/ 20 w 110"/>
                <a:gd name="T5" fmla="*/ 19 h 110"/>
                <a:gd name="T6" fmla="*/ 91 w 110"/>
                <a:gd name="T7" fmla="*/ 19 h 110"/>
                <a:gd name="T8" fmla="*/ 91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1" y="90"/>
                  </a:moveTo>
                  <a:cubicBezTo>
                    <a:pt x="71" y="110"/>
                    <a:pt x="39" y="110"/>
                    <a:pt x="20" y="90"/>
                  </a:cubicBezTo>
                  <a:cubicBezTo>
                    <a:pt x="0" y="70"/>
                    <a:pt x="0" y="39"/>
                    <a:pt x="20" y="19"/>
                  </a:cubicBezTo>
                  <a:cubicBezTo>
                    <a:pt x="39" y="0"/>
                    <a:pt x="71" y="0"/>
                    <a:pt x="91" y="19"/>
                  </a:cubicBezTo>
                  <a:cubicBezTo>
                    <a:pt x="110" y="39"/>
                    <a:pt x="110" y="70"/>
                    <a:pt x="91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209" name="Freeform 215">
              <a:extLst>
                <a:ext uri="{FF2B5EF4-FFF2-40B4-BE49-F238E27FC236}">
                  <a16:creationId xmlns:a16="http://schemas.microsoft.com/office/drawing/2014/main" id="{CE64B75B-8642-4722-AE91-79EB8728FA10}"/>
                </a:ext>
              </a:extLst>
            </p:cNvPr>
            <p:cNvSpPr>
              <a:spLocks/>
            </p:cNvSpPr>
            <p:nvPr/>
          </p:nvSpPr>
          <p:spPr bwMode="auto">
            <a:xfrm>
              <a:off x="8628303" y="485439"/>
              <a:ext cx="11113" cy="9525"/>
            </a:xfrm>
            <a:custGeom>
              <a:avLst/>
              <a:gdLst>
                <a:gd name="T0" fmla="*/ 90 w 110"/>
                <a:gd name="T1" fmla="*/ 91 h 110"/>
                <a:gd name="T2" fmla="*/ 19 w 110"/>
                <a:gd name="T3" fmla="*/ 91 h 110"/>
                <a:gd name="T4" fmla="*/ 19 w 110"/>
                <a:gd name="T5" fmla="*/ 20 h 110"/>
                <a:gd name="T6" fmla="*/ 90 w 110"/>
                <a:gd name="T7" fmla="*/ 20 h 110"/>
                <a:gd name="T8" fmla="*/ 90 w 110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1"/>
                  </a:moveTo>
                  <a:cubicBezTo>
                    <a:pt x="71" y="110"/>
                    <a:pt x="39" y="110"/>
                    <a:pt x="19" y="91"/>
                  </a:cubicBezTo>
                  <a:cubicBezTo>
                    <a:pt x="0" y="71"/>
                    <a:pt x="0" y="39"/>
                    <a:pt x="19" y="20"/>
                  </a:cubicBezTo>
                  <a:cubicBezTo>
                    <a:pt x="39" y="0"/>
                    <a:pt x="71" y="0"/>
                    <a:pt x="90" y="20"/>
                  </a:cubicBezTo>
                  <a:cubicBezTo>
                    <a:pt x="110" y="39"/>
                    <a:pt x="110" y="71"/>
                    <a:pt x="90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210" name="Freeform 216">
              <a:extLst>
                <a:ext uri="{FF2B5EF4-FFF2-40B4-BE49-F238E27FC236}">
                  <a16:creationId xmlns:a16="http://schemas.microsoft.com/office/drawing/2014/main" id="{C72F1B9D-BB06-49B9-A696-BA6BD8FCE136}"/>
                </a:ext>
              </a:extLst>
            </p:cNvPr>
            <p:cNvSpPr>
              <a:spLocks/>
            </p:cNvSpPr>
            <p:nvPr/>
          </p:nvSpPr>
          <p:spPr bwMode="auto">
            <a:xfrm>
              <a:off x="8628303" y="485439"/>
              <a:ext cx="11113" cy="9525"/>
            </a:xfrm>
            <a:custGeom>
              <a:avLst/>
              <a:gdLst>
                <a:gd name="T0" fmla="*/ 90 w 110"/>
                <a:gd name="T1" fmla="*/ 91 h 110"/>
                <a:gd name="T2" fmla="*/ 19 w 110"/>
                <a:gd name="T3" fmla="*/ 91 h 110"/>
                <a:gd name="T4" fmla="*/ 19 w 110"/>
                <a:gd name="T5" fmla="*/ 20 h 110"/>
                <a:gd name="T6" fmla="*/ 90 w 110"/>
                <a:gd name="T7" fmla="*/ 20 h 110"/>
                <a:gd name="T8" fmla="*/ 90 w 110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1"/>
                  </a:moveTo>
                  <a:cubicBezTo>
                    <a:pt x="71" y="110"/>
                    <a:pt x="39" y="110"/>
                    <a:pt x="19" y="91"/>
                  </a:cubicBezTo>
                  <a:cubicBezTo>
                    <a:pt x="0" y="71"/>
                    <a:pt x="0" y="39"/>
                    <a:pt x="19" y="20"/>
                  </a:cubicBezTo>
                  <a:cubicBezTo>
                    <a:pt x="39" y="0"/>
                    <a:pt x="71" y="0"/>
                    <a:pt x="90" y="20"/>
                  </a:cubicBezTo>
                  <a:cubicBezTo>
                    <a:pt x="110" y="39"/>
                    <a:pt x="110" y="71"/>
                    <a:pt x="90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211" name="Freeform 217">
              <a:extLst>
                <a:ext uri="{FF2B5EF4-FFF2-40B4-BE49-F238E27FC236}">
                  <a16:creationId xmlns:a16="http://schemas.microsoft.com/office/drawing/2014/main" id="{58D90D3E-5159-4FD7-A60F-266CBD84504B}"/>
                </a:ext>
              </a:extLst>
            </p:cNvPr>
            <p:cNvSpPr>
              <a:spLocks/>
            </p:cNvSpPr>
            <p:nvPr/>
          </p:nvSpPr>
          <p:spPr bwMode="auto">
            <a:xfrm>
              <a:off x="8691803" y="485439"/>
              <a:ext cx="11113" cy="9525"/>
            </a:xfrm>
            <a:custGeom>
              <a:avLst/>
              <a:gdLst>
                <a:gd name="T0" fmla="*/ 91 w 110"/>
                <a:gd name="T1" fmla="*/ 91 h 110"/>
                <a:gd name="T2" fmla="*/ 20 w 110"/>
                <a:gd name="T3" fmla="*/ 91 h 110"/>
                <a:gd name="T4" fmla="*/ 20 w 110"/>
                <a:gd name="T5" fmla="*/ 20 h 110"/>
                <a:gd name="T6" fmla="*/ 91 w 110"/>
                <a:gd name="T7" fmla="*/ 20 h 110"/>
                <a:gd name="T8" fmla="*/ 91 w 110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1" y="91"/>
                  </a:moveTo>
                  <a:cubicBezTo>
                    <a:pt x="71" y="110"/>
                    <a:pt x="39" y="110"/>
                    <a:pt x="20" y="91"/>
                  </a:cubicBezTo>
                  <a:cubicBezTo>
                    <a:pt x="0" y="71"/>
                    <a:pt x="0" y="39"/>
                    <a:pt x="20" y="20"/>
                  </a:cubicBezTo>
                  <a:cubicBezTo>
                    <a:pt x="39" y="0"/>
                    <a:pt x="71" y="0"/>
                    <a:pt x="91" y="20"/>
                  </a:cubicBezTo>
                  <a:cubicBezTo>
                    <a:pt x="110" y="39"/>
                    <a:pt x="110" y="71"/>
                    <a:pt x="91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212" name="Freeform 218">
              <a:extLst>
                <a:ext uri="{FF2B5EF4-FFF2-40B4-BE49-F238E27FC236}">
                  <a16:creationId xmlns:a16="http://schemas.microsoft.com/office/drawing/2014/main" id="{899393FA-68EA-4F21-9D66-B6F5160EA8AE}"/>
                </a:ext>
              </a:extLst>
            </p:cNvPr>
            <p:cNvSpPr>
              <a:spLocks/>
            </p:cNvSpPr>
            <p:nvPr/>
          </p:nvSpPr>
          <p:spPr bwMode="auto">
            <a:xfrm>
              <a:off x="8691803" y="485439"/>
              <a:ext cx="11113" cy="9525"/>
            </a:xfrm>
            <a:custGeom>
              <a:avLst/>
              <a:gdLst>
                <a:gd name="T0" fmla="*/ 91 w 110"/>
                <a:gd name="T1" fmla="*/ 91 h 110"/>
                <a:gd name="T2" fmla="*/ 20 w 110"/>
                <a:gd name="T3" fmla="*/ 91 h 110"/>
                <a:gd name="T4" fmla="*/ 20 w 110"/>
                <a:gd name="T5" fmla="*/ 20 h 110"/>
                <a:gd name="T6" fmla="*/ 91 w 110"/>
                <a:gd name="T7" fmla="*/ 20 h 110"/>
                <a:gd name="T8" fmla="*/ 91 w 110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1" y="91"/>
                  </a:moveTo>
                  <a:cubicBezTo>
                    <a:pt x="71" y="110"/>
                    <a:pt x="39" y="110"/>
                    <a:pt x="20" y="91"/>
                  </a:cubicBezTo>
                  <a:cubicBezTo>
                    <a:pt x="0" y="71"/>
                    <a:pt x="0" y="39"/>
                    <a:pt x="20" y="20"/>
                  </a:cubicBezTo>
                  <a:cubicBezTo>
                    <a:pt x="39" y="0"/>
                    <a:pt x="71" y="0"/>
                    <a:pt x="91" y="20"/>
                  </a:cubicBezTo>
                  <a:cubicBezTo>
                    <a:pt x="110" y="39"/>
                    <a:pt x="110" y="71"/>
                    <a:pt x="91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213" name="Freeform 219">
              <a:extLst>
                <a:ext uri="{FF2B5EF4-FFF2-40B4-BE49-F238E27FC236}">
                  <a16:creationId xmlns:a16="http://schemas.microsoft.com/office/drawing/2014/main" id="{9076637B-90CF-43DE-9B0D-CB1FEF41D966}"/>
                </a:ext>
              </a:extLst>
            </p:cNvPr>
            <p:cNvSpPr>
              <a:spLocks/>
            </p:cNvSpPr>
            <p:nvPr/>
          </p:nvSpPr>
          <p:spPr bwMode="auto">
            <a:xfrm>
              <a:off x="8755303" y="485439"/>
              <a:ext cx="11113" cy="9525"/>
            </a:xfrm>
            <a:custGeom>
              <a:avLst/>
              <a:gdLst>
                <a:gd name="T0" fmla="*/ 91 w 110"/>
                <a:gd name="T1" fmla="*/ 91 h 110"/>
                <a:gd name="T2" fmla="*/ 20 w 110"/>
                <a:gd name="T3" fmla="*/ 91 h 110"/>
                <a:gd name="T4" fmla="*/ 20 w 110"/>
                <a:gd name="T5" fmla="*/ 20 h 110"/>
                <a:gd name="T6" fmla="*/ 91 w 110"/>
                <a:gd name="T7" fmla="*/ 20 h 110"/>
                <a:gd name="T8" fmla="*/ 91 w 110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1" y="91"/>
                  </a:moveTo>
                  <a:cubicBezTo>
                    <a:pt x="71" y="110"/>
                    <a:pt x="39" y="110"/>
                    <a:pt x="20" y="91"/>
                  </a:cubicBezTo>
                  <a:cubicBezTo>
                    <a:pt x="0" y="71"/>
                    <a:pt x="0" y="39"/>
                    <a:pt x="20" y="20"/>
                  </a:cubicBezTo>
                  <a:cubicBezTo>
                    <a:pt x="39" y="0"/>
                    <a:pt x="71" y="0"/>
                    <a:pt x="91" y="20"/>
                  </a:cubicBezTo>
                  <a:cubicBezTo>
                    <a:pt x="110" y="39"/>
                    <a:pt x="110" y="71"/>
                    <a:pt x="91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214" name="Freeform 220">
              <a:extLst>
                <a:ext uri="{FF2B5EF4-FFF2-40B4-BE49-F238E27FC236}">
                  <a16:creationId xmlns:a16="http://schemas.microsoft.com/office/drawing/2014/main" id="{7B7E785C-0F4D-47D1-BD40-2C180FFEDCF2}"/>
                </a:ext>
              </a:extLst>
            </p:cNvPr>
            <p:cNvSpPr>
              <a:spLocks/>
            </p:cNvSpPr>
            <p:nvPr/>
          </p:nvSpPr>
          <p:spPr bwMode="auto">
            <a:xfrm>
              <a:off x="8755303" y="485439"/>
              <a:ext cx="11113" cy="9525"/>
            </a:xfrm>
            <a:custGeom>
              <a:avLst/>
              <a:gdLst>
                <a:gd name="T0" fmla="*/ 91 w 110"/>
                <a:gd name="T1" fmla="*/ 91 h 110"/>
                <a:gd name="T2" fmla="*/ 20 w 110"/>
                <a:gd name="T3" fmla="*/ 91 h 110"/>
                <a:gd name="T4" fmla="*/ 20 w 110"/>
                <a:gd name="T5" fmla="*/ 20 h 110"/>
                <a:gd name="T6" fmla="*/ 91 w 110"/>
                <a:gd name="T7" fmla="*/ 20 h 110"/>
                <a:gd name="T8" fmla="*/ 91 w 110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1" y="91"/>
                  </a:moveTo>
                  <a:cubicBezTo>
                    <a:pt x="71" y="110"/>
                    <a:pt x="39" y="110"/>
                    <a:pt x="20" y="91"/>
                  </a:cubicBezTo>
                  <a:cubicBezTo>
                    <a:pt x="0" y="71"/>
                    <a:pt x="0" y="39"/>
                    <a:pt x="20" y="20"/>
                  </a:cubicBezTo>
                  <a:cubicBezTo>
                    <a:pt x="39" y="0"/>
                    <a:pt x="71" y="0"/>
                    <a:pt x="91" y="20"/>
                  </a:cubicBezTo>
                  <a:cubicBezTo>
                    <a:pt x="110" y="39"/>
                    <a:pt x="110" y="71"/>
                    <a:pt x="91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215" name="Freeform 221">
              <a:extLst>
                <a:ext uri="{FF2B5EF4-FFF2-40B4-BE49-F238E27FC236}">
                  <a16:creationId xmlns:a16="http://schemas.microsoft.com/office/drawing/2014/main" id="{CB394157-5050-4051-A02E-BF28213EF791}"/>
                </a:ext>
              </a:extLst>
            </p:cNvPr>
            <p:cNvSpPr>
              <a:spLocks/>
            </p:cNvSpPr>
            <p:nvPr/>
          </p:nvSpPr>
          <p:spPr bwMode="auto">
            <a:xfrm>
              <a:off x="8820390" y="485439"/>
              <a:ext cx="9525" cy="9525"/>
            </a:xfrm>
            <a:custGeom>
              <a:avLst/>
              <a:gdLst>
                <a:gd name="T0" fmla="*/ 90 w 110"/>
                <a:gd name="T1" fmla="*/ 90 h 110"/>
                <a:gd name="T2" fmla="*/ 20 w 110"/>
                <a:gd name="T3" fmla="*/ 90 h 110"/>
                <a:gd name="T4" fmla="*/ 20 w 110"/>
                <a:gd name="T5" fmla="*/ 19 h 110"/>
                <a:gd name="T6" fmla="*/ 90 w 110"/>
                <a:gd name="T7" fmla="*/ 19 h 110"/>
                <a:gd name="T8" fmla="*/ 90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0"/>
                  </a:moveTo>
                  <a:cubicBezTo>
                    <a:pt x="71" y="110"/>
                    <a:pt x="39" y="110"/>
                    <a:pt x="20" y="90"/>
                  </a:cubicBezTo>
                  <a:cubicBezTo>
                    <a:pt x="0" y="70"/>
                    <a:pt x="0" y="39"/>
                    <a:pt x="20" y="19"/>
                  </a:cubicBezTo>
                  <a:cubicBezTo>
                    <a:pt x="39" y="0"/>
                    <a:pt x="71" y="0"/>
                    <a:pt x="90" y="19"/>
                  </a:cubicBezTo>
                  <a:cubicBezTo>
                    <a:pt x="110" y="39"/>
                    <a:pt x="110" y="70"/>
                    <a:pt x="90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216" name="Freeform 222">
              <a:extLst>
                <a:ext uri="{FF2B5EF4-FFF2-40B4-BE49-F238E27FC236}">
                  <a16:creationId xmlns:a16="http://schemas.microsoft.com/office/drawing/2014/main" id="{A10C1A2E-8A31-416F-9A1B-E948B85ACA11}"/>
                </a:ext>
              </a:extLst>
            </p:cNvPr>
            <p:cNvSpPr>
              <a:spLocks/>
            </p:cNvSpPr>
            <p:nvPr/>
          </p:nvSpPr>
          <p:spPr bwMode="auto">
            <a:xfrm>
              <a:off x="8820390" y="485439"/>
              <a:ext cx="9525" cy="9525"/>
            </a:xfrm>
            <a:custGeom>
              <a:avLst/>
              <a:gdLst>
                <a:gd name="T0" fmla="*/ 90 w 110"/>
                <a:gd name="T1" fmla="*/ 90 h 110"/>
                <a:gd name="T2" fmla="*/ 20 w 110"/>
                <a:gd name="T3" fmla="*/ 90 h 110"/>
                <a:gd name="T4" fmla="*/ 20 w 110"/>
                <a:gd name="T5" fmla="*/ 19 h 110"/>
                <a:gd name="T6" fmla="*/ 90 w 110"/>
                <a:gd name="T7" fmla="*/ 19 h 110"/>
                <a:gd name="T8" fmla="*/ 90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0"/>
                  </a:moveTo>
                  <a:cubicBezTo>
                    <a:pt x="71" y="110"/>
                    <a:pt x="39" y="110"/>
                    <a:pt x="20" y="90"/>
                  </a:cubicBezTo>
                  <a:cubicBezTo>
                    <a:pt x="0" y="70"/>
                    <a:pt x="0" y="39"/>
                    <a:pt x="20" y="19"/>
                  </a:cubicBezTo>
                  <a:cubicBezTo>
                    <a:pt x="39" y="0"/>
                    <a:pt x="71" y="0"/>
                    <a:pt x="90" y="19"/>
                  </a:cubicBezTo>
                  <a:cubicBezTo>
                    <a:pt x="110" y="39"/>
                    <a:pt x="110" y="70"/>
                    <a:pt x="90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217" name="Freeform 223">
              <a:extLst>
                <a:ext uri="{FF2B5EF4-FFF2-40B4-BE49-F238E27FC236}">
                  <a16:creationId xmlns:a16="http://schemas.microsoft.com/office/drawing/2014/main" id="{F88B81AE-8D7B-4255-8037-BAB9261EDCCF}"/>
                </a:ext>
              </a:extLst>
            </p:cNvPr>
            <p:cNvSpPr>
              <a:spLocks/>
            </p:cNvSpPr>
            <p:nvPr/>
          </p:nvSpPr>
          <p:spPr bwMode="auto">
            <a:xfrm>
              <a:off x="8883890" y="485439"/>
              <a:ext cx="9525" cy="9525"/>
            </a:xfrm>
            <a:custGeom>
              <a:avLst/>
              <a:gdLst>
                <a:gd name="T0" fmla="*/ 91 w 110"/>
                <a:gd name="T1" fmla="*/ 90 h 110"/>
                <a:gd name="T2" fmla="*/ 20 w 110"/>
                <a:gd name="T3" fmla="*/ 90 h 110"/>
                <a:gd name="T4" fmla="*/ 20 w 110"/>
                <a:gd name="T5" fmla="*/ 19 h 110"/>
                <a:gd name="T6" fmla="*/ 91 w 110"/>
                <a:gd name="T7" fmla="*/ 19 h 110"/>
                <a:gd name="T8" fmla="*/ 91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1" y="90"/>
                  </a:moveTo>
                  <a:cubicBezTo>
                    <a:pt x="71" y="110"/>
                    <a:pt x="39" y="110"/>
                    <a:pt x="20" y="90"/>
                  </a:cubicBezTo>
                  <a:cubicBezTo>
                    <a:pt x="0" y="70"/>
                    <a:pt x="0" y="39"/>
                    <a:pt x="20" y="19"/>
                  </a:cubicBezTo>
                  <a:cubicBezTo>
                    <a:pt x="39" y="0"/>
                    <a:pt x="71" y="0"/>
                    <a:pt x="91" y="19"/>
                  </a:cubicBezTo>
                  <a:cubicBezTo>
                    <a:pt x="110" y="39"/>
                    <a:pt x="110" y="70"/>
                    <a:pt x="91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218" name="Freeform 224">
              <a:extLst>
                <a:ext uri="{FF2B5EF4-FFF2-40B4-BE49-F238E27FC236}">
                  <a16:creationId xmlns:a16="http://schemas.microsoft.com/office/drawing/2014/main" id="{B639044F-EFC9-4538-8D99-4303FF8437AC}"/>
                </a:ext>
              </a:extLst>
            </p:cNvPr>
            <p:cNvSpPr>
              <a:spLocks/>
            </p:cNvSpPr>
            <p:nvPr/>
          </p:nvSpPr>
          <p:spPr bwMode="auto">
            <a:xfrm>
              <a:off x="8883890" y="485439"/>
              <a:ext cx="9525" cy="9525"/>
            </a:xfrm>
            <a:custGeom>
              <a:avLst/>
              <a:gdLst>
                <a:gd name="T0" fmla="*/ 91 w 110"/>
                <a:gd name="T1" fmla="*/ 90 h 110"/>
                <a:gd name="T2" fmla="*/ 20 w 110"/>
                <a:gd name="T3" fmla="*/ 90 h 110"/>
                <a:gd name="T4" fmla="*/ 20 w 110"/>
                <a:gd name="T5" fmla="*/ 19 h 110"/>
                <a:gd name="T6" fmla="*/ 91 w 110"/>
                <a:gd name="T7" fmla="*/ 19 h 110"/>
                <a:gd name="T8" fmla="*/ 91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1" y="90"/>
                  </a:moveTo>
                  <a:cubicBezTo>
                    <a:pt x="71" y="110"/>
                    <a:pt x="39" y="110"/>
                    <a:pt x="20" y="90"/>
                  </a:cubicBezTo>
                  <a:cubicBezTo>
                    <a:pt x="0" y="70"/>
                    <a:pt x="0" y="39"/>
                    <a:pt x="20" y="19"/>
                  </a:cubicBezTo>
                  <a:cubicBezTo>
                    <a:pt x="39" y="0"/>
                    <a:pt x="71" y="0"/>
                    <a:pt x="91" y="19"/>
                  </a:cubicBezTo>
                  <a:cubicBezTo>
                    <a:pt x="110" y="39"/>
                    <a:pt x="110" y="70"/>
                    <a:pt x="91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219" name="Freeform 225">
              <a:extLst>
                <a:ext uri="{FF2B5EF4-FFF2-40B4-BE49-F238E27FC236}">
                  <a16:creationId xmlns:a16="http://schemas.microsoft.com/office/drawing/2014/main" id="{2744369D-5C2F-430B-899C-53A977C9C440}"/>
                </a:ext>
              </a:extLst>
            </p:cNvPr>
            <p:cNvSpPr>
              <a:spLocks/>
            </p:cNvSpPr>
            <p:nvPr/>
          </p:nvSpPr>
          <p:spPr bwMode="auto">
            <a:xfrm>
              <a:off x="8947390" y="485439"/>
              <a:ext cx="9525" cy="9525"/>
            </a:xfrm>
            <a:custGeom>
              <a:avLst/>
              <a:gdLst>
                <a:gd name="T0" fmla="*/ 91 w 110"/>
                <a:gd name="T1" fmla="*/ 90 h 110"/>
                <a:gd name="T2" fmla="*/ 20 w 110"/>
                <a:gd name="T3" fmla="*/ 90 h 110"/>
                <a:gd name="T4" fmla="*/ 20 w 110"/>
                <a:gd name="T5" fmla="*/ 19 h 110"/>
                <a:gd name="T6" fmla="*/ 91 w 110"/>
                <a:gd name="T7" fmla="*/ 19 h 110"/>
                <a:gd name="T8" fmla="*/ 91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1" y="90"/>
                  </a:moveTo>
                  <a:cubicBezTo>
                    <a:pt x="71" y="110"/>
                    <a:pt x="40" y="110"/>
                    <a:pt x="20" y="90"/>
                  </a:cubicBezTo>
                  <a:cubicBezTo>
                    <a:pt x="0" y="70"/>
                    <a:pt x="0" y="39"/>
                    <a:pt x="20" y="19"/>
                  </a:cubicBezTo>
                  <a:cubicBezTo>
                    <a:pt x="40" y="0"/>
                    <a:pt x="71" y="0"/>
                    <a:pt x="91" y="19"/>
                  </a:cubicBezTo>
                  <a:cubicBezTo>
                    <a:pt x="110" y="39"/>
                    <a:pt x="110" y="70"/>
                    <a:pt x="91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220" name="Freeform 226">
              <a:extLst>
                <a:ext uri="{FF2B5EF4-FFF2-40B4-BE49-F238E27FC236}">
                  <a16:creationId xmlns:a16="http://schemas.microsoft.com/office/drawing/2014/main" id="{ABDA2E6E-6F38-4400-98C8-2171B9991C55}"/>
                </a:ext>
              </a:extLst>
            </p:cNvPr>
            <p:cNvSpPr>
              <a:spLocks/>
            </p:cNvSpPr>
            <p:nvPr/>
          </p:nvSpPr>
          <p:spPr bwMode="auto">
            <a:xfrm>
              <a:off x="8947390" y="485439"/>
              <a:ext cx="9525" cy="9525"/>
            </a:xfrm>
            <a:custGeom>
              <a:avLst/>
              <a:gdLst>
                <a:gd name="T0" fmla="*/ 91 w 110"/>
                <a:gd name="T1" fmla="*/ 90 h 110"/>
                <a:gd name="T2" fmla="*/ 20 w 110"/>
                <a:gd name="T3" fmla="*/ 90 h 110"/>
                <a:gd name="T4" fmla="*/ 20 w 110"/>
                <a:gd name="T5" fmla="*/ 19 h 110"/>
                <a:gd name="T6" fmla="*/ 91 w 110"/>
                <a:gd name="T7" fmla="*/ 19 h 110"/>
                <a:gd name="T8" fmla="*/ 91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1" y="90"/>
                  </a:moveTo>
                  <a:cubicBezTo>
                    <a:pt x="71" y="110"/>
                    <a:pt x="40" y="110"/>
                    <a:pt x="20" y="90"/>
                  </a:cubicBezTo>
                  <a:cubicBezTo>
                    <a:pt x="0" y="70"/>
                    <a:pt x="0" y="39"/>
                    <a:pt x="20" y="19"/>
                  </a:cubicBezTo>
                  <a:cubicBezTo>
                    <a:pt x="40" y="0"/>
                    <a:pt x="71" y="0"/>
                    <a:pt x="91" y="19"/>
                  </a:cubicBezTo>
                  <a:cubicBezTo>
                    <a:pt x="110" y="39"/>
                    <a:pt x="110" y="70"/>
                    <a:pt x="91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</p:grpSp>
      <p:grpSp>
        <p:nvGrpSpPr>
          <p:cNvPr id="221" name="그룹 870">
            <a:extLst>
              <a:ext uri="{FF2B5EF4-FFF2-40B4-BE49-F238E27FC236}">
                <a16:creationId xmlns:a16="http://schemas.microsoft.com/office/drawing/2014/main" id="{A2B400A0-CCC2-4521-8939-425593854F26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240599" y="5474223"/>
            <a:ext cx="1797416" cy="1065757"/>
            <a:chOff x="2698750" y="2859088"/>
            <a:chExt cx="1092200" cy="647699"/>
          </a:xfrm>
          <a:solidFill>
            <a:schemeClr val="bg1">
              <a:lumMod val="75000"/>
            </a:schemeClr>
          </a:solidFill>
        </p:grpSpPr>
        <p:grpSp>
          <p:nvGrpSpPr>
            <p:cNvPr id="222" name="Group 210">
              <a:extLst>
                <a:ext uri="{FF2B5EF4-FFF2-40B4-BE49-F238E27FC236}">
                  <a16:creationId xmlns:a16="http://schemas.microsoft.com/office/drawing/2014/main" id="{7CE7993D-3CC9-40B2-A0DB-EFA183CE1559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698750" y="3178175"/>
              <a:ext cx="1092200" cy="328612"/>
              <a:chOff x="1700" y="2002"/>
              <a:chExt cx="688" cy="207"/>
            </a:xfrm>
            <a:grpFill/>
          </p:grpSpPr>
          <p:sp>
            <p:nvSpPr>
              <p:cNvPr id="419" name="Freeform 10">
                <a:extLst>
                  <a:ext uri="{FF2B5EF4-FFF2-40B4-BE49-F238E27FC236}">
                    <a16:creationId xmlns:a16="http://schemas.microsoft.com/office/drawing/2014/main" id="{3D02A80B-0760-4187-951F-1AD1AE65C7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00" y="2202"/>
                <a:ext cx="7" cy="7"/>
              </a:xfrm>
              <a:custGeom>
                <a:avLst/>
                <a:gdLst>
                  <a:gd name="T0" fmla="*/ 90 w 110"/>
                  <a:gd name="T1" fmla="*/ 90 h 110"/>
                  <a:gd name="T2" fmla="*/ 19 w 110"/>
                  <a:gd name="T3" fmla="*/ 90 h 110"/>
                  <a:gd name="T4" fmla="*/ 19 w 110"/>
                  <a:gd name="T5" fmla="*/ 19 h 110"/>
                  <a:gd name="T6" fmla="*/ 90 w 110"/>
                  <a:gd name="T7" fmla="*/ 19 h 110"/>
                  <a:gd name="T8" fmla="*/ 90 w 110"/>
                  <a:gd name="T9" fmla="*/ 9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110">
                    <a:moveTo>
                      <a:pt x="90" y="90"/>
                    </a:moveTo>
                    <a:cubicBezTo>
                      <a:pt x="71" y="110"/>
                      <a:pt x="39" y="110"/>
                      <a:pt x="19" y="90"/>
                    </a:cubicBezTo>
                    <a:cubicBezTo>
                      <a:pt x="0" y="71"/>
                      <a:pt x="0" y="39"/>
                      <a:pt x="19" y="19"/>
                    </a:cubicBezTo>
                    <a:cubicBezTo>
                      <a:pt x="39" y="0"/>
                      <a:pt x="71" y="0"/>
                      <a:pt x="90" y="19"/>
                    </a:cubicBezTo>
                    <a:cubicBezTo>
                      <a:pt x="110" y="39"/>
                      <a:pt x="110" y="71"/>
                      <a:pt x="90" y="90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420" name="Freeform 11">
                <a:extLst>
                  <a:ext uri="{FF2B5EF4-FFF2-40B4-BE49-F238E27FC236}">
                    <a16:creationId xmlns:a16="http://schemas.microsoft.com/office/drawing/2014/main" id="{F2FB5F6F-4E13-4CCF-8BD1-33BCB59726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00" y="2202"/>
                <a:ext cx="7" cy="7"/>
              </a:xfrm>
              <a:custGeom>
                <a:avLst/>
                <a:gdLst>
                  <a:gd name="T0" fmla="*/ 90 w 110"/>
                  <a:gd name="T1" fmla="*/ 90 h 110"/>
                  <a:gd name="T2" fmla="*/ 19 w 110"/>
                  <a:gd name="T3" fmla="*/ 90 h 110"/>
                  <a:gd name="T4" fmla="*/ 19 w 110"/>
                  <a:gd name="T5" fmla="*/ 19 h 110"/>
                  <a:gd name="T6" fmla="*/ 90 w 110"/>
                  <a:gd name="T7" fmla="*/ 19 h 110"/>
                  <a:gd name="T8" fmla="*/ 90 w 110"/>
                  <a:gd name="T9" fmla="*/ 9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110">
                    <a:moveTo>
                      <a:pt x="90" y="90"/>
                    </a:moveTo>
                    <a:cubicBezTo>
                      <a:pt x="71" y="110"/>
                      <a:pt x="39" y="110"/>
                      <a:pt x="19" y="90"/>
                    </a:cubicBezTo>
                    <a:cubicBezTo>
                      <a:pt x="0" y="71"/>
                      <a:pt x="0" y="39"/>
                      <a:pt x="19" y="19"/>
                    </a:cubicBezTo>
                    <a:cubicBezTo>
                      <a:pt x="39" y="0"/>
                      <a:pt x="71" y="0"/>
                      <a:pt x="90" y="19"/>
                    </a:cubicBezTo>
                    <a:cubicBezTo>
                      <a:pt x="110" y="39"/>
                      <a:pt x="110" y="71"/>
                      <a:pt x="90" y="90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421" name="Freeform 12">
                <a:extLst>
                  <a:ext uri="{FF2B5EF4-FFF2-40B4-BE49-F238E27FC236}">
                    <a16:creationId xmlns:a16="http://schemas.microsoft.com/office/drawing/2014/main" id="{B36E5C00-02EC-44C6-9CC1-6DC6889CBE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40" y="2203"/>
                <a:ext cx="6" cy="6"/>
              </a:xfrm>
              <a:custGeom>
                <a:avLst/>
                <a:gdLst>
                  <a:gd name="T0" fmla="*/ 50 w 100"/>
                  <a:gd name="T1" fmla="*/ 100 h 100"/>
                  <a:gd name="T2" fmla="*/ 0 w 100"/>
                  <a:gd name="T3" fmla="*/ 50 h 100"/>
                  <a:gd name="T4" fmla="*/ 50 w 100"/>
                  <a:gd name="T5" fmla="*/ 0 h 100"/>
                  <a:gd name="T6" fmla="*/ 100 w 100"/>
                  <a:gd name="T7" fmla="*/ 50 h 100"/>
                  <a:gd name="T8" fmla="*/ 50 w 100"/>
                  <a:gd name="T9" fmla="*/ 10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0" h="100">
                    <a:moveTo>
                      <a:pt x="50" y="100"/>
                    </a:moveTo>
                    <a:cubicBezTo>
                      <a:pt x="23" y="100"/>
                      <a:pt x="0" y="77"/>
                      <a:pt x="0" y="50"/>
                    </a:cubicBezTo>
                    <a:cubicBezTo>
                      <a:pt x="0" y="22"/>
                      <a:pt x="23" y="0"/>
                      <a:pt x="50" y="0"/>
                    </a:cubicBezTo>
                    <a:cubicBezTo>
                      <a:pt x="77" y="0"/>
                      <a:pt x="100" y="22"/>
                      <a:pt x="100" y="50"/>
                    </a:cubicBezTo>
                    <a:cubicBezTo>
                      <a:pt x="100" y="77"/>
                      <a:pt x="78" y="99"/>
                      <a:pt x="50" y="100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422" name="Freeform 13">
                <a:extLst>
                  <a:ext uri="{FF2B5EF4-FFF2-40B4-BE49-F238E27FC236}">
                    <a16:creationId xmlns:a16="http://schemas.microsoft.com/office/drawing/2014/main" id="{9B95B6FC-783B-48A4-92A9-8ABE0BC3AB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40" y="2203"/>
                <a:ext cx="6" cy="6"/>
              </a:xfrm>
              <a:custGeom>
                <a:avLst/>
                <a:gdLst>
                  <a:gd name="T0" fmla="*/ 50 w 100"/>
                  <a:gd name="T1" fmla="*/ 100 h 100"/>
                  <a:gd name="T2" fmla="*/ 0 w 100"/>
                  <a:gd name="T3" fmla="*/ 50 h 100"/>
                  <a:gd name="T4" fmla="*/ 50 w 100"/>
                  <a:gd name="T5" fmla="*/ 0 h 100"/>
                  <a:gd name="T6" fmla="*/ 100 w 100"/>
                  <a:gd name="T7" fmla="*/ 50 h 100"/>
                  <a:gd name="T8" fmla="*/ 50 w 100"/>
                  <a:gd name="T9" fmla="*/ 10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0" h="100">
                    <a:moveTo>
                      <a:pt x="50" y="100"/>
                    </a:moveTo>
                    <a:cubicBezTo>
                      <a:pt x="23" y="100"/>
                      <a:pt x="0" y="77"/>
                      <a:pt x="0" y="50"/>
                    </a:cubicBezTo>
                    <a:cubicBezTo>
                      <a:pt x="0" y="22"/>
                      <a:pt x="23" y="0"/>
                      <a:pt x="50" y="0"/>
                    </a:cubicBezTo>
                    <a:cubicBezTo>
                      <a:pt x="77" y="0"/>
                      <a:pt x="100" y="22"/>
                      <a:pt x="100" y="50"/>
                    </a:cubicBezTo>
                    <a:cubicBezTo>
                      <a:pt x="100" y="77"/>
                      <a:pt x="78" y="99"/>
                      <a:pt x="50" y="100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423" name="Freeform 14">
                <a:extLst>
                  <a:ext uri="{FF2B5EF4-FFF2-40B4-BE49-F238E27FC236}">
                    <a16:creationId xmlns:a16="http://schemas.microsoft.com/office/drawing/2014/main" id="{2DDFA641-2255-403D-BFB9-6804249552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81" y="2202"/>
                <a:ext cx="6" cy="6"/>
              </a:xfrm>
              <a:custGeom>
                <a:avLst/>
                <a:gdLst>
                  <a:gd name="T0" fmla="*/ 50 w 100"/>
                  <a:gd name="T1" fmla="*/ 100 h 100"/>
                  <a:gd name="T2" fmla="*/ 0 w 100"/>
                  <a:gd name="T3" fmla="*/ 50 h 100"/>
                  <a:gd name="T4" fmla="*/ 50 w 100"/>
                  <a:gd name="T5" fmla="*/ 0 h 100"/>
                  <a:gd name="T6" fmla="*/ 100 w 100"/>
                  <a:gd name="T7" fmla="*/ 50 h 100"/>
                  <a:gd name="T8" fmla="*/ 50 w 100"/>
                  <a:gd name="T9" fmla="*/ 10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0" h="100">
                    <a:moveTo>
                      <a:pt x="50" y="100"/>
                    </a:moveTo>
                    <a:cubicBezTo>
                      <a:pt x="22" y="100"/>
                      <a:pt x="0" y="78"/>
                      <a:pt x="0" y="50"/>
                    </a:cubicBezTo>
                    <a:cubicBezTo>
                      <a:pt x="0" y="23"/>
                      <a:pt x="22" y="0"/>
                      <a:pt x="50" y="0"/>
                    </a:cubicBezTo>
                    <a:cubicBezTo>
                      <a:pt x="77" y="0"/>
                      <a:pt x="100" y="23"/>
                      <a:pt x="100" y="50"/>
                    </a:cubicBezTo>
                    <a:cubicBezTo>
                      <a:pt x="99" y="78"/>
                      <a:pt x="77" y="100"/>
                      <a:pt x="50" y="100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424" name="Freeform 15">
                <a:extLst>
                  <a:ext uri="{FF2B5EF4-FFF2-40B4-BE49-F238E27FC236}">
                    <a16:creationId xmlns:a16="http://schemas.microsoft.com/office/drawing/2014/main" id="{C55409F8-6032-43BA-A226-EE5559FCDA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81" y="2202"/>
                <a:ext cx="6" cy="6"/>
              </a:xfrm>
              <a:custGeom>
                <a:avLst/>
                <a:gdLst>
                  <a:gd name="T0" fmla="*/ 50 w 100"/>
                  <a:gd name="T1" fmla="*/ 100 h 100"/>
                  <a:gd name="T2" fmla="*/ 0 w 100"/>
                  <a:gd name="T3" fmla="*/ 50 h 100"/>
                  <a:gd name="T4" fmla="*/ 50 w 100"/>
                  <a:gd name="T5" fmla="*/ 0 h 100"/>
                  <a:gd name="T6" fmla="*/ 100 w 100"/>
                  <a:gd name="T7" fmla="*/ 50 h 100"/>
                  <a:gd name="T8" fmla="*/ 50 w 100"/>
                  <a:gd name="T9" fmla="*/ 10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0" h="100">
                    <a:moveTo>
                      <a:pt x="50" y="100"/>
                    </a:moveTo>
                    <a:cubicBezTo>
                      <a:pt x="22" y="100"/>
                      <a:pt x="0" y="78"/>
                      <a:pt x="0" y="50"/>
                    </a:cubicBezTo>
                    <a:cubicBezTo>
                      <a:pt x="0" y="23"/>
                      <a:pt x="22" y="0"/>
                      <a:pt x="50" y="0"/>
                    </a:cubicBezTo>
                    <a:cubicBezTo>
                      <a:pt x="77" y="0"/>
                      <a:pt x="100" y="23"/>
                      <a:pt x="100" y="50"/>
                    </a:cubicBezTo>
                    <a:cubicBezTo>
                      <a:pt x="99" y="78"/>
                      <a:pt x="77" y="100"/>
                      <a:pt x="50" y="100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425" name="Freeform 16">
                <a:extLst>
                  <a:ext uri="{FF2B5EF4-FFF2-40B4-BE49-F238E27FC236}">
                    <a16:creationId xmlns:a16="http://schemas.microsoft.com/office/drawing/2014/main" id="{F0B27E0A-1C73-40CA-8D0F-A0AC5EB3D8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20" y="2202"/>
                <a:ext cx="7" cy="7"/>
              </a:xfrm>
              <a:custGeom>
                <a:avLst/>
                <a:gdLst>
                  <a:gd name="T0" fmla="*/ 90 w 110"/>
                  <a:gd name="T1" fmla="*/ 91 h 110"/>
                  <a:gd name="T2" fmla="*/ 20 w 110"/>
                  <a:gd name="T3" fmla="*/ 91 h 110"/>
                  <a:gd name="T4" fmla="*/ 20 w 110"/>
                  <a:gd name="T5" fmla="*/ 20 h 110"/>
                  <a:gd name="T6" fmla="*/ 90 w 110"/>
                  <a:gd name="T7" fmla="*/ 20 h 110"/>
                  <a:gd name="T8" fmla="*/ 90 w 110"/>
                  <a:gd name="T9" fmla="*/ 91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110">
                    <a:moveTo>
                      <a:pt x="90" y="91"/>
                    </a:moveTo>
                    <a:cubicBezTo>
                      <a:pt x="71" y="110"/>
                      <a:pt x="39" y="110"/>
                      <a:pt x="20" y="91"/>
                    </a:cubicBezTo>
                    <a:cubicBezTo>
                      <a:pt x="0" y="71"/>
                      <a:pt x="0" y="39"/>
                      <a:pt x="20" y="20"/>
                    </a:cubicBezTo>
                    <a:cubicBezTo>
                      <a:pt x="39" y="0"/>
                      <a:pt x="71" y="0"/>
                      <a:pt x="90" y="20"/>
                    </a:cubicBezTo>
                    <a:cubicBezTo>
                      <a:pt x="110" y="39"/>
                      <a:pt x="110" y="71"/>
                      <a:pt x="90" y="91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426" name="Freeform 17">
                <a:extLst>
                  <a:ext uri="{FF2B5EF4-FFF2-40B4-BE49-F238E27FC236}">
                    <a16:creationId xmlns:a16="http://schemas.microsoft.com/office/drawing/2014/main" id="{A9121C26-52EC-424B-8390-E5EB70560C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20" y="2202"/>
                <a:ext cx="7" cy="7"/>
              </a:xfrm>
              <a:custGeom>
                <a:avLst/>
                <a:gdLst>
                  <a:gd name="T0" fmla="*/ 90 w 110"/>
                  <a:gd name="T1" fmla="*/ 91 h 110"/>
                  <a:gd name="T2" fmla="*/ 20 w 110"/>
                  <a:gd name="T3" fmla="*/ 91 h 110"/>
                  <a:gd name="T4" fmla="*/ 20 w 110"/>
                  <a:gd name="T5" fmla="*/ 20 h 110"/>
                  <a:gd name="T6" fmla="*/ 90 w 110"/>
                  <a:gd name="T7" fmla="*/ 20 h 110"/>
                  <a:gd name="T8" fmla="*/ 90 w 110"/>
                  <a:gd name="T9" fmla="*/ 91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110">
                    <a:moveTo>
                      <a:pt x="90" y="91"/>
                    </a:moveTo>
                    <a:cubicBezTo>
                      <a:pt x="71" y="110"/>
                      <a:pt x="39" y="110"/>
                      <a:pt x="20" y="91"/>
                    </a:cubicBezTo>
                    <a:cubicBezTo>
                      <a:pt x="0" y="71"/>
                      <a:pt x="0" y="39"/>
                      <a:pt x="20" y="20"/>
                    </a:cubicBezTo>
                    <a:cubicBezTo>
                      <a:pt x="39" y="0"/>
                      <a:pt x="71" y="0"/>
                      <a:pt x="90" y="20"/>
                    </a:cubicBezTo>
                    <a:cubicBezTo>
                      <a:pt x="110" y="39"/>
                      <a:pt x="110" y="71"/>
                      <a:pt x="90" y="91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427" name="Freeform 18">
                <a:extLst>
                  <a:ext uri="{FF2B5EF4-FFF2-40B4-BE49-F238E27FC236}">
                    <a16:creationId xmlns:a16="http://schemas.microsoft.com/office/drawing/2014/main" id="{EAA6C365-2F1A-4F23-9327-32943654CF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61" y="2202"/>
                <a:ext cx="6" cy="7"/>
              </a:xfrm>
              <a:custGeom>
                <a:avLst/>
                <a:gdLst>
                  <a:gd name="T0" fmla="*/ 50 w 101"/>
                  <a:gd name="T1" fmla="*/ 100 h 101"/>
                  <a:gd name="T2" fmla="*/ 0 w 101"/>
                  <a:gd name="T3" fmla="*/ 50 h 101"/>
                  <a:gd name="T4" fmla="*/ 50 w 101"/>
                  <a:gd name="T5" fmla="*/ 0 h 101"/>
                  <a:gd name="T6" fmla="*/ 100 w 101"/>
                  <a:gd name="T7" fmla="*/ 50 h 101"/>
                  <a:gd name="T8" fmla="*/ 50 w 101"/>
                  <a:gd name="T9" fmla="*/ 10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1" h="101">
                    <a:moveTo>
                      <a:pt x="50" y="100"/>
                    </a:moveTo>
                    <a:cubicBezTo>
                      <a:pt x="23" y="100"/>
                      <a:pt x="0" y="78"/>
                      <a:pt x="0" y="50"/>
                    </a:cubicBezTo>
                    <a:cubicBezTo>
                      <a:pt x="0" y="23"/>
                      <a:pt x="23" y="0"/>
                      <a:pt x="50" y="0"/>
                    </a:cubicBezTo>
                    <a:cubicBezTo>
                      <a:pt x="78" y="0"/>
                      <a:pt x="100" y="23"/>
                      <a:pt x="100" y="50"/>
                    </a:cubicBezTo>
                    <a:cubicBezTo>
                      <a:pt x="101" y="78"/>
                      <a:pt x="78" y="101"/>
                      <a:pt x="50" y="100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428" name="Freeform 19">
                <a:extLst>
                  <a:ext uri="{FF2B5EF4-FFF2-40B4-BE49-F238E27FC236}">
                    <a16:creationId xmlns:a16="http://schemas.microsoft.com/office/drawing/2014/main" id="{B43F3AAD-A5E4-453B-8992-CCAF9B086E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61" y="2202"/>
                <a:ext cx="6" cy="7"/>
              </a:xfrm>
              <a:custGeom>
                <a:avLst/>
                <a:gdLst>
                  <a:gd name="T0" fmla="*/ 50 w 101"/>
                  <a:gd name="T1" fmla="*/ 100 h 101"/>
                  <a:gd name="T2" fmla="*/ 0 w 101"/>
                  <a:gd name="T3" fmla="*/ 50 h 101"/>
                  <a:gd name="T4" fmla="*/ 50 w 101"/>
                  <a:gd name="T5" fmla="*/ 0 h 101"/>
                  <a:gd name="T6" fmla="*/ 100 w 101"/>
                  <a:gd name="T7" fmla="*/ 50 h 101"/>
                  <a:gd name="T8" fmla="*/ 50 w 101"/>
                  <a:gd name="T9" fmla="*/ 10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1" h="101">
                    <a:moveTo>
                      <a:pt x="50" y="100"/>
                    </a:moveTo>
                    <a:cubicBezTo>
                      <a:pt x="23" y="100"/>
                      <a:pt x="0" y="78"/>
                      <a:pt x="0" y="50"/>
                    </a:cubicBezTo>
                    <a:cubicBezTo>
                      <a:pt x="0" y="23"/>
                      <a:pt x="23" y="0"/>
                      <a:pt x="50" y="0"/>
                    </a:cubicBezTo>
                    <a:cubicBezTo>
                      <a:pt x="78" y="0"/>
                      <a:pt x="100" y="23"/>
                      <a:pt x="100" y="50"/>
                    </a:cubicBezTo>
                    <a:cubicBezTo>
                      <a:pt x="101" y="78"/>
                      <a:pt x="78" y="101"/>
                      <a:pt x="50" y="100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429" name="Freeform 20">
                <a:extLst>
                  <a:ext uri="{FF2B5EF4-FFF2-40B4-BE49-F238E27FC236}">
                    <a16:creationId xmlns:a16="http://schemas.microsoft.com/office/drawing/2014/main" id="{19F97070-D6D0-41F8-8F21-F8FD2E7E2B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01" y="2202"/>
                <a:ext cx="6" cy="7"/>
              </a:xfrm>
              <a:custGeom>
                <a:avLst/>
                <a:gdLst>
                  <a:gd name="T0" fmla="*/ 50 w 101"/>
                  <a:gd name="T1" fmla="*/ 100 h 101"/>
                  <a:gd name="T2" fmla="*/ 0 w 101"/>
                  <a:gd name="T3" fmla="*/ 50 h 101"/>
                  <a:gd name="T4" fmla="*/ 50 w 101"/>
                  <a:gd name="T5" fmla="*/ 0 h 101"/>
                  <a:gd name="T6" fmla="*/ 100 w 101"/>
                  <a:gd name="T7" fmla="*/ 50 h 101"/>
                  <a:gd name="T8" fmla="*/ 50 w 101"/>
                  <a:gd name="T9" fmla="*/ 10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1" h="101">
                    <a:moveTo>
                      <a:pt x="50" y="100"/>
                    </a:moveTo>
                    <a:cubicBezTo>
                      <a:pt x="23" y="100"/>
                      <a:pt x="0" y="78"/>
                      <a:pt x="0" y="50"/>
                    </a:cubicBezTo>
                    <a:cubicBezTo>
                      <a:pt x="0" y="23"/>
                      <a:pt x="23" y="0"/>
                      <a:pt x="50" y="0"/>
                    </a:cubicBezTo>
                    <a:cubicBezTo>
                      <a:pt x="78" y="0"/>
                      <a:pt x="100" y="23"/>
                      <a:pt x="100" y="50"/>
                    </a:cubicBezTo>
                    <a:cubicBezTo>
                      <a:pt x="101" y="78"/>
                      <a:pt x="78" y="101"/>
                      <a:pt x="50" y="100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430" name="Freeform 21">
                <a:extLst>
                  <a:ext uri="{FF2B5EF4-FFF2-40B4-BE49-F238E27FC236}">
                    <a16:creationId xmlns:a16="http://schemas.microsoft.com/office/drawing/2014/main" id="{AF279CB9-2427-4BD0-84E2-C8FDA16147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01" y="2202"/>
                <a:ext cx="6" cy="7"/>
              </a:xfrm>
              <a:custGeom>
                <a:avLst/>
                <a:gdLst>
                  <a:gd name="T0" fmla="*/ 50 w 101"/>
                  <a:gd name="T1" fmla="*/ 100 h 101"/>
                  <a:gd name="T2" fmla="*/ 0 w 101"/>
                  <a:gd name="T3" fmla="*/ 50 h 101"/>
                  <a:gd name="T4" fmla="*/ 50 w 101"/>
                  <a:gd name="T5" fmla="*/ 0 h 101"/>
                  <a:gd name="T6" fmla="*/ 100 w 101"/>
                  <a:gd name="T7" fmla="*/ 50 h 101"/>
                  <a:gd name="T8" fmla="*/ 50 w 101"/>
                  <a:gd name="T9" fmla="*/ 10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1" h="101">
                    <a:moveTo>
                      <a:pt x="50" y="100"/>
                    </a:moveTo>
                    <a:cubicBezTo>
                      <a:pt x="23" y="100"/>
                      <a:pt x="0" y="78"/>
                      <a:pt x="0" y="50"/>
                    </a:cubicBezTo>
                    <a:cubicBezTo>
                      <a:pt x="0" y="23"/>
                      <a:pt x="23" y="0"/>
                      <a:pt x="50" y="0"/>
                    </a:cubicBezTo>
                    <a:cubicBezTo>
                      <a:pt x="78" y="0"/>
                      <a:pt x="100" y="23"/>
                      <a:pt x="100" y="50"/>
                    </a:cubicBezTo>
                    <a:cubicBezTo>
                      <a:pt x="101" y="78"/>
                      <a:pt x="78" y="101"/>
                      <a:pt x="50" y="100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431" name="Freeform 22">
                <a:extLst>
                  <a:ext uri="{FF2B5EF4-FFF2-40B4-BE49-F238E27FC236}">
                    <a16:creationId xmlns:a16="http://schemas.microsoft.com/office/drawing/2014/main" id="{8CB36A57-4D7D-44EE-8310-32133D9FA2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41" y="2202"/>
                <a:ext cx="6" cy="7"/>
              </a:xfrm>
              <a:custGeom>
                <a:avLst/>
                <a:gdLst>
                  <a:gd name="T0" fmla="*/ 90 w 110"/>
                  <a:gd name="T1" fmla="*/ 91 h 110"/>
                  <a:gd name="T2" fmla="*/ 19 w 110"/>
                  <a:gd name="T3" fmla="*/ 91 h 110"/>
                  <a:gd name="T4" fmla="*/ 19 w 110"/>
                  <a:gd name="T5" fmla="*/ 20 h 110"/>
                  <a:gd name="T6" fmla="*/ 90 w 110"/>
                  <a:gd name="T7" fmla="*/ 20 h 110"/>
                  <a:gd name="T8" fmla="*/ 90 w 110"/>
                  <a:gd name="T9" fmla="*/ 91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110">
                    <a:moveTo>
                      <a:pt x="90" y="91"/>
                    </a:moveTo>
                    <a:cubicBezTo>
                      <a:pt x="70" y="110"/>
                      <a:pt x="39" y="110"/>
                      <a:pt x="19" y="91"/>
                    </a:cubicBezTo>
                    <a:cubicBezTo>
                      <a:pt x="0" y="71"/>
                      <a:pt x="0" y="39"/>
                      <a:pt x="19" y="20"/>
                    </a:cubicBezTo>
                    <a:cubicBezTo>
                      <a:pt x="39" y="0"/>
                      <a:pt x="70" y="0"/>
                      <a:pt x="90" y="20"/>
                    </a:cubicBezTo>
                    <a:cubicBezTo>
                      <a:pt x="110" y="39"/>
                      <a:pt x="110" y="71"/>
                      <a:pt x="90" y="91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432" name="Freeform 23">
                <a:extLst>
                  <a:ext uri="{FF2B5EF4-FFF2-40B4-BE49-F238E27FC236}">
                    <a16:creationId xmlns:a16="http://schemas.microsoft.com/office/drawing/2014/main" id="{A5C7FE29-E43A-4E76-BC5E-B81D50F39A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41" y="2202"/>
                <a:ext cx="6" cy="7"/>
              </a:xfrm>
              <a:custGeom>
                <a:avLst/>
                <a:gdLst>
                  <a:gd name="T0" fmla="*/ 90 w 110"/>
                  <a:gd name="T1" fmla="*/ 91 h 110"/>
                  <a:gd name="T2" fmla="*/ 19 w 110"/>
                  <a:gd name="T3" fmla="*/ 91 h 110"/>
                  <a:gd name="T4" fmla="*/ 19 w 110"/>
                  <a:gd name="T5" fmla="*/ 20 h 110"/>
                  <a:gd name="T6" fmla="*/ 90 w 110"/>
                  <a:gd name="T7" fmla="*/ 20 h 110"/>
                  <a:gd name="T8" fmla="*/ 90 w 110"/>
                  <a:gd name="T9" fmla="*/ 91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110">
                    <a:moveTo>
                      <a:pt x="90" y="91"/>
                    </a:moveTo>
                    <a:cubicBezTo>
                      <a:pt x="70" y="110"/>
                      <a:pt x="39" y="110"/>
                      <a:pt x="19" y="91"/>
                    </a:cubicBezTo>
                    <a:cubicBezTo>
                      <a:pt x="0" y="71"/>
                      <a:pt x="0" y="39"/>
                      <a:pt x="19" y="20"/>
                    </a:cubicBezTo>
                    <a:cubicBezTo>
                      <a:pt x="39" y="0"/>
                      <a:pt x="70" y="0"/>
                      <a:pt x="90" y="20"/>
                    </a:cubicBezTo>
                    <a:cubicBezTo>
                      <a:pt x="110" y="39"/>
                      <a:pt x="110" y="71"/>
                      <a:pt x="90" y="91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433" name="Oval 24">
                <a:extLst>
                  <a:ext uri="{FF2B5EF4-FFF2-40B4-BE49-F238E27FC236}">
                    <a16:creationId xmlns:a16="http://schemas.microsoft.com/office/drawing/2014/main" id="{1142F405-533D-4B9D-995D-32288591EDA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81" y="2203"/>
                <a:ext cx="6" cy="6"/>
              </a:xfrm>
              <a:prstGeom prst="ellipse">
                <a:avLst/>
              </a:pr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434" name="Oval 25">
                <a:extLst>
                  <a:ext uri="{FF2B5EF4-FFF2-40B4-BE49-F238E27FC236}">
                    <a16:creationId xmlns:a16="http://schemas.microsoft.com/office/drawing/2014/main" id="{A17DB6E0-02F4-43D3-8762-B1089227B10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81" y="2203"/>
                <a:ext cx="6" cy="6"/>
              </a:xfrm>
              <a:prstGeom prst="ellipse">
                <a:avLst/>
              </a:pr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435" name="Freeform 26">
                <a:extLst>
                  <a:ext uri="{FF2B5EF4-FFF2-40B4-BE49-F238E27FC236}">
                    <a16:creationId xmlns:a16="http://schemas.microsoft.com/office/drawing/2014/main" id="{871A9893-799E-4692-995C-6C69525D54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21" y="2202"/>
                <a:ext cx="6" cy="7"/>
              </a:xfrm>
              <a:custGeom>
                <a:avLst/>
                <a:gdLst>
                  <a:gd name="T0" fmla="*/ 91 w 111"/>
                  <a:gd name="T1" fmla="*/ 90 h 110"/>
                  <a:gd name="T2" fmla="*/ 20 w 111"/>
                  <a:gd name="T3" fmla="*/ 90 h 110"/>
                  <a:gd name="T4" fmla="*/ 20 w 111"/>
                  <a:gd name="T5" fmla="*/ 19 h 110"/>
                  <a:gd name="T6" fmla="*/ 91 w 111"/>
                  <a:gd name="T7" fmla="*/ 19 h 110"/>
                  <a:gd name="T8" fmla="*/ 91 w 111"/>
                  <a:gd name="T9" fmla="*/ 9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1" h="110">
                    <a:moveTo>
                      <a:pt x="91" y="90"/>
                    </a:moveTo>
                    <a:cubicBezTo>
                      <a:pt x="71" y="110"/>
                      <a:pt x="40" y="110"/>
                      <a:pt x="20" y="90"/>
                    </a:cubicBezTo>
                    <a:cubicBezTo>
                      <a:pt x="0" y="71"/>
                      <a:pt x="0" y="39"/>
                      <a:pt x="20" y="19"/>
                    </a:cubicBezTo>
                    <a:cubicBezTo>
                      <a:pt x="40" y="0"/>
                      <a:pt x="71" y="0"/>
                      <a:pt x="91" y="19"/>
                    </a:cubicBezTo>
                    <a:cubicBezTo>
                      <a:pt x="111" y="39"/>
                      <a:pt x="111" y="71"/>
                      <a:pt x="91" y="90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436" name="Freeform 27">
                <a:extLst>
                  <a:ext uri="{FF2B5EF4-FFF2-40B4-BE49-F238E27FC236}">
                    <a16:creationId xmlns:a16="http://schemas.microsoft.com/office/drawing/2014/main" id="{F097028A-ACE1-4F7A-AC0F-89AF2A2923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21" y="2202"/>
                <a:ext cx="6" cy="7"/>
              </a:xfrm>
              <a:custGeom>
                <a:avLst/>
                <a:gdLst>
                  <a:gd name="T0" fmla="*/ 91 w 111"/>
                  <a:gd name="T1" fmla="*/ 90 h 110"/>
                  <a:gd name="T2" fmla="*/ 20 w 111"/>
                  <a:gd name="T3" fmla="*/ 90 h 110"/>
                  <a:gd name="T4" fmla="*/ 20 w 111"/>
                  <a:gd name="T5" fmla="*/ 19 h 110"/>
                  <a:gd name="T6" fmla="*/ 91 w 111"/>
                  <a:gd name="T7" fmla="*/ 19 h 110"/>
                  <a:gd name="T8" fmla="*/ 91 w 111"/>
                  <a:gd name="T9" fmla="*/ 9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1" h="110">
                    <a:moveTo>
                      <a:pt x="91" y="90"/>
                    </a:moveTo>
                    <a:cubicBezTo>
                      <a:pt x="71" y="110"/>
                      <a:pt x="40" y="110"/>
                      <a:pt x="20" y="90"/>
                    </a:cubicBezTo>
                    <a:cubicBezTo>
                      <a:pt x="0" y="71"/>
                      <a:pt x="0" y="39"/>
                      <a:pt x="20" y="19"/>
                    </a:cubicBezTo>
                    <a:cubicBezTo>
                      <a:pt x="40" y="0"/>
                      <a:pt x="71" y="0"/>
                      <a:pt x="91" y="19"/>
                    </a:cubicBezTo>
                    <a:cubicBezTo>
                      <a:pt x="111" y="39"/>
                      <a:pt x="111" y="71"/>
                      <a:pt x="91" y="90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437" name="Freeform 28">
                <a:extLst>
                  <a:ext uri="{FF2B5EF4-FFF2-40B4-BE49-F238E27FC236}">
                    <a16:creationId xmlns:a16="http://schemas.microsoft.com/office/drawing/2014/main" id="{CF91FB1D-AF55-4147-9810-1672A0062C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61" y="2202"/>
                <a:ext cx="7" cy="7"/>
              </a:xfrm>
              <a:custGeom>
                <a:avLst/>
                <a:gdLst>
                  <a:gd name="T0" fmla="*/ 90 w 110"/>
                  <a:gd name="T1" fmla="*/ 90 h 110"/>
                  <a:gd name="T2" fmla="*/ 19 w 110"/>
                  <a:gd name="T3" fmla="*/ 90 h 110"/>
                  <a:gd name="T4" fmla="*/ 19 w 110"/>
                  <a:gd name="T5" fmla="*/ 19 h 110"/>
                  <a:gd name="T6" fmla="*/ 90 w 110"/>
                  <a:gd name="T7" fmla="*/ 19 h 110"/>
                  <a:gd name="T8" fmla="*/ 90 w 110"/>
                  <a:gd name="T9" fmla="*/ 9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110">
                    <a:moveTo>
                      <a:pt x="90" y="90"/>
                    </a:moveTo>
                    <a:cubicBezTo>
                      <a:pt x="71" y="110"/>
                      <a:pt x="39" y="110"/>
                      <a:pt x="19" y="90"/>
                    </a:cubicBezTo>
                    <a:cubicBezTo>
                      <a:pt x="0" y="71"/>
                      <a:pt x="0" y="39"/>
                      <a:pt x="19" y="19"/>
                    </a:cubicBezTo>
                    <a:cubicBezTo>
                      <a:pt x="39" y="0"/>
                      <a:pt x="71" y="0"/>
                      <a:pt x="90" y="19"/>
                    </a:cubicBezTo>
                    <a:cubicBezTo>
                      <a:pt x="110" y="39"/>
                      <a:pt x="110" y="71"/>
                      <a:pt x="90" y="90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438" name="Freeform 29">
                <a:extLst>
                  <a:ext uri="{FF2B5EF4-FFF2-40B4-BE49-F238E27FC236}">
                    <a16:creationId xmlns:a16="http://schemas.microsoft.com/office/drawing/2014/main" id="{EA76C4DD-6960-43C1-BC48-4B2AA5271C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61" y="2202"/>
                <a:ext cx="7" cy="7"/>
              </a:xfrm>
              <a:custGeom>
                <a:avLst/>
                <a:gdLst>
                  <a:gd name="T0" fmla="*/ 90 w 110"/>
                  <a:gd name="T1" fmla="*/ 90 h 110"/>
                  <a:gd name="T2" fmla="*/ 19 w 110"/>
                  <a:gd name="T3" fmla="*/ 90 h 110"/>
                  <a:gd name="T4" fmla="*/ 19 w 110"/>
                  <a:gd name="T5" fmla="*/ 19 h 110"/>
                  <a:gd name="T6" fmla="*/ 90 w 110"/>
                  <a:gd name="T7" fmla="*/ 19 h 110"/>
                  <a:gd name="T8" fmla="*/ 90 w 110"/>
                  <a:gd name="T9" fmla="*/ 9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110">
                    <a:moveTo>
                      <a:pt x="90" y="90"/>
                    </a:moveTo>
                    <a:cubicBezTo>
                      <a:pt x="71" y="110"/>
                      <a:pt x="39" y="110"/>
                      <a:pt x="19" y="90"/>
                    </a:cubicBezTo>
                    <a:cubicBezTo>
                      <a:pt x="0" y="71"/>
                      <a:pt x="0" y="39"/>
                      <a:pt x="19" y="19"/>
                    </a:cubicBezTo>
                    <a:cubicBezTo>
                      <a:pt x="39" y="0"/>
                      <a:pt x="71" y="0"/>
                      <a:pt x="90" y="19"/>
                    </a:cubicBezTo>
                    <a:cubicBezTo>
                      <a:pt x="110" y="39"/>
                      <a:pt x="110" y="71"/>
                      <a:pt x="90" y="90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439" name="Freeform 30">
                <a:extLst>
                  <a:ext uri="{FF2B5EF4-FFF2-40B4-BE49-F238E27FC236}">
                    <a16:creationId xmlns:a16="http://schemas.microsoft.com/office/drawing/2014/main" id="{79FABBA0-BAF1-4950-8A39-618F15BD6F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01" y="2203"/>
                <a:ext cx="6" cy="6"/>
              </a:xfrm>
              <a:custGeom>
                <a:avLst/>
                <a:gdLst>
                  <a:gd name="T0" fmla="*/ 50 w 100"/>
                  <a:gd name="T1" fmla="*/ 100 h 100"/>
                  <a:gd name="T2" fmla="*/ 0 w 100"/>
                  <a:gd name="T3" fmla="*/ 50 h 100"/>
                  <a:gd name="T4" fmla="*/ 50 w 100"/>
                  <a:gd name="T5" fmla="*/ 0 h 100"/>
                  <a:gd name="T6" fmla="*/ 100 w 100"/>
                  <a:gd name="T7" fmla="*/ 50 h 100"/>
                  <a:gd name="T8" fmla="*/ 50 w 100"/>
                  <a:gd name="T9" fmla="*/ 10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0" h="100">
                    <a:moveTo>
                      <a:pt x="50" y="100"/>
                    </a:moveTo>
                    <a:cubicBezTo>
                      <a:pt x="23" y="100"/>
                      <a:pt x="0" y="77"/>
                      <a:pt x="0" y="50"/>
                    </a:cubicBezTo>
                    <a:cubicBezTo>
                      <a:pt x="0" y="22"/>
                      <a:pt x="23" y="0"/>
                      <a:pt x="50" y="0"/>
                    </a:cubicBezTo>
                    <a:cubicBezTo>
                      <a:pt x="77" y="0"/>
                      <a:pt x="100" y="22"/>
                      <a:pt x="100" y="50"/>
                    </a:cubicBezTo>
                    <a:cubicBezTo>
                      <a:pt x="100" y="77"/>
                      <a:pt x="78" y="99"/>
                      <a:pt x="50" y="100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440" name="Freeform 31">
                <a:extLst>
                  <a:ext uri="{FF2B5EF4-FFF2-40B4-BE49-F238E27FC236}">
                    <a16:creationId xmlns:a16="http://schemas.microsoft.com/office/drawing/2014/main" id="{18FF4F25-7877-45E6-9348-3506A678D1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01" y="2203"/>
                <a:ext cx="6" cy="6"/>
              </a:xfrm>
              <a:custGeom>
                <a:avLst/>
                <a:gdLst>
                  <a:gd name="T0" fmla="*/ 50 w 100"/>
                  <a:gd name="T1" fmla="*/ 100 h 100"/>
                  <a:gd name="T2" fmla="*/ 0 w 100"/>
                  <a:gd name="T3" fmla="*/ 50 h 100"/>
                  <a:gd name="T4" fmla="*/ 50 w 100"/>
                  <a:gd name="T5" fmla="*/ 0 h 100"/>
                  <a:gd name="T6" fmla="*/ 100 w 100"/>
                  <a:gd name="T7" fmla="*/ 50 h 100"/>
                  <a:gd name="T8" fmla="*/ 50 w 100"/>
                  <a:gd name="T9" fmla="*/ 10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0" h="100">
                    <a:moveTo>
                      <a:pt x="50" y="100"/>
                    </a:moveTo>
                    <a:cubicBezTo>
                      <a:pt x="23" y="100"/>
                      <a:pt x="0" y="77"/>
                      <a:pt x="0" y="50"/>
                    </a:cubicBezTo>
                    <a:cubicBezTo>
                      <a:pt x="0" y="22"/>
                      <a:pt x="23" y="0"/>
                      <a:pt x="50" y="0"/>
                    </a:cubicBezTo>
                    <a:cubicBezTo>
                      <a:pt x="77" y="0"/>
                      <a:pt x="100" y="22"/>
                      <a:pt x="100" y="50"/>
                    </a:cubicBezTo>
                    <a:cubicBezTo>
                      <a:pt x="100" y="77"/>
                      <a:pt x="78" y="99"/>
                      <a:pt x="50" y="100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441" name="Freeform 32">
                <a:extLst>
                  <a:ext uri="{FF2B5EF4-FFF2-40B4-BE49-F238E27FC236}">
                    <a16:creationId xmlns:a16="http://schemas.microsoft.com/office/drawing/2014/main" id="{9EB79AC8-9F58-4680-B418-6100147749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41" y="2202"/>
                <a:ext cx="7" cy="7"/>
              </a:xfrm>
              <a:custGeom>
                <a:avLst/>
                <a:gdLst>
                  <a:gd name="T0" fmla="*/ 90 w 110"/>
                  <a:gd name="T1" fmla="*/ 91 h 110"/>
                  <a:gd name="T2" fmla="*/ 19 w 110"/>
                  <a:gd name="T3" fmla="*/ 91 h 110"/>
                  <a:gd name="T4" fmla="*/ 19 w 110"/>
                  <a:gd name="T5" fmla="*/ 20 h 110"/>
                  <a:gd name="T6" fmla="*/ 90 w 110"/>
                  <a:gd name="T7" fmla="*/ 20 h 110"/>
                  <a:gd name="T8" fmla="*/ 90 w 110"/>
                  <a:gd name="T9" fmla="*/ 91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110">
                    <a:moveTo>
                      <a:pt x="90" y="91"/>
                    </a:moveTo>
                    <a:cubicBezTo>
                      <a:pt x="70" y="110"/>
                      <a:pt x="39" y="110"/>
                      <a:pt x="19" y="91"/>
                    </a:cubicBezTo>
                    <a:cubicBezTo>
                      <a:pt x="0" y="71"/>
                      <a:pt x="0" y="39"/>
                      <a:pt x="19" y="20"/>
                    </a:cubicBezTo>
                    <a:cubicBezTo>
                      <a:pt x="39" y="0"/>
                      <a:pt x="70" y="0"/>
                      <a:pt x="90" y="20"/>
                    </a:cubicBezTo>
                    <a:cubicBezTo>
                      <a:pt x="110" y="39"/>
                      <a:pt x="110" y="71"/>
                      <a:pt x="90" y="91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442" name="Freeform 33">
                <a:extLst>
                  <a:ext uri="{FF2B5EF4-FFF2-40B4-BE49-F238E27FC236}">
                    <a16:creationId xmlns:a16="http://schemas.microsoft.com/office/drawing/2014/main" id="{3C2CE020-B4A3-43A8-9EBF-B8C8DB95D5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41" y="2202"/>
                <a:ext cx="7" cy="7"/>
              </a:xfrm>
              <a:custGeom>
                <a:avLst/>
                <a:gdLst>
                  <a:gd name="T0" fmla="*/ 90 w 110"/>
                  <a:gd name="T1" fmla="*/ 91 h 110"/>
                  <a:gd name="T2" fmla="*/ 19 w 110"/>
                  <a:gd name="T3" fmla="*/ 91 h 110"/>
                  <a:gd name="T4" fmla="*/ 19 w 110"/>
                  <a:gd name="T5" fmla="*/ 20 h 110"/>
                  <a:gd name="T6" fmla="*/ 90 w 110"/>
                  <a:gd name="T7" fmla="*/ 20 h 110"/>
                  <a:gd name="T8" fmla="*/ 90 w 110"/>
                  <a:gd name="T9" fmla="*/ 91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110">
                    <a:moveTo>
                      <a:pt x="90" y="91"/>
                    </a:moveTo>
                    <a:cubicBezTo>
                      <a:pt x="70" y="110"/>
                      <a:pt x="39" y="110"/>
                      <a:pt x="19" y="91"/>
                    </a:cubicBezTo>
                    <a:cubicBezTo>
                      <a:pt x="0" y="71"/>
                      <a:pt x="0" y="39"/>
                      <a:pt x="19" y="20"/>
                    </a:cubicBezTo>
                    <a:cubicBezTo>
                      <a:pt x="39" y="0"/>
                      <a:pt x="70" y="0"/>
                      <a:pt x="90" y="20"/>
                    </a:cubicBezTo>
                    <a:cubicBezTo>
                      <a:pt x="110" y="39"/>
                      <a:pt x="110" y="71"/>
                      <a:pt x="90" y="91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443" name="Freeform 34">
                <a:extLst>
                  <a:ext uri="{FF2B5EF4-FFF2-40B4-BE49-F238E27FC236}">
                    <a16:creationId xmlns:a16="http://schemas.microsoft.com/office/drawing/2014/main" id="{B46B2C01-A338-4B75-B0FB-A0ACEF530A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81" y="2202"/>
                <a:ext cx="7" cy="7"/>
              </a:xfrm>
              <a:custGeom>
                <a:avLst/>
                <a:gdLst>
                  <a:gd name="T0" fmla="*/ 90 w 110"/>
                  <a:gd name="T1" fmla="*/ 91 h 110"/>
                  <a:gd name="T2" fmla="*/ 19 w 110"/>
                  <a:gd name="T3" fmla="*/ 91 h 110"/>
                  <a:gd name="T4" fmla="*/ 19 w 110"/>
                  <a:gd name="T5" fmla="*/ 20 h 110"/>
                  <a:gd name="T6" fmla="*/ 90 w 110"/>
                  <a:gd name="T7" fmla="*/ 20 h 110"/>
                  <a:gd name="T8" fmla="*/ 90 w 110"/>
                  <a:gd name="T9" fmla="*/ 91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110">
                    <a:moveTo>
                      <a:pt x="90" y="91"/>
                    </a:moveTo>
                    <a:cubicBezTo>
                      <a:pt x="71" y="110"/>
                      <a:pt x="39" y="110"/>
                      <a:pt x="19" y="91"/>
                    </a:cubicBezTo>
                    <a:cubicBezTo>
                      <a:pt x="0" y="71"/>
                      <a:pt x="0" y="39"/>
                      <a:pt x="19" y="20"/>
                    </a:cubicBezTo>
                    <a:cubicBezTo>
                      <a:pt x="39" y="0"/>
                      <a:pt x="71" y="0"/>
                      <a:pt x="90" y="20"/>
                    </a:cubicBezTo>
                    <a:cubicBezTo>
                      <a:pt x="110" y="39"/>
                      <a:pt x="110" y="71"/>
                      <a:pt x="90" y="91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444" name="Freeform 35">
                <a:extLst>
                  <a:ext uri="{FF2B5EF4-FFF2-40B4-BE49-F238E27FC236}">
                    <a16:creationId xmlns:a16="http://schemas.microsoft.com/office/drawing/2014/main" id="{0D0713B4-B800-432D-97FB-6908733A97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81" y="2202"/>
                <a:ext cx="7" cy="7"/>
              </a:xfrm>
              <a:custGeom>
                <a:avLst/>
                <a:gdLst>
                  <a:gd name="T0" fmla="*/ 90 w 110"/>
                  <a:gd name="T1" fmla="*/ 91 h 110"/>
                  <a:gd name="T2" fmla="*/ 19 w 110"/>
                  <a:gd name="T3" fmla="*/ 91 h 110"/>
                  <a:gd name="T4" fmla="*/ 19 w 110"/>
                  <a:gd name="T5" fmla="*/ 20 h 110"/>
                  <a:gd name="T6" fmla="*/ 90 w 110"/>
                  <a:gd name="T7" fmla="*/ 20 h 110"/>
                  <a:gd name="T8" fmla="*/ 90 w 110"/>
                  <a:gd name="T9" fmla="*/ 91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110">
                    <a:moveTo>
                      <a:pt x="90" y="91"/>
                    </a:moveTo>
                    <a:cubicBezTo>
                      <a:pt x="71" y="110"/>
                      <a:pt x="39" y="110"/>
                      <a:pt x="19" y="91"/>
                    </a:cubicBezTo>
                    <a:cubicBezTo>
                      <a:pt x="0" y="71"/>
                      <a:pt x="0" y="39"/>
                      <a:pt x="19" y="20"/>
                    </a:cubicBezTo>
                    <a:cubicBezTo>
                      <a:pt x="39" y="0"/>
                      <a:pt x="71" y="0"/>
                      <a:pt x="90" y="20"/>
                    </a:cubicBezTo>
                    <a:cubicBezTo>
                      <a:pt x="110" y="39"/>
                      <a:pt x="110" y="71"/>
                      <a:pt x="90" y="91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445" name="Freeform 36">
                <a:extLst>
                  <a:ext uri="{FF2B5EF4-FFF2-40B4-BE49-F238E27FC236}">
                    <a16:creationId xmlns:a16="http://schemas.microsoft.com/office/drawing/2014/main" id="{789531D0-72DB-4131-9EDF-FCA374D319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22" y="2202"/>
                <a:ext cx="6" cy="7"/>
              </a:xfrm>
              <a:custGeom>
                <a:avLst/>
                <a:gdLst>
                  <a:gd name="T0" fmla="*/ 50 w 101"/>
                  <a:gd name="T1" fmla="*/ 100 h 101"/>
                  <a:gd name="T2" fmla="*/ 0 w 101"/>
                  <a:gd name="T3" fmla="*/ 50 h 101"/>
                  <a:gd name="T4" fmla="*/ 50 w 101"/>
                  <a:gd name="T5" fmla="*/ 0 h 101"/>
                  <a:gd name="T6" fmla="*/ 100 w 101"/>
                  <a:gd name="T7" fmla="*/ 50 h 101"/>
                  <a:gd name="T8" fmla="*/ 50 w 101"/>
                  <a:gd name="T9" fmla="*/ 10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1" h="101">
                    <a:moveTo>
                      <a:pt x="50" y="100"/>
                    </a:moveTo>
                    <a:cubicBezTo>
                      <a:pt x="23" y="100"/>
                      <a:pt x="0" y="78"/>
                      <a:pt x="0" y="50"/>
                    </a:cubicBezTo>
                    <a:cubicBezTo>
                      <a:pt x="0" y="23"/>
                      <a:pt x="23" y="0"/>
                      <a:pt x="50" y="0"/>
                    </a:cubicBezTo>
                    <a:cubicBezTo>
                      <a:pt x="77" y="0"/>
                      <a:pt x="100" y="23"/>
                      <a:pt x="100" y="50"/>
                    </a:cubicBezTo>
                    <a:cubicBezTo>
                      <a:pt x="101" y="78"/>
                      <a:pt x="78" y="101"/>
                      <a:pt x="50" y="100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446" name="Freeform 37">
                <a:extLst>
                  <a:ext uri="{FF2B5EF4-FFF2-40B4-BE49-F238E27FC236}">
                    <a16:creationId xmlns:a16="http://schemas.microsoft.com/office/drawing/2014/main" id="{CB264A1F-4791-479B-8E0F-5577EEBA50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22" y="2202"/>
                <a:ext cx="6" cy="7"/>
              </a:xfrm>
              <a:custGeom>
                <a:avLst/>
                <a:gdLst>
                  <a:gd name="T0" fmla="*/ 50 w 101"/>
                  <a:gd name="T1" fmla="*/ 100 h 101"/>
                  <a:gd name="T2" fmla="*/ 0 w 101"/>
                  <a:gd name="T3" fmla="*/ 50 h 101"/>
                  <a:gd name="T4" fmla="*/ 50 w 101"/>
                  <a:gd name="T5" fmla="*/ 0 h 101"/>
                  <a:gd name="T6" fmla="*/ 100 w 101"/>
                  <a:gd name="T7" fmla="*/ 50 h 101"/>
                  <a:gd name="T8" fmla="*/ 50 w 101"/>
                  <a:gd name="T9" fmla="*/ 10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1" h="101">
                    <a:moveTo>
                      <a:pt x="50" y="100"/>
                    </a:moveTo>
                    <a:cubicBezTo>
                      <a:pt x="23" y="100"/>
                      <a:pt x="0" y="78"/>
                      <a:pt x="0" y="50"/>
                    </a:cubicBezTo>
                    <a:cubicBezTo>
                      <a:pt x="0" y="23"/>
                      <a:pt x="23" y="0"/>
                      <a:pt x="50" y="0"/>
                    </a:cubicBezTo>
                    <a:cubicBezTo>
                      <a:pt x="77" y="0"/>
                      <a:pt x="100" y="23"/>
                      <a:pt x="100" y="50"/>
                    </a:cubicBezTo>
                    <a:cubicBezTo>
                      <a:pt x="101" y="78"/>
                      <a:pt x="78" y="101"/>
                      <a:pt x="50" y="100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447" name="Freeform 38">
                <a:extLst>
                  <a:ext uri="{FF2B5EF4-FFF2-40B4-BE49-F238E27FC236}">
                    <a16:creationId xmlns:a16="http://schemas.microsoft.com/office/drawing/2014/main" id="{2830328F-4A9B-4D40-A021-938A011854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61" y="2202"/>
                <a:ext cx="7" cy="7"/>
              </a:xfrm>
              <a:custGeom>
                <a:avLst/>
                <a:gdLst>
                  <a:gd name="T0" fmla="*/ 91 w 110"/>
                  <a:gd name="T1" fmla="*/ 91 h 110"/>
                  <a:gd name="T2" fmla="*/ 20 w 110"/>
                  <a:gd name="T3" fmla="*/ 91 h 110"/>
                  <a:gd name="T4" fmla="*/ 20 w 110"/>
                  <a:gd name="T5" fmla="*/ 20 h 110"/>
                  <a:gd name="T6" fmla="*/ 91 w 110"/>
                  <a:gd name="T7" fmla="*/ 20 h 110"/>
                  <a:gd name="T8" fmla="*/ 91 w 110"/>
                  <a:gd name="T9" fmla="*/ 91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110">
                    <a:moveTo>
                      <a:pt x="91" y="91"/>
                    </a:moveTo>
                    <a:cubicBezTo>
                      <a:pt x="71" y="110"/>
                      <a:pt x="39" y="110"/>
                      <a:pt x="20" y="91"/>
                    </a:cubicBezTo>
                    <a:cubicBezTo>
                      <a:pt x="0" y="71"/>
                      <a:pt x="0" y="39"/>
                      <a:pt x="20" y="20"/>
                    </a:cubicBezTo>
                    <a:cubicBezTo>
                      <a:pt x="39" y="0"/>
                      <a:pt x="71" y="0"/>
                      <a:pt x="91" y="20"/>
                    </a:cubicBezTo>
                    <a:cubicBezTo>
                      <a:pt x="110" y="39"/>
                      <a:pt x="110" y="71"/>
                      <a:pt x="91" y="91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448" name="Freeform 39">
                <a:extLst>
                  <a:ext uri="{FF2B5EF4-FFF2-40B4-BE49-F238E27FC236}">
                    <a16:creationId xmlns:a16="http://schemas.microsoft.com/office/drawing/2014/main" id="{D7B6F282-6F4E-45A8-BF2D-58E4ED6127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61" y="2202"/>
                <a:ext cx="7" cy="7"/>
              </a:xfrm>
              <a:custGeom>
                <a:avLst/>
                <a:gdLst>
                  <a:gd name="T0" fmla="*/ 91 w 110"/>
                  <a:gd name="T1" fmla="*/ 91 h 110"/>
                  <a:gd name="T2" fmla="*/ 20 w 110"/>
                  <a:gd name="T3" fmla="*/ 91 h 110"/>
                  <a:gd name="T4" fmla="*/ 20 w 110"/>
                  <a:gd name="T5" fmla="*/ 20 h 110"/>
                  <a:gd name="T6" fmla="*/ 91 w 110"/>
                  <a:gd name="T7" fmla="*/ 20 h 110"/>
                  <a:gd name="T8" fmla="*/ 91 w 110"/>
                  <a:gd name="T9" fmla="*/ 91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110">
                    <a:moveTo>
                      <a:pt x="91" y="91"/>
                    </a:moveTo>
                    <a:cubicBezTo>
                      <a:pt x="71" y="110"/>
                      <a:pt x="39" y="110"/>
                      <a:pt x="20" y="91"/>
                    </a:cubicBezTo>
                    <a:cubicBezTo>
                      <a:pt x="0" y="71"/>
                      <a:pt x="0" y="39"/>
                      <a:pt x="20" y="20"/>
                    </a:cubicBezTo>
                    <a:cubicBezTo>
                      <a:pt x="39" y="0"/>
                      <a:pt x="71" y="0"/>
                      <a:pt x="91" y="20"/>
                    </a:cubicBezTo>
                    <a:cubicBezTo>
                      <a:pt x="110" y="39"/>
                      <a:pt x="110" y="71"/>
                      <a:pt x="91" y="91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449" name="Freeform 40">
                <a:extLst>
                  <a:ext uri="{FF2B5EF4-FFF2-40B4-BE49-F238E27FC236}">
                    <a16:creationId xmlns:a16="http://schemas.microsoft.com/office/drawing/2014/main" id="{21ADDC40-F232-4117-B110-550846ED8F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02" y="2202"/>
                <a:ext cx="6" cy="7"/>
              </a:xfrm>
              <a:custGeom>
                <a:avLst/>
                <a:gdLst>
                  <a:gd name="T0" fmla="*/ 91 w 111"/>
                  <a:gd name="T1" fmla="*/ 91 h 110"/>
                  <a:gd name="T2" fmla="*/ 20 w 111"/>
                  <a:gd name="T3" fmla="*/ 91 h 110"/>
                  <a:gd name="T4" fmla="*/ 20 w 111"/>
                  <a:gd name="T5" fmla="*/ 20 h 110"/>
                  <a:gd name="T6" fmla="*/ 91 w 111"/>
                  <a:gd name="T7" fmla="*/ 20 h 110"/>
                  <a:gd name="T8" fmla="*/ 91 w 111"/>
                  <a:gd name="T9" fmla="*/ 91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1" h="110">
                    <a:moveTo>
                      <a:pt x="91" y="91"/>
                    </a:moveTo>
                    <a:cubicBezTo>
                      <a:pt x="71" y="110"/>
                      <a:pt x="40" y="110"/>
                      <a:pt x="20" y="91"/>
                    </a:cubicBezTo>
                    <a:cubicBezTo>
                      <a:pt x="0" y="71"/>
                      <a:pt x="0" y="39"/>
                      <a:pt x="20" y="20"/>
                    </a:cubicBezTo>
                    <a:cubicBezTo>
                      <a:pt x="40" y="0"/>
                      <a:pt x="71" y="0"/>
                      <a:pt x="91" y="20"/>
                    </a:cubicBezTo>
                    <a:cubicBezTo>
                      <a:pt x="111" y="39"/>
                      <a:pt x="111" y="71"/>
                      <a:pt x="91" y="91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450" name="Freeform 41">
                <a:extLst>
                  <a:ext uri="{FF2B5EF4-FFF2-40B4-BE49-F238E27FC236}">
                    <a16:creationId xmlns:a16="http://schemas.microsoft.com/office/drawing/2014/main" id="{3C9B851E-42B2-407B-AA46-3283E4CBF2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02" y="2202"/>
                <a:ext cx="6" cy="7"/>
              </a:xfrm>
              <a:custGeom>
                <a:avLst/>
                <a:gdLst>
                  <a:gd name="T0" fmla="*/ 91 w 111"/>
                  <a:gd name="T1" fmla="*/ 91 h 110"/>
                  <a:gd name="T2" fmla="*/ 20 w 111"/>
                  <a:gd name="T3" fmla="*/ 91 h 110"/>
                  <a:gd name="T4" fmla="*/ 20 w 111"/>
                  <a:gd name="T5" fmla="*/ 20 h 110"/>
                  <a:gd name="T6" fmla="*/ 91 w 111"/>
                  <a:gd name="T7" fmla="*/ 20 h 110"/>
                  <a:gd name="T8" fmla="*/ 91 w 111"/>
                  <a:gd name="T9" fmla="*/ 91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1" h="110">
                    <a:moveTo>
                      <a:pt x="91" y="91"/>
                    </a:moveTo>
                    <a:cubicBezTo>
                      <a:pt x="71" y="110"/>
                      <a:pt x="40" y="110"/>
                      <a:pt x="20" y="91"/>
                    </a:cubicBezTo>
                    <a:cubicBezTo>
                      <a:pt x="0" y="71"/>
                      <a:pt x="0" y="39"/>
                      <a:pt x="20" y="20"/>
                    </a:cubicBezTo>
                    <a:cubicBezTo>
                      <a:pt x="40" y="0"/>
                      <a:pt x="71" y="0"/>
                      <a:pt x="91" y="20"/>
                    </a:cubicBezTo>
                    <a:cubicBezTo>
                      <a:pt x="111" y="39"/>
                      <a:pt x="111" y="71"/>
                      <a:pt x="91" y="91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451" name="Freeform 42">
                <a:extLst>
                  <a:ext uri="{FF2B5EF4-FFF2-40B4-BE49-F238E27FC236}">
                    <a16:creationId xmlns:a16="http://schemas.microsoft.com/office/drawing/2014/main" id="{CA3527DF-CE81-4FE1-9D5D-30AE796B7F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42" y="2202"/>
                <a:ext cx="6" cy="7"/>
              </a:xfrm>
              <a:custGeom>
                <a:avLst/>
                <a:gdLst>
                  <a:gd name="T0" fmla="*/ 50 w 100"/>
                  <a:gd name="T1" fmla="*/ 101 h 101"/>
                  <a:gd name="T2" fmla="*/ 0 w 100"/>
                  <a:gd name="T3" fmla="*/ 51 h 101"/>
                  <a:gd name="T4" fmla="*/ 50 w 100"/>
                  <a:gd name="T5" fmla="*/ 1 h 101"/>
                  <a:gd name="T6" fmla="*/ 100 w 100"/>
                  <a:gd name="T7" fmla="*/ 51 h 101"/>
                  <a:gd name="T8" fmla="*/ 50 w 100"/>
                  <a:gd name="T9" fmla="*/ 101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0" h="101">
                    <a:moveTo>
                      <a:pt x="50" y="101"/>
                    </a:moveTo>
                    <a:cubicBezTo>
                      <a:pt x="23" y="101"/>
                      <a:pt x="0" y="78"/>
                      <a:pt x="0" y="51"/>
                    </a:cubicBezTo>
                    <a:cubicBezTo>
                      <a:pt x="0" y="23"/>
                      <a:pt x="23" y="1"/>
                      <a:pt x="50" y="1"/>
                    </a:cubicBezTo>
                    <a:cubicBezTo>
                      <a:pt x="78" y="0"/>
                      <a:pt x="100" y="23"/>
                      <a:pt x="100" y="51"/>
                    </a:cubicBezTo>
                    <a:cubicBezTo>
                      <a:pt x="100" y="78"/>
                      <a:pt x="78" y="101"/>
                      <a:pt x="50" y="101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452" name="Freeform 43">
                <a:extLst>
                  <a:ext uri="{FF2B5EF4-FFF2-40B4-BE49-F238E27FC236}">
                    <a16:creationId xmlns:a16="http://schemas.microsoft.com/office/drawing/2014/main" id="{BF665224-8A47-4CE0-A074-701A57D34A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42" y="2202"/>
                <a:ext cx="6" cy="7"/>
              </a:xfrm>
              <a:custGeom>
                <a:avLst/>
                <a:gdLst>
                  <a:gd name="T0" fmla="*/ 50 w 100"/>
                  <a:gd name="T1" fmla="*/ 101 h 101"/>
                  <a:gd name="T2" fmla="*/ 0 w 100"/>
                  <a:gd name="T3" fmla="*/ 51 h 101"/>
                  <a:gd name="T4" fmla="*/ 50 w 100"/>
                  <a:gd name="T5" fmla="*/ 1 h 101"/>
                  <a:gd name="T6" fmla="*/ 100 w 100"/>
                  <a:gd name="T7" fmla="*/ 51 h 101"/>
                  <a:gd name="T8" fmla="*/ 50 w 100"/>
                  <a:gd name="T9" fmla="*/ 101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0" h="101">
                    <a:moveTo>
                      <a:pt x="50" y="101"/>
                    </a:moveTo>
                    <a:cubicBezTo>
                      <a:pt x="23" y="101"/>
                      <a:pt x="0" y="78"/>
                      <a:pt x="0" y="51"/>
                    </a:cubicBezTo>
                    <a:cubicBezTo>
                      <a:pt x="0" y="23"/>
                      <a:pt x="23" y="1"/>
                      <a:pt x="50" y="1"/>
                    </a:cubicBezTo>
                    <a:cubicBezTo>
                      <a:pt x="78" y="0"/>
                      <a:pt x="100" y="23"/>
                      <a:pt x="100" y="51"/>
                    </a:cubicBezTo>
                    <a:cubicBezTo>
                      <a:pt x="100" y="78"/>
                      <a:pt x="78" y="101"/>
                      <a:pt x="50" y="101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453" name="Freeform 44">
                <a:extLst>
                  <a:ext uri="{FF2B5EF4-FFF2-40B4-BE49-F238E27FC236}">
                    <a16:creationId xmlns:a16="http://schemas.microsoft.com/office/drawing/2014/main" id="{1FA15720-DCBD-4475-A14D-3BE753E9F8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82" y="2202"/>
                <a:ext cx="6" cy="7"/>
              </a:xfrm>
              <a:custGeom>
                <a:avLst/>
                <a:gdLst>
                  <a:gd name="T0" fmla="*/ 91 w 110"/>
                  <a:gd name="T1" fmla="*/ 90 h 110"/>
                  <a:gd name="T2" fmla="*/ 20 w 110"/>
                  <a:gd name="T3" fmla="*/ 90 h 110"/>
                  <a:gd name="T4" fmla="*/ 20 w 110"/>
                  <a:gd name="T5" fmla="*/ 19 h 110"/>
                  <a:gd name="T6" fmla="*/ 91 w 110"/>
                  <a:gd name="T7" fmla="*/ 19 h 110"/>
                  <a:gd name="T8" fmla="*/ 91 w 110"/>
                  <a:gd name="T9" fmla="*/ 9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110">
                    <a:moveTo>
                      <a:pt x="91" y="90"/>
                    </a:moveTo>
                    <a:cubicBezTo>
                      <a:pt x="71" y="110"/>
                      <a:pt x="40" y="110"/>
                      <a:pt x="20" y="90"/>
                    </a:cubicBezTo>
                    <a:cubicBezTo>
                      <a:pt x="0" y="70"/>
                      <a:pt x="0" y="39"/>
                      <a:pt x="20" y="19"/>
                    </a:cubicBezTo>
                    <a:cubicBezTo>
                      <a:pt x="40" y="0"/>
                      <a:pt x="71" y="0"/>
                      <a:pt x="91" y="19"/>
                    </a:cubicBezTo>
                    <a:cubicBezTo>
                      <a:pt x="110" y="39"/>
                      <a:pt x="110" y="70"/>
                      <a:pt x="91" y="90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454" name="Freeform 45">
                <a:extLst>
                  <a:ext uri="{FF2B5EF4-FFF2-40B4-BE49-F238E27FC236}">
                    <a16:creationId xmlns:a16="http://schemas.microsoft.com/office/drawing/2014/main" id="{BF4DA12B-F88A-455B-BB6B-FBD89174C0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82" y="2202"/>
                <a:ext cx="6" cy="7"/>
              </a:xfrm>
              <a:custGeom>
                <a:avLst/>
                <a:gdLst>
                  <a:gd name="T0" fmla="*/ 91 w 110"/>
                  <a:gd name="T1" fmla="*/ 90 h 110"/>
                  <a:gd name="T2" fmla="*/ 20 w 110"/>
                  <a:gd name="T3" fmla="*/ 90 h 110"/>
                  <a:gd name="T4" fmla="*/ 20 w 110"/>
                  <a:gd name="T5" fmla="*/ 19 h 110"/>
                  <a:gd name="T6" fmla="*/ 91 w 110"/>
                  <a:gd name="T7" fmla="*/ 19 h 110"/>
                  <a:gd name="T8" fmla="*/ 91 w 110"/>
                  <a:gd name="T9" fmla="*/ 9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110">
                    <a:moveTo>
                      <a:pt x="91" y="90"/>
                    </a:moveTo>
                    <a:cubicBezTo>
                      <a:pt x="71" y="110"/>
                      <a:pt x="40" y="110"/>
                      <a:pt x="20" y="90"/>
                    </a:cubicBezTo>
                    <a:cubicBezTo>
                      <a:pt x="0" y="70"/>
                      <a:pt x="0" y="39"/>
                      <a:pt x="20" y="19"/>
                    </a:cubicBezTo>
                    <a:cubicBezTo>
                      <a:pt x="40" y="0"/>
                      <a:pt x="71" y="0"/>
                      <a:pt x="91" y="19"/>
                    </a:cubicBezTo>
                    <a:cubicBezTo>
                      <a:pt x="110" y="39"/>
                      <a:pt x="110" y="70"/>
                      <a:pt x="91" y="90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455" name="Freeform 46">
                <a:extLst>
                  <a:ext uri="{FF2B5EF4-FFF2-40B4-BE49-F238E27FC236}">
                    <a16:creationId xmlns:a16="http://schemas.microsoft.com/office/drawing/2014/main" id="{3784E227-AEB3-41A9-841A-C85B4890F0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00" y="2162"/>
                <a:ext cx="6" cy="6"/>
              </a:xfrm>
              <a:custGeom>
                <a:avLst/>
                <a:gdLst>
                  <a:gd name="T0" fmla="*/ 50 w 100"/>
                  <a:gd name="T1" fmla="*/ 101 h 101"/>
                  <a:gd name="T2" fmla="*/ 0 w 100"/>
                  <a:gd name="T3" fmla="*/ 51 h 101"/>
                  <a:gd name="T4" fmla="*/ 50 w 100"/>
                  <a:gd name="T5" fmla="*/ 0 h 101"/>
                  <a:gd name="T6" fmla="*/ 100 w 100"/>
                  <a:gd name="T7" fmla="*/ 51 h 101"/>
                  <a:gd name="T8" fmla="*/ 50 w 100"/>
                  <a:gd name="T9" fmla="*/ 101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0" h="101">
                    <a:moveTo>
                      <a:pt x="50" y="101"/>
                    </a:moveTo>
                    <a:cubicBezTo>
                      <a:pt x="22" y="101"/>
                      <a:pt x="0" y="78"/>
                      <a:pt x="0" y="51"/>
                    </a:cubicBezTo>
                    <a:cubicBezTo>
                      <a:pt x="0" y="23"/>
                      <a:pt x="22" y="0"/>
                      <a:pt x="50" y="0"/>
                    </a:cubicBezTo>
                    <a:cubicBezTo>
                      <a:pt x="77" y="0"/>
                      <a:pt x="100" y="23"/>
                      <a:pt x="100" y="51"/>
                    </a:cubicBezTo>
                    <a:cubicBezTo>
                      <a:pt x="100" y="78"/>
                      <a:pt x="78" y="100"/>
                      <a:pt x="50" y="101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456" name="Freeform 47">
                <a:extLst>
                  <a:ext uri="{FF2B5EF4-FFF2-40B4-BE49-F238E27FC236}">
                    <a16:creationId xmlns:a16="http://schemas.microsoft.com/office/drawing/2014/main" id="{2DC7D130-6728-404B-86BC-688A064EAB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00" y="2162"/>
                <a:ext cx="6" cy="6"/>
              </a:xfrm>
              <a:custGeom>
                <a:avLst/>
                <a:gdLst>
                  <a:gd name="T0" fmla="*/ 50 w 100"/>
                  <a:gd name="T1" fmla="*/ 101 h 101"/>
                  <a:gd name="T2" fmla="*/ 0 w 100"/>
                  <a:gd name="T3" fmla="*/ 51 h 101"/>
                  <a:gd name="T4" fmla="*/ 50 w 100"/>
                  <a:gd name="T5" fmla="*/ 0 h 101"/>
                  <a:gd name="T6" fmla="*/ 100 w 100"/>
                  <a:gd name="T7" fmla="*/ 51 h 101"/>
                  <a:gd name="T8" fmla="*/ 50 w 100"/>
                  <a:gd name="T9" fmla="*/ 101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0" h="101">
                    <a:moveTo>
                      <a:pt x="50" y="101"/>
                    </a:moveTo>
                    <a:cubicBezTo>
                      <a:pt x="22" y="101"/>
                      <a:pt x="0" y="78"/>
                      <a:pt x="0" y="51"/>
                    </a:cubicBezTo>
                    <a:cubicBezTo>
                      <a:pt x="0" y="23"/>
                      <a:pt x="22" y="0"/>
                      <a:pt x="50" y="0"/>
                    </a:cubicBezTo>
                    <a:cubicBezTo>
                      <a:pt x="77" y="0"/>
                      <a:pt x="100" y="23"/>
                      <a:pt x="100" y="51"/>
                    </a:cubicBezTo>
                    <a:cubicBezTo>
                      <a:pt x="100" y="78"/>
                      <a:pt x="78" y="100"/>
                      <a:pt x="50" y="101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457" name="Freeform 48">
                <a:extLst>
                  <a:ext uri="{FF2B5EF4-FFF2-40B4-BE49-F238E27FC236}">
                    <a16:creationId xmlns:a16="http://schemas.microsoft.com/office/drawing/2014/main" id="{C4751BE6-E855-4CB3-AF2E-B57FEA7DAE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40" y="2162"/>
                <a:ext cx="6" cy="6"/>
              </a:xfrm>
              <a:custGeom>
                <a:avLst/>
                <a:gdLst>
                  <a:gd name="T0" fmla="*/ 51 w 101"/>
                  <a:gd name="T1" fmla="*/ 100 h 100"/>
                  <a:gd name="T2" fmla="*/ 0 w 101"/>
                  <a:gd name="T3" fmla="*/ 50 h 100"/>
                  <a:gd name="T4" fmla="*/ 51 w 101"/>
                  <a:gd name="T5" fmla="*/ 0 h 100"/>
                  <a:gd name="T6" fmla="*/ 101 w 101"/>
                  <a:gd name="T7" fmla="*/ 50 h 100"/>
                  <a:gd name="T8" fmla="*/ 51 w 101"/>
                  <a:gd name="T9" fmla="*/ 10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1" h="100">
                    <a:moveTo>
                      <a:pt x="51" y="100"/>
                    </a:moveTo>
                    <a:cubicBezTo>
                      <a:pt x="23" y="100"/>
                      <a:pt x="0" y="78"/>
                      <a:pt x="0" y="50"/>
                    </a:cubicBezTo>
                    <a:cubicBezTo>
                      <a:pt x="0" y="23"/>
                      <a:pt x="23" y="0"/>
                      <a:pt x="51" y="0"/>
                    </a:cubicBezTo>
                    <a:cubicBezTo>
                      <a:pt x="78" y="0"/>
                      <a:pt x="101" y="23"/>
                      <a:pt x="101" y="50"/>
                    </a:cubicBezTo>
                    <a:cubicBezTo>
                      <a:pt x="100" y="78"/>
                      <a:pt x="78" y="100"/>
                      <a:pt x="51" y="100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458" name="Freeform 49">
                <a:extLst>
                  <a:ext uri="{FF2B5EF4-FFF2-40B4-BE49-F238E27FC236}">
                    <a16:creationId xmlns:a16="http://schemas.microsoft.com/office/drawing/2014/main" id="{AD32A309-B4D1-4D28-A161-E7EC3E68F2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40" y="2162"/>
                <a:ext cx="6" cy="6"/>
              </a:xfrm>
              <a:custGeom>
                <a:avLst/>
                <a:gdLst>
                  <a:gd name="T0" fmla="*/ 51 w 101"/>
                  <a:gd name="T1" fmla="*/ 100 h 100"/>
                  <a:gd name="T2" fmla="*/ 0 w 101"/>
                  <a:gd name="T3" fmla="*/ 50 h 100"/>
                  <a:gd name="T4" fmla="*/ 51 w 101"/>
                  <a:gd name="T5" fmla="*/ 0 h 100"/>
                  <a:gd name="T6" fmla="*/ 101 w 101"/>
                  <a:gd name="T7" fmla="*/ 50 h 100"/>
                  <a:gd name="T8" fmla="*/ 51 w 101"/>
                  <a:gd name="T9" fmla="*/ 10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1" h="100">
                    <a:moveTo>
                      <a:pt x="51" y="100"/>
                    </a:moveTo>
                    <a:cubicBezTo>
                      <a:pt x="23" y="100"/>
                      <a:pt x="0" y="78"/>
                      <a:pt x="0" y="50"/>
                    </a:cubicBezTo>
                    <a:cubicBezTo>
                      <a:pt x="0" y="23"/>
                      <a:pt x="23" y="0"/>
                      <a:pt x="51" y="0"/>
                    </a:cubicBezTo>
                    <a:cubicBezTo>
                      <a:pt x="78" y="0"/>
                      <a:pt x="101" y="23"/>
                      <a:pt x="101" y="50"/>
                    </a:cubicBezTo>
                    <a:cubicBezTo>
                      <a:pt x="100" y="78"/>
                      <a:pt x="78" y="100"/>
                      <a:pt x="51" y="100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459" name="Freeform 50">
                <a:extLst>
                  <a:ext uri="{FF2B5EF4-FFF2-40B4-BE49-F238E27FC236}">
                    <a16:creationId xmlns:a16="http://schemas.microsoft.com/office/drawing/2014/main" id="{30E969AD-EBED-40DA-8BBB-394C378D62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80" y="2162"/>
                <a:ext cx="7" cy="7"/>
              </a:xfrm>
              <a:custGeom>
                <a:avLst/>
                <a:gdLst>
                  <a:gd name="T0" fmla="*/ 90 w 110"/>
                  <a:gd name="T1" fmla="*/ 91 h 110"/>
                  <a:gd name="T2" fmla="*/ 19 w 110"/>
                  <a:gd name="T3" fmla="*/ 91 h 110"/>
                  <a:gd name="T4" fmla="*/ 19 w 110"/>
                  <a:gd name="T5" fmla="*/ 20 h 110"/>
                  <a:gd name="T6" fmla="*/ 90 w 110"/>
                  <a:gd name="T7" fmla="*/ 20 h 110"/>
                  <a:gd name="T8" fmla="*/ 90 w 110"/>
                  <a:gd name="T9" fmla="*/ 91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110">
                    <a:moveTo>
                      <a:pt x="90" y="91"/>
                    </a:moveTo>
                    <a:cubicBezTo>
                      <a:pt x="71" y="110"/>
                      <a:pt x="39" y="110"/>
                      <a:pt x="19" y="91"/>
                    </a:cubicBezTo>
                    <a:cubicBezTo>
                      <a:pt x="0" y="71"/>
                      <a:pt x="0" y="39"/>
                      <a:pt x="19" y="20"/>
                    </a:cubicBezTo>
                    <a:cubicBezTo>
                      <a:pt x="39" y="0"/>
                      <a:pt x="71" y="0"/>
                      <a:pt x="90" y="20"/>
                    </a:cubicBezTo>
                    <a:cubicBezTo>
                      <a:pt x="110" y="39"/>
                      <a:pt x="110" y="71"/>
                      <a:pt x="90" y="91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460" name="Freeform 51">
                <a:extLst>
                  <a:ext uri="{FF2B5EF4-FFF2-40B4-BE49-F238E27FC236}">
                    <a16:creationId xmlns:a16="http://schemas.microsoft.com/office/drawing/2014/main" id="{E5156760-65A4-4E51-B3E2-5A77D1C2AB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80" y="2162"/>
                <a:ext cx="7" cy="7"/>
              </a:xfrm>
              <a:custGeom>
                <a:avLst/>
                <a:gdLst>
                  <a:gd name="T0" fmla="*/ 90 w 110"/>
                  <a:gd name="T1" fmla="*/ 91 h 110"/>
                  <a:gd name="T2" fmla="*/ 19 w 110"/>
                  <a:gd name="T3" fmla="*/ 91 h 110"/>
                  <a:gd name="T4" fmla="*/ 19 w 110"/>
                  <a:gd name="T5" fmla="*/ 20 h 110"/>
                  <a:gd name="T6" fmla="*/ 90 w 110"/>
                  <a:gd name="T7" fmla="*/ 20 h 110"/>
                  <a:gd name="T8" fmla="*/ 90 w 110"/>
                  <a:gd name="T9" fmla="*/ 91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110">
                    <a:moveTo>
                      <a:pt x="90" y="91"/>
                    </a:moveTo>
                    <a:cubicBezTo>
                      <a:pt x="71" y="110"/>
                      <a:pt x="39" y="110"/>
                      <a:pt x="19" y="91"/>
                    </a:cubicBezTo>
                    <a:cubicBezTo>
                      <a:pt x="0" y="71"/>
                      <a:pt x="0" y="39"/>
                      <a:pt x="19" y="20"/>
                    </a:cubicBezTo>
                    <a:cubicBezTo>
                      <a:pt x="39" y="0"/>
                      <a:pt x="71" y="0"/>
                      <a:pt x="90" y="20"/>
                    </a:cubicBezTo>
                    <a:cubicBezTo>
                      <a:pt x="110" y="39"/>
                      <a:pt x="110" y="71"/>
                      <a:pt x="90" y="91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461" name="Oval 52">
                <a:extLst>
                  <a:ext uri="{FF2B5EF4-FFF2-40B4-BE49-F238E27FC236}">
                    <a16:creationId xmlns:a16="http://schemas.microsoft.com/office/drawing/2014/main" id="{D7096CC3-2F43-432E-854D-5079084DC54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21" y="2162"/>
                <a:ext cx="6" cy="6"/>
              </a:xfrm>
              <a:prstGeom prst="ellipse">
                <a:avLst/>
              </a:pr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462" name="Oval 53">
                <a:extLst>
                  <a:ext uri="{FF2B5EF4-FFF2-40B4-BE49-F238E27FC236}">
                    <a16:creationId xmlns:a16="http://schemas.microsoft.com/office/drawing/2014/main" id="{B7DE243A-B6A8-45A0-B1DA-E44057EE9D1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21" y="2162"/>
                <a:ext cx="6" cy="6"/>
              </a:xfrm>
              <a:prstGeom prst="ellipse">
                <a:avLst/>
              </a:pr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463" name="Oval 54">
                <a:extLst>
                  <a:ext uri="{FF2B5EF4-FFF2-40B4-BE49-F238E27FC236}">
                    <a16:creationId xmlns:a16="http://schemas.microsoft.com/office/drawing/2014/main" id="{C1C1B3A1-FCA2-4E92-8845-FCD0E4F5381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61" y="2162"/>
                <a:ext cx="6" cy="6"/>
              </a:xfrm>
              <a:prstGeom prst="ellipse">
                <a:avLst/>
              </a:pr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464" name="Oval 55">
                <a:extLst>
                  <a:ext uri="{FF2B5EF4-FFF2-40B4-BE49-F238E27FC236}">
                    <a16:creationId xmlns:a16="http://schemas.microsoft.com/office/drawing/2014/main" id="{1C928393-723A-44AC-BA11-8E12CE09CA6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61" y="2162"/>
                <a:ext cx="6" cy="6"/>
              </a:xfrm>
              <a:prstGeom prst="ellipse">
                <a:avLst/>
              </a:pr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465" name="Freeform 56">
                <a:extLst>
                  <a:ext uri="{FF2B5EF4-FFF2-40B4-BE49-F238E27FC236}">
                    <a16:creationId xmlns:a16="http://schemas.microsoft.com/office/drawing/2014/main" id="{6982547B-EF1A-4982-8AF1-468BE92E73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00" y="2162"/>
                <a:ext cx="7" cy="7"/>
              </a:xfrm>
              <a:custGeom>
                <a:avLst/>
                <a:gdLst>
                  <a:gd name="T0" fmla="*/ 91 w 110"/>
                  <a:gd name="T1" fmla="*/ 90 h 110"/>
                  <a:gd name="T2" fmla="*/ 20 w 110"/>
                  <a:gd name="T3" fmla="*/ 90 h 110"/>
                  <a:gd name="T4" fmla="*/ 20 w 110"/>
                  <a:gd name="T5" fmla="*/ 20 h 110"/>
                  <a:gd name="T6" fmla="*/ 91 w 110"/>
                  <a:gd name="T7" fmla="*/ 20 h 110"/>
                  <a:gd name="T8" fmla="*/ 91 w 110"/>
                  <a:gd name="T9" fmla="*/ 9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110">
                    <a:moveTo>
                      <a:pt x="91" y="90"/>
                    </a:moveTo>
                    <a:cubicBezTo>
                      <a:pt x="71" y="110"/>
                      <a:pt x="40" y="110"/>
                      <a:pt x="20" y="90"/>
                    </a:cubicBezTo>
                    <a:cubicBezTo>
                      <a:pt x="0" y="71"/>
                      <a:pt x="0" y="39"/>
                      <a:pt x="20" y="20"/>
                    </a:cubicBezTo>
                    <a:cubicBezTo>
                      <a:pt x="40" y="0"/>
                      <a:pt x="71" y="0"/>
                      <a:pt x="91" y="20"/>
                    </a:cubicBezTo>
                    <a:cubicBezTo>
                      <a:pt x="110" y="39"/>
                      <a:pt x="110" y="71"/>
                      <a:pt x="91" y="90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466" name="Freeform 57">
                <a:extLst>
                  <a:ext uri="{FF2B5EF4-FFF2-40B4-BE49-F238E27FC236}">
                    <a16:creationId xmlns:a16="http://schemas.microsoft.com/office/drawing/2014/main" id="{6408FE67-9781-45AB-8F68-D7BD666169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00" y="2162"/>
                <a:ext cx="7" cy="7"/>
              </a:xfrm>
              <a:custGeom>
                <a:avLst/>
                <a:gdLst>
                  <a:gd name="T0" fmla="*/ 91 w 110"/>
                  <a:gd name="T1" fmla="*/ 90 h 110"/>
                  <a:gd name="T2" fmla="*/ 20 w 110"/>
                  <a:gd name="T3" fmla="*/ 90 h 110"/>
                  <a:gd name="T4" fmla="*/ 20 w 110"/>
                  <a:gd name="T5" fmla="*/ 20 h 110"/>
                  <a:gd name="T6" fmla="*/ 91 w 110"/>
                  <a:gd name="T7" fmla="*/ 20 h 110"/>
                  <a:gd name="T8" fmla="*/ 91 w 110"/>
                  <a:gd name="T9" fmla="*/ 9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110">
                    <a:moveTo>
                      <a:pt x="91" y="90"/>
                    </a:moveTo>
                    <a:cubicBezTo>
                      <a:pt x="71" y="110"/>
                      <a:pt x="40" y="110"/>
                      <a:pt x="20" y="90"/>
                    </a:cubicBezTo>
                    <a:cubicBezTo>
                      <a:pt x="0" y="71"/>
                      <a:pt x="0" y="39"/>
                      <a:pt x="20" y="20"/>
                    </a:cubicBezTo>
                    <a:cubicBezTo>
                      <a:pt x="40" y="0"/>
                      <a:pt x="71" y="0"/>
                      <a:pt x="91" y="20"/>
                    </a:cubicBezTo>
                    <a:cubicBezTo>
                      <a:pt x="110" y="39"/>
                      <a:pt x="110" y="71"/>
                      <a:pt x="91" y="90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467" name="Freeform 58">
                <a:extLst>
                  <a:ext uri="{FF2B5EF4-FFF2-40B4-BE49-F238E27FC236}">
                    <a16:creationId xmlns:a16="http://schemas.microsoft.com/office/drawing/2014/main" id="{8A59B7A8-412A-4E7D-9AB8-AB6B96EA2B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41" y="2162"/>
                <a:ext cx="6" cy="6"/>
              </a:xfrm>
              <a:custGeom>
                <a:avLst/>
                <a:gdLst>
                  <a:gd name="T0" fmla="*/ 50 w 100"/>
                  <a:gd name="T1" fmla="*/ 100 h 101"/>
                  <a:gd name="T2" fmla="*/ 0 w 100"/>
                  <a:gd name="T3" fmla="*/ 50 h 101"/>
                  <a:gd name="T4" fmla="*/ 50 w 100"/>
                  <a:gd name="T5" fmla="*/ 0 h 101"/>
                  <a:gd name="T6" fmla="*/ 100 w 100"/>
                  <a:gd name="T7" fmla="*/ 50 h 101"/>
                  <a:gd name="T8" fmla="*/ 50 w 100"/>
                  <a:gd name="T9" fmla="*/ 10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0" h="101">
                    <a:moveTo>
                      <a:pt x="50" y="100"/>
                    </a:moveTo>
                    <a:cubicBezTo>
                      <a:pt x="22" y="100"/>
                      <a:pt x="0" y="77"/>
                      <a:pt x="0" y="50"/>
                    </a:cubicBezTo>
                    <a:cubicBezTo>
                      <a:pt x="0" y="23"/>
                      <a:pt x="22" y="0"/>
                      <a:pt x="50" y="0"/>
                    </a:cubicBezTo>
                    <a:cubicBezTo>
                      <a:pt x="77" y="0"/>
                      <a:pt x="100" y="23"/>
                      <a:pt x="100" y="50"/>
                    </a:cubicBezTo>
                    <a:cubicBezTo>
                      <a:pt x="100" y="78"/>
                      <a:pt x="77" y="101"/>
                      <a:pt x="50" y="100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468" name="Freeform 59">
                <a:extLst>
                  <a:ext uri="{FF2B5EF4-FFF2-40B4-BE49-F238E27FC236}">
                    <a16:creationId xmlns:a16="http://schemas.microsoft.com/office/drawing/2014/main" id="{6CF8EC74-DA33-49C5-A4FA-193F7F4C18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41" y="2162"/>
                <a:ext cx="6" cy="6"/>
              </a:xfrm>
              <a:custGeom>
                <a:avLst/>
                <a:gdLst>
                  <a:gd name="T0" fmla="*/ 50 w 100"/>
                  <a:gd name="T1" fmla="*/ 100 h 101"/>
                  <a:gd name="T2" fmla="*/ 0 w 100"/>
                  <a:gd name="T3" fmla="*/ 50 h 101"/>
                  <a:gd name="T4" fmla="*/ 50 w 100"/>
                  <a:gd name="T5" fmla="*/ 0 h 101"/>
                  <a:gd name="T6" fmla="*/ 100 w 100"/>
                  <a:gd name="T7" fmla="*/ 50 h 101"/>
                  <a:gd name="T8" fmla="*/ 50 w 100"/>
                  <a:gd name="T9" fmla="*/ 10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0" h="101">
                    <a:moveTo>
                      <a:pt x="50" y="100"/>
                    </a:moveTo>
                    <a:cubicBezTo>
                      <a:pt x="22" y="100"/>
                      <a:pt x="0" y="77"/>
                      <a:pt x="0" y="50"/>
                    </a:cubicBezTo>
                    <a:cubicBezTo>
                      <a:pt x="0" y="23"/>
                      <a:pt x="22" y="0"/>
                      <a:pt x="50" y="0"/>
                    </a:cubicBezTo>
                    <a:cubicBezTo>
                      <a:pt x="77" y="0"/>
                      <a:pt x="100" y="23"/>
                      <a:pt x="100" y="50"/>
                    </a:cubicBezTo>
                    <a:cubicBezTo>
                      <a:pt x="100" y="78"/>
                      <a:pt x="77" y="101"/>
                      <a:pt x="50" y="100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469" name="Freeform 60">
                <a:extLst>
                  <a:ext uri="{FF2B5EF4-FFF2-40B4-BE49-F238E27FC236}">
                    <a16:creationId xmlns:a16="http://schemas.microsoft.com/office/drawing/2014/main" id="{60F7B894-CC4D-4EC9-90A5-588BFEBD23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81" y="2162"/>
                <a:ext cx="6" cy="7"/>
              </a:xfrm>
              <a:custGeom>
                <a:avLst/>
                <a:gdLst>
                  <a:gd name="T0" fmla="*/ 90 w 110"/>
                  <a:gd name="T1" fmla="*/ 90 h 110"/>
                  <a:gd name="T2" fmla="*/ 19 w 110"/>
                  <a:gd name="T3" fmla="*/ 90 h 110"/>
                  <a:gd name="T4" fmla="*/ 19 w 110"/>
                  <a:gd name="T5" fmla="*/ 20 h 110"/>
                  <a:gd name="T6" fmla="*/ 90 w 110"/>
                  <a:gd name="T7" fmla="*/ 20 h 110"/>
                  <a:gd name="T8" fmla="*/ 90 w 110"/>
                  <a:gd name="T9" fmla="*/ 9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110">
                    <a:moveTo>
                      <a:pt x="90" y="90"/>
                    </a:moveTo>
                    <a:cubicBezTo>
                      <a:pt x="71" y="110"/>
                      <a:pt x="39" y="110"/>
                      <a:pt x="19" y="90"/>
                    </a:cubicBezTo>
                    <a:cubicBezTo>
                      <a:pt x="0" y="71"/>
                      <a:pt x="0" y="39"/>
                      <a:pt x="19" y="20"/>
                    </a:cubicBezTo>
                    <a:cubicBezTo>
                      <a:pt x="39" y="0"/>
                      <a:pt x="71" y="0"/>
                      <a:pt x="90" y="20"/>
                    </a:cubicBezTo>
                    <a:cubicBezTo>
                      <a:pt x="110" y="39"/>
                      <a:pt x="110" y="71"/>
                      <a:pt x="90" y="90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470" name="Freeform 61">
                <a:extLst>
                  <a:ext uri="{FF2B5EF4-FFF2-40B4-BE49-F238E27FC236}">
                    <a16:creationId xmlns:a16="http://schemas.microsoft.com/office/drawing/2014/main" id="{2B11D870-478F-46CC-9581-D6D99749FB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81" y="2162"/>
                <a:ext cx="6" cy="7"/>
              </a:xfrm>
              <a:custGeom>
                <a:avLst/>
                <a:gdLst>
                  <a:gd name="T0" fmla="*/ 90 w 110"/>
                  <a:gd name="T1" fmla="*/ 90 h 110"/>
                  <a:gd name="T2" fmla="*/ 19 w 110"/>
                  <a:gd name="T3" fmla="*/ 90 h 110"/>
                  <a:gd name="T4" fmla="*/ 19 w 110"/>
                  <a:gd name="T5" fmla="*/ 20 h 110"/>
                  <a:gd name="T6" fmla="*/ 90 w 110"/>
                  <a:gd name="T7" fmla="*/ 20 h 110"/>
                  <a:gd name="T8" fmla="*/ 90 w 110"/>
                  <a:gd name="T9" fmla="*/ 9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110">
                    <a:moveTo>
                      <a:pt x="90" y="90"/>
                    </a:moveTo>
                    <a:cubicBezTo>
                      <a:pt x="71" y="110"/>
                      <a:pt x="39" y="110"/>
                      <a:pt x="19" y="90"/>
                    </a:cubicBezTo>
                    <a:cubicBezTo>
                      <a:pt x="0" y="71"/>
                      <a:pt x="0" y="39"/>
                      <a:pt x="19" y="20"/>
                    </a:cubicBezTo>
                    <a:cubicBezTo>
                      <a:pt x="39" y="0"/>
                      <a:pt x="71" y="0"/>
                      <a:pt x="90" y="20"/>
                    </a:cubicBezTo>
                    <a:cubicBezTo>
                      <a:pt x="110" y="39"/>
                      <a:pt x="110" y="71"/>
                      <a:pt x="90" y="90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471" name="Freeform 62">
                <a:extLst>
                  <a:ext uri="{FF2B5EF4-FFF2-40B4-BE49-F238E27FC236}">
                    <a16:creationId xmlns:a16="http://schemas.microsoft.com/office/drawing/2014/main" id="{604E49C5-4244-421B-A3CD-56C011CA8B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21" y="2162"/>
                <a:ext cx="6" cy="7"/>
              </a:xfrm>
              <a:custGeom>
                <a:avLst/>
                <a:gdLst>
                  <a:gd name="T0" fmla="*/ 91 w 111"/>
                  <a:gd name="T1" fmla="*/ 91 h 110"/>
                  <a:gd name="T2" fmla="*/ 20 w 111"/>
                  <a:gd name="T3" fmla="*/ 91 h 110"/>
                  <a:gd name="T4" fmla="*/ 20 w 111"/>
                  <a:gd name="T5" fmla="*/ 20 h 110"/>
                  <a:gd name="T6" fmla="*/ 91 w 111"/>
                  <a:gd name="T7" fmla="*/ 20 h 110"/>
                  <a:gd name="T8" fmla="*/ 91 w 111"/>
                  <a:gd name="T9" fmla="*/ 91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1" h="110">
                    <a:moveTo>
                      <a:pt x="91" y="91"/>
                    </a:moveTo>
                    <a:cubicBezTo>
                      <a:pt x="71" y="110"/>
                      <a:pt x="40" y="110"/>
                      <a:pt x="20" y="91"/>
                    </a:cubicBezTo>
                    <a:cubicBezTo>
                      <a:pt x="0" y="71"/>
                      <a:pt x="0" y="40"/>
                      <a:pt x="20" y="20"/>
                    </a:cubicBezTo>
                    <a:cubicBezTo>
                      <a:pt x="40" y="0"/>
                      <a:pt x="71" y="0"/>
                      <a:pt x="91" y="20"/>
                    </a:cubicBezTo>
                    <a:cubicBezTo>
                      <a:pt x="111" y="40"/>
                      <a:pt x="111" y="71"/>
                      <a:pt x="91" y="91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472" name="Freeform 63">
                <a:extLst>
                  <a:ext uri="{FF2B5EF4-FFF2-40B4-BE49-F238E27FC236}">
                    <a16:creationId xmlns:a16="http://schemas.microsoft.com/office/drawing/2014/main" id="{A0E6983C-427F-42A0-9CC9-58A615FCFC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21" y="2162"/>
                <a:ext cx="6" cy="7"/>
              </a:xfrm>
              <a:custGeom>
                <a:avLst/>
                <a:gdLst>
                  <a:gd name="T0" fmla="*/ 91 w 111"/>
                  <a:gd name="T1" fmla="*/ 91 h 110"/>
                  <a:gd name="T2" fmla="*/ 20 w 111"/>
                  <a:gd name="T3" fmla="*/ 91 h 110"/>
                  <a:gd name="T4" fmla="*/ 20 w 111"/>
                  <a:gd name="T5" fmla="*/ 20 h 110"/>
                  <a:gd name="T6" fmla="*/ 91 w 111"/>
                  <a:gd name="T7" fmla="*/ 20 h 110"/>
                  <a:gd name="T8" fmla="*/ 91 w 111"/>
                  <a:gd name="T9" fmla="*/ 91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1" h="110">
                    <a:moveTo>
                      <a:pt x="91" y="91"/>
                    </a:moveTo>
                    <a:cubicBezTo>
                      <a:pt x="71" y="110"/>
                      <a:pt x="40" y="110"/>
                      <a:pt x="20" y="91"/>
                    </a:cubicBezTo>
                    <a:cubicBezTo>
                      <a:pt x="0" y="71"/>
                      <a:pt x="0" y="40"/>
                      <a:pt x="20" y="20"/>
                    </a:cubicBezTo>
                    <a:cubicBezTo>
                      <a:pt x="40" y="0"/>
                      <a:pt x="71" y="0"/>
                      <a:pt x="91" y="20"/>
                    </a:cubicBezTo>
                    <a:cubicBezTo>
                      <a:pt x="111" y="40"/>
                      <a:pt x="111" y="71"/>
                      <a:pt x="91" y="91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473" name="Freeform 64">
                <a:extLst>
                  <a:ext uri="{FF2B5EF4-FFF2-40B4-BE49-F238E27FC236}">
                    <a16:creationId xmlns:a16="http://schemas.microsoft.com/office/drawing/2014/main" id="{D3689A12-F458-4919-BE48-85AE0337E4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61" y="2162"/>
                <a:ext cx="6" cy="6"/>
              </a:xfrm>
              <a:custGeom>
                <a:avLst/>
                <a:gdLst>
                  <a:gd name="T0" fmla="*/ 50 w 100"/>
                  <a:gd name="T1" fmla="*/ 101 h 101"/>
                  <a:gd name="T2" fmla="*/ 0 w 100"/>
                  <a:gd name="T3" fmla="*/ 50 h 101"/>
                  <a:gd name="T4" fmla="*/ 50 w 100"/>
                  <a:gd name="T5" fmla="*/ 0 h 101"/>
                  <a:gd name="T6" fmla="*/ 100 w 100"/>
                  <a:gd name="T7" fmla="*/ 50 h 101"/>
                  <a:gd name="T8" fmla="*/ 50 w 100"/>
                  <a:gd name="T9" fmla="*/ 101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0" h="101">
                    <a:moveTo>
                      <a:pt x="50" y="101"/>
                    </a:moveTo>
                    <a:cubicBezTo>
                      <a:pt x="22" y="101"/>
                      <a:pt x="0" y="78"/>
                      <a:pt x="0" y="50"/>
                    </a:cubicBezTo>
                    <a:cubicBezTo>
                      <a:pt x="0" y="23"/>
                      <a:pt x="22" y="0"/>
                      <a:pt x="50" y="0"/>
                    </a:cubicBezTo>
                    <a:cubicBezTo>
                      <a:pt x="77" y="0"/>
                      <a:pt x="100" y="23"/>
                      <a:pt x="100" y="50"/>
                    </a:cubicBezTo>
                    <a:cubicBezTo>
                      <a:pt x="100" y="78"/>
                      <a:pt x="78" y="100"/>
                      <a:pt x="50" y="101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474" name="Freeform 65">
                <a:extLst>
                  <a:ext uri="{FF2B5EF4-FFF2-40B4-BE49-F238E27FC236}">
                    <a16:creationId xmlns:a16="http://schemas.microsoft.com/office/drawing/2014/main" id="{45248ACF-46C1-4091-9845-C46E6BDCCB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61" y="2162"/>
                <a:ext cx="6" cy="6"/>
              </a:xfrm>
              <a:custGeom>
                <a:avLst/>
                <a:gdLst>
                  <a:gd name="T0" fmla="*/ 50 w 100"/>
                  <a:gd name="T1" fmla="*/ 101 h 101"/>
                  <a:gd name="T2" fmla="*/ 0 w 100"/>
                  <a:gd name="T3" fmla="*/ 50 h 101"/>
                  <a:gd name="T4" fmla="*/ 50 w 100"/>
                  <a:gd name="T5" fmla="*/ 0 h 101"/>
                  <a:gd name="T6" fmla="*/ 100 w 100"/>
                  <a:gd name="T7" fmla="*/ 50 h 101"/>
                  <a:gd name="T8" fmla="*/ 50 w 100"/>
                  <a:gd name="T9" fmla="*/ 101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0" h="101">
                    <a:moveTo>
                      <a:pt x="50" y="101"/>
                    </a:moveTo>
                    <a:cubicBezTo>
                      <a:pt x="22" y="101"/>
                      <a:pt x="0" y="78"/>
                      <a:pt x="0" y="50"/>
                    </a:cubicBezTo>
                    <a:cubicBezTo>
                      <a:pt x="0" y="23"/>
                      <a:pt x="22" y="0"/>
                      <a:pt x="50" y="0"/>
                    </a:cubicBezTo>
                    <a:cubicBezTo>
                      <a:pt x="77" y="0"/>
                      <a:pt x="100" y="23"/>
                      <a:pt x="100" y="50"/>
                    </a:cubicBezTo>
                    <a:cubicBezTo>
                      <a:pt x="100" y="78"/>
                      <a:pt x="78" y="100"/>
                      <a:pt x="50" y="101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475" name="Freeform 66">
                <a:extLst>
                  <a:ext uri="{FF2B5EF4-FFF2-40B4-BE49-F238E27FC236}">
                    <a16:creationId xmlns:a16="http://schemas.microsoft.com/office/drawing/2014/main" id="{673C912A-B027-4237-9C80-16E487DDA2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01" y="2162"/>
                <a:ext cx="7" cy="7"/>
              </a:xfrm>
              <a:custGeom>
                <a:avLst/>
                <a:gdLst>
                  <a:gd name="T0" fmla="*/ 91 w 110"/>
                  <a:gd name="T1" fmla="*/ 90 h 110"/>
                  <a:gd name="T2" fmla="*/ 20 w 110"/>
                  <a:gd name="T3" fmla="*/ 90 h 110"/>
                  <a:gd name="T4" fmla="*/ 20 w 110"/>
                  <a:gd name="T5" fmla="*/ 20 h 110"/>
                  <a:gd name="T6" fmla="*/ 91 w 110"/>
                  <a:gd name="T7" fmla="*/ 20 h 110"/>
                  <a:gd name="T8" fmla="*/ 91 w 110"/>
                  <a:gd name="T9" fmla="*/ 9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110">
                    <a:moveTo>
                      <a:pt x="91" y="90"/>
                    </a:moveTo>
                    <a:cubicBezTo>
                      <a:pt x="71" y="110"/>
                      <a:pt x="40" y="110"/>
                      <a:pt x="20" y="90"/>
                    </a:cubicBezTo>
                    <a:cubicBezTo>
                      <a:pt x="0" y="71"/>
                      <a:pt x="0" y="39"/>
                      <a:pt x="20" y="20"/>
                    </a:cubicBezTo>
                    <a:cubicBezTo>
                      <a:pt x="40" y="0"/>
                      <a:pt x="71" y="0"/>
                      <a:pt x="91" y="20"/>
                    </a:cubicBezTo>
                    <a:cubicBezTo>
                      <a:pt x="110" y="39"/>
                      <a:pt x="110" y="71"/>
                      <a:pt x="91" y="90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476" name="Freeform 67">
                <a:extLst>
                  <a:ext uri="{FF2B5EF4-FFF2-40B4-BE49-F238E27FC236}">
                    <a16:creationId xmlns:a16="http://schemas.microsoft.com/office/drawing/2014/main" id="{4E3D0C26-54FC-4B5E-AFB3-FD308FA5EE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01" y="2162"/>
                <a:ext cx="7" cy="7"/>
              </a:xfrm>
              <a:custGeom>
                <a:avLst/>
                <a:gdLst>
                  <a:gd name="T0" fmla="*/ 91 w 110"/>
                  <a:gd name="T1" fmla="*/ 90 h 110"/>
                  <a:gd name="T2" fmla="*/ 20 w 110"/>
                  <a:gd name="T3" fmla="*/ 90 h 110"/>
                  <a:gd name="T4" fmla="*/ 20 w 110"/>
                  <a:gd name="T5" fmla="*/ 20 h 110"/>
                  <a:gd name="T6" fmla="*/ 91 w 110"/>
                  <a:gd name="T7" fmla="*/ 20 h 110"/>
                  <a:gd name="T8" fmla="*/ 91 w 110"/>
                  <a:gd name="T9" fmla="*/ 9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110">
                    <a:moveTo>
                      <a:pt x="91" y="90"/>
                    </a:moveTo>
                    <a:cubicBezTo>
                      <a:pt x="71" y="110"/>
                      <a:pt x="40" y="110"/>
                      <a:pt x="20" y="90"/>
                    </a:cubicBezTo>
                    <a:cubicBezTo>
                      <a:pt x="0" y="71"/>
                      <a:pt x="0" y="39"/>
                      <a:pt x="20" y="20"/>
                    </a:cubicBezTo>
                    <a:cubicBezTo>
                      <a:pt x="40" y="0"/>
                      <a:pt x="71" y="0"/>
                      <a:pt x="91" y="20"/>
                    </a:cubicBezTo>
                    <a:cubicBezTo>
                      <a:pt x="110" y="39"/>
                      <a:pt x="110" y="71"/>
                      <a:pt x="91" y="90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477" name="Freeform 68">
                <a:extLst>
                  <a:ext uri="{FF2B5EF4-FFF2-40B4-BE49-F238E27FC236}">
                    <a16:creationId xmlns:a16="http://schemas.microsoft.com/office/drawing/2014/main" id="{73AFC215-DF32-47C1-801F-05C4AA6CBC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41" y="2162"/>
                <a:ext cx="7" cy="7"/>
              </a:xfrm>
              <a:custGeom>
                <a:avLst/>
                <a:gdLst>
                  <a:gd name="T0" fmla="*/ 90 w 110"/>
                  <a:gd name="T1" fmla="*/ 90 h 110"/>
                  <a:gd name="T2" fmla="*/ 19 w 110"/>
                  <a:gd name="T3" fmla="*/ 90 h 110"/>
                  <a:gd name="T4" fmla="*/ 19 w 110"/>
                  <a:gd name="T5" fmla="*/ 20 h 110"/>
                  <a:gd name="T6" fmla="*/ 90 w 110"/>
                  <a:gd name="T7" fmla="*/ 20 h 110"/>
                  <a:gd name="T8" fmla="*/ 90 w 110"/>
                  <a:gd name="T9" fmla="*/ 9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110">
                    <a:moveTo>
                      <a:pt x="90" y="90"/>
                    </a:moveTo>
                    <a:cubicBezTo>
                      <a:pt x="71" y="110"/>
                      <a:pt x="39" y="110"/>
                      <a:pt x="19" y="90"/>
                    </a:cubicBezTo>
                    <a:cubicBezTo>
                      <a:pt x="0" y="71"/>
                      <a:pt x="0" y="39"/>
                      <a:pt x="19" y="20"/>
                    </a:cubicBezTo>
                    <a:cubicBezTo>
                      <a:pt x="39" y="0"/>
                      <a:pt x="71" y="0"/>
                      <a:pt x="90" y="20"/>
                    </a:cubicBezTo>
                    <a:cubicBezTo>
                      <a:pt x="110" y="39"/>
                      <a:pt x="110" y="71"/>
                      <a:pt x="90" y="90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478" name="Freeform 69">
                <a:extLst>
                  <a:ext uri="{FF2B5EF4-FFF2-40B4-BE49-F238E27FC236}">
                    <a16:creationId xmlns:a16="http://schemas.microsoft.com/office/drawing/2014/main" id="{86F9DD56-0F9D-4E08-8991-8244BC6619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41" y="2162"/>
                <a:ext cx="7" cy="7"/>
              </a:xfrm>
              <a:custGeom>
                <a:avLst/>
                <a:gdLst>
                  <a:gd name="T0" fmla="*/ 90 w 110"/>
                  <a:gd name="T1" fmla="*/ 90 h 110"/>
                  <a:gd name="T2" fmla="*/ 19 w 110"/>
                  <a:gd name="T3" fmla="*/ 90 h 110"/>
                  <a:gd name="T4" fmla="*/ 19 w 110"/>
                  <a:gd name="T5" fmla="*/ 20 h 110"/>
                  <a:gd name="T6" fmla="*/ 90 w 110"/>
                  <a:gd name="T7" fmla="*/ 20 h 110"/>
                  <a:gd name="T8" fmla="*/ 90 w 110"/>
                  <a:gd name="T9" fmla="*/ 9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110">
                    <a:moveTo>
                      <a:pt x="90" y="90"/>
                    </a:moveTo>
                    <a:cubicBezTo>
                      <a:pt x="71" y="110"/>
                      <a:pt x="39" y="110"/>
                      <a:pt x="19" y="90"/>
                    </a:cubicBezTo>
                    <a:cubicBezTo>
                      <a:pt x="0" y="71"/>
                      <a:pt x="0" y="39"/>
                      <a:pt x="19" y="20"/>
                    </a:cubicBezTo>
                    <a:cubicBezTo>
                      <a:pt x="39" y="0"/>
                      <a:pt x="71" y="0"/>
                      <a:pt x="90" y="20"/>
                    </a:cubicBezTo>
                    <a:cubicBezTo>
                      <a:pt x="110" y="39"/>
                      <a:pt x="110" y="71"/>
                      <a:pt x="90" y="90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479" name="Freeform 70">
                <a:extLst>
                  <a:ext uri="{FF2B5EF4-FFF2-40B4-BE49-F238E27FC236}">
                    <a16:creationId xmlns:a16="http://schemas.microsoft.com/office/drawing/2014/main" id="{D4963FDC-06FF-4D23-B762-FC74399604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81" y="2162"/>
                <a:ext cx="7" cy="7"/>
              </a:xfrm>
              <a:custGeom>
                <a:avLst/>
                <a:gdLst>
                  <a:gd name="T0" fmla="*/ 90 w 110"/>
                  <a:gd name="T1" fmla="*/ 90 h 110"/>
                  <a:gd name="T2" fmla="*/ 19 w 110"/>
                  <a:gd name="T3" fmla="*/ 90 h 110"/>
                  <a:gd name="T4" fmla="*/ 19 w 110"/>
                  <a:gd name="T5" fmla="*/ 20 h 110"/>
                  <a:gd name="T6" fmla="*/ 90 w 110"/>
                  <a:gd name="T7" fmla="*/ 20 h 110"/>
                  <a:gd name="T8" fmla="*/ 90 w 110"/>
                  <a:gd name="T9" fmla="*/ 9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110">
                    <a:moveTo>
                      <a:pt x="90" y="90"/>
                    </a:moveTo>
                    <a:cubicBezTo>
                      <a:pt x="71" y="110"/>
                      <a:pt x="39" y="110"/>
                      <a:pt x="19" y="90"/>
                    </a:cubicBezTo>
                    <a:cubicBezTo>
                      <a:pt x="0" y="71"/>
                      <a:pt x="0" y="39"/>
                      <a:pt x="19" y="20"/>
                    </a:cubicBezTo>
                    <a:cubicBezTo>
                      <a:pt x="39" y="0"/>
                      <a:pt x="71" y="0"/>
                      <a:pt x="90" y="20"/>
                    </a:cubicBezTo>
                    <a:cubicBezTo>
                      <a:pt x="110" y="39"/>
                      <a:pt x="110" y="71"/>
                      <a:pt x="90" y="90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480" name="Freeform 71">
                <a:extLst>
                  <a:ext uri="{FF2B5EF4-FFF2-40B4-BE49-F238E27FC236}">
                    <a16:creationId xmlns:a16="http://schemas.microsoft.com/office/drawing/2014/main" id="{62B39D71-B8C0-4CA2-A2D6-42F8DAC608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81" y="2162"/>
                <a:ext cx="7" cy="7"/>
              </a:xfrm>
              <a:custGeom>
                <a:avLst/>
                <a:gdLst>
                  <a:gd name="T0" fmla="*/ 90 w 110"/>
                  <a:gd name="T1" fmla="*/ 90 h 110"/>
                  <a:gd name="T2" fmla="*/ 19 w 110"/>
                  <a:gd name="T3" fmla="*/ 90 h 110"/>
                  <a:gd name="T4" fmla="*/ 19 w 110"/>
                  <a:gd name="T5" fmla="*/ 20 h 110"/>
                  <a:gd name="T6" fmla="*/ 90 w 110"/>
                  <a:gd name="T7" fmla="*/ 20 h 110"/>
                  <a:gd name="T8" fmla="*/ 90 w 110"/>
                  <a:gd name="T9" fmla="*/ 9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110">
                    <a:moveTo>
                      <a:pt x="90" y="90"/>
                    </a:moveTo>
                    <a:cubicBezTo>
                      <a:pt x="71" y="110"/>
                      <a:pt x="39" y="110"/>
                      <a:pt x="19" y="90"/>
                    </a:cubicBezTo>
                    <a:cubicBezTo>
                      <a:pt x="0" y="71"/>
                      <a:pt x="0" y="39"/>
                      <a:pt x="19" y="20"/>
                    </a:cubicBezTo>
                    <a:cubicBezTo>
                      <a:pt x="39" y="0"/>
                      <a:pt x="71" y="0"/>
                      <a:pt x="90" y="20"/>
                    </a:cubicBezTo>
                    <a:cubicBezTo>
                      <a:pt x="110" y="39"/>
                      <a:pt x="110" y="71"/>
                      <a:pt x="90" y="90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481" name="Freeform 72">
                <a:extLst>
                  <a:ext uri="{FF2B5EF4-FFF2-40B4-BE49-F238E27FC236}">
                    <a16:creationId xmlns:a16="http://schemas.microsoft.com/office/drawing/2014/main" id="{D11E7028-2751-452F-933E-9D958D2576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21" y="2162"/>
                <a:ext cx="7" cy="7"/>
              </a:xfrm>
              <a:custGeom>
                <a:avLst/>
                <a:gdLst>
                  <a:gd name="T0" fmla="*/ 91 w 110"/>
                  <a:gd name="T1" fmla="*/ 90 h 110"/>
                  <a:gd name="T2" fmla="*/ 20 w 110"/>
                  <a:gd name="T3" fmla="*/ 90 h 110"/>
                  <a:gd name="T4" fmla="*/ 20 w 110"/>
                  <a:gd name="T5" fmla="*/ 19 h 110"/>
                  <a:gd name="T6" fmla="*/ 91 w 110"/>
                  <a:gd name="T7" fmla="*/ 19 h 110"/>
                  <a:gd name="T8" fmla="*/ 91 w 110"/>
                  <a:gd name="T9" fmla="*/ 9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110">
                    <a:moveTo>
                      <a:pt x="91" y="90"/>
                    </a:moveTo>
                    <a:cubicBezTo>
                      <a:pt x="71" y="110"/>
                      <a:pt x="39" y="110"/>
                      <a:pt x="20" y="90"/>
                    </a:cubicBezTo>
                    <a:cubicBezTo>
                      <a:pt x="0" y="71"/>
                      <a:pt x="0" y="39"/>
                      <a:pt x="20" y="19"/>
                    </a:cubicBezTo>
                    <a:cubicBezTo>
                      <a:pt x="39" y="0"/>
                      <a:pt x="71" y="0"/>
                      <a:pt x="91" y="19"/>
                    </a:cubicBezTo>
                    <a:cubicBezTo>
                      <a:pt x="110" y="39"/>
                      <a:pt x="110" y="71"/>
                      <a:pt x="91" y="90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482" name="Freeform 73">
                <a:extLst>
                  <a:ext uri="{FF2B5EF4-FFF2-40B4-BE49-F238E27FC236}">
                    <a16:creationId xmlns:a16="http://schemas.microsoft.com/office/drawing/2014/main" id="{47A276F7-DA56-4008-BACA-D0B729DBC7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21" y="2162"/>
                <a:ext cx="7" cy="7"/>
              </a:xfrm>
              <a:custGeom>
                <a:avLst/>
                <a:gdLst>
                  <a:gd name="T0" fmla="*/ 91 w 110"/>
                  <a:gd name="T1" fmla="*/ 90 h 110"/>
                  <a:gd name="T2" fmla="*/ 20 w 110"/>
                  <a:gd name="T3" fmla="*/ 90 h 110"/>
                  <a:gd name="T4" fmla="*/ 20 w 110"/>
                  <a:gd name="T5" fmla="*/ 19 h 110"/>
                  <a:gd name="T6" fmla="*/ 91 w 110"/>
                  <a:gd name="T7" fmla="*/ 19 h 110"/>
                  <a:gd name="T8" fmla="*/ 91 w 110"/>
                  <a:gd name="T9" fmla="*/ 9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110">
                    <a:moveTo>
                      <a:pt x="91" y="90"/>
                    </a:moveTo>
                    <a:cubicBezTo>
                      <a:pt x="71" y="110"/>
                      <a:pt x="39" y="110"/>
                      <a:pt x="20" y="90"/>
                    </a:cubicBezTo>
                    <a:cubicBezTo>
                      <a:pt x="0" y="71"/>
                      <a:pt x="0" y="39"/>
                      <a:pt x="20" y="19"/>
                    </a:cubicBezTo>
                    <a:cubicBezTo>
                      <a:pt x="39" y="0"/>
                      <a:pt x="71" y="0"/>
                      <a:pt x="91" y="19"/>
                    </a:cubicBezTo>
                    <a:cubicBezTo>
                      <a:pt x="110" y="39"/>
                      <a:pt x="110" y="71"/>
                      <a:pt x="91" y="90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483" name="Freeform 74">
                <a:extLst>
                  <a:ext uri="{FF2B5EF4-FFF2-40B4-BE49-F238E27FC236}">
                    <a16:creationId xmlns:a16="http://schemas.microsoft.com/office/drawing/2014/main" id="{F14F84C6-4E96-426D-AD25-A4ADBFD02A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62" y="2162"/>
                <a:ext cx="6" cy="6"/>
              </a:xfrm>
              <a:custGeom>
                <a:avLst/>
                <a:gdLst>
                  <a:gd name="T0" fmla="*/ 50 w 101"/>
                  <a:gd name="T1" fmla="*/ 100 h 100"/>
                  <a:gd name="T2" fmla="*/ 0 w 101"/>
                  <a:gd name="T3" fmla="*/ 50 h 100"/>
                  <a:gd name="T4" fmla="*/ 50 w 101"/>
                  <a:gd name="T5" fmla="*/ 0 h 100"/>
                  <a:gd name="T6" fmla="*/ 100 w 101"/>
                  <a:gd name="T7" fmla="*/ 50 h 100"/>
                  <a:gd name="T8" fmla="*/ 50 w 101"/>
                  <a:gd name="T9" fmla="*/ 10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1" h="100">
                    <a:moveTo>
                      <a:pt x="50" y="100"/>
                    </a:moveTo>
                    <a:cubicBezTo>
                      <a:pt x="23" y="100"/>
                      <a:pt x="0" y="77"/>
                      <a:pt x="0" y="50"/>
                    </a:cubicBezTo>
                    <a:cubicBezTo>
                      <a:pt x="0" y="23"/>
                      <a:pt x="23" y="0"/>
                      <a:pt x="50" y="0"/>
                    </a:cubicBezTo>
                    <a:cubicBezTo>
                      <a:pt x="78" y="0"/>
                      <a:pt x="100" y="23"/>
                      <a:pt x="100" y="50"/>
                    </a:cubicBezTo>
                    <a:cubicBezTo>
                      <a:pt x="101" y="78"/>
                      <a:pt x="78" y="100"/>
                      <a:pt x="50" y="100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484" name="Freeform 75">
                <a:extLst>
                  <a:ext uri="{FF2B5EF4-FFF2-40B4-BE49-F238E27FC236}">
                    <a16:creationId xmlns:a16="http://schemas.microsoft.com/office/drawing/2014/main" id="{A4618684-99AE-4A78-9213-4E20D2FC17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62" y="2162"/>
                <a:ext cx="6" cy="6"/>
              </a:xfrm>
              <a:custGeom>
                <a:avLst/>
                <a:gdLst>
                  <a:gd name="T0" fmla="*/ 50 w 101"/>
                  <a:gd name="T1" fmla="*/ 100 h 100"/>
                  <a:gd name="T2" fmla="*/ 0 w 101"/>
                  <a:gd name="T3" fmla="*/ 50 h 100"/>
                  <a:gd name="T4" fmla="*/ 50 w 101"/>
                  <a:gd name="T5" fmla="*/ 0 h 100"/>
                  <a:gd name="T6" fmla="*/ 100 w 101"/>
                  <a:gd name="T7" fmla="*/ 50 h 100"/>
                  <a:gd name="T8" fmla="*/ 50 w 101"/>
                  <a:gd name="T9" fmla="*/ 10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1" h="100">
                    <a:moveTo>
                      <a:pt x="50" y="100"/>
                    </a:moveTo>
                    <a:cubicBezTo>
                      <a:pt x="23" y="100"/>
                      <a:pt x="0" y="77"/>
                      <a:pt x="0" y="50"/>
                    </a:cubicBezTo>
                    <a:cubicBezTo>
                      <a:pt x="0" y="23"/>
                      <a:pt x="23" y="0"/>
                      <a:pt x="50" y="0"/>
                    </a:cubicBezTo>
                    <a:cubicBezTo>
                      <a:pt x="78" y="0"/>
                      <a:pt x="100" y="23"/>
                      <a:pt x="100" y="50"/>
                    </a:cubicBezTo>
                    <a:cubicBezTo>
                      <a:pt x="101" y="78"/>
                      <a:pt x="78" y="100"/>
                      <a:pt x="50" y="100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485" name="Freeform 76">
                <a:extLst>
                  <a:ext uri="{FF2B5EF4-FFF2-40B4-BE49-F238E27FC236}">
                    <a16:creationId xmlns:a16="http://schemas.microsoft.com/office/drawing/2014/main" id="{9D1E3421-CA0A-4760-816C-BCC613A89F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02" y="2162"/>
                <a:ext cx="6" cy="7"/>
              </a:xfrm>
              <a:custGeom>
                <a:avLst/>
                <a:gdLst>
                  <a:gd name="T0" fmla="*/ 91 w 111"/>
                  <a:gd name="T1" fmla="*/ 90 h 110"/>
                  <a:gd name="T2" fmla="*/ 20 w 111"/>
                  <a:gd name="T3" fmla="*/ 90 h 110"/>
                  <a:gd name="T4" fmla="*/ 20 w 111"/>
                  <a:gd name="T5" fmla="*/ 19 h 110"/>
                  <a:gd name="T6" fmla="*/ 91 w 111"/>
                  <a:gd name="T7" fmla="*/ 19 h 110"/>
                  <a:gd name="T8" fmla="*/ 91 w 111"/>
                  <a:gd name="T9" fmla="*/ 9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1" h="110">
                    <a:moveTo>
                      <a:pt x="91" y="90"/>
                    </a:moveTo>
                    <a:cubicBezTo>
                      <a:pt x="71" y="110"/>
                      <a:pt x="40" y="110"/>
                      <a:pt x="20" y="90"/>
                    </a:cubicBezTo>
                    <a:cubicBezTo>
                      <a:pt x="0" y="71"/>
                      <a:pt x="0" y="39"/>
                      <a:pt x="20" y="19"/>
                    </a:cubicBezTo>
                    <a:cubicBezTo>
                      <a:pt x="40" y="0"/>
                      <a:pt x="71" y="0"/>
                      <a:pt x="91" y="19"/>
                    </a:cubicBezTo>
                    <a:cubicBezTo>
                      <a:pt x="111" y="39"/>
                      <a:pt x="111" y="71"/>
                      <a:pt x="91" y="90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486" name="Freeform 77">
                <a:extLst>
                  <a:ext uri="{FF2B5EF4-FFF2-40B4-BE49-F238E27FC236}">
                    <a16:creationId xmlns:a16="http://schemas.microsoft.com/office/drawing/2014/main" id="{7096E7E0-1D4C-4968-92F3-BE7665D021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02" y="2162"/>
                <a:ext cx="6" cy="7"/>
              </a:xfrm>
              <a:custGeom>
                <a:avLst/>
                <a:gdLst>
                  <a:gd name="T0" fmla="*/ 91 w 111"/>
                  <a:gd name="T1" fmla="*/ 90 h 110"/>
                  <a:gd name="T2" fmla="*/ 20 w 111"/>
                  <a:gd name="T3" fmla="*/ 90 h 110"/>
                  <a:gd name="T4" fmla="*/ 20 w 111"/>
                  <a:gd name="T5" fmla="*/ 19 h 110"/>
                  <a:gd name="T6" fmla="*/ 91 w 111"/>
                  <a:gd name="T7" fmla="*/ 19 h 110"/>
                  <a:gd name="T8" fmla="*/ 91 w 111"/>
                  <a:gd name="T9" fmla="*/ 9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1" h="110">
                    <a:moveTo>
                      <a:pt x="91" y="90"/>
                    </a:moveTo>
                    <a:cubicBezTo>
                      <a:pt x="71" y="110"/>
                      <a:pt x="40" y="110"/>
                      <a:pt x="20" y="90"/>
                    </a:cubicBezTo>
                    <a:cubicBezTo>
                      <a:pt x="0" y="71"/>
                      <a:pt x="0" y="39"/>
                      <a:pt x="20" y="19"/>
                    </a:cubicBezTo>
                    <a:cubicBezTo>
                      <a:pt x="40" y="0"/>
                      <a:pt x="71" y="0"/>
                      <a:pt x="91" y="19"/>
                    </a:cubicBezTo>
                    <a:cubicBezTo>
                      <a:pt x="111" y="39"/>
                      <a:pt x="111" y="71"/>
                      <a:pt x="91" y="90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487" name="Freeform 78">
                <a:extLst>
                  <a:ext uri="{FF2B5EF4-FFF2-40B4-BE49-F238E27FC236}">
                    <a16:creationId xmlns:a16="http://schemas.microsoft.com/office/drawing/2014/main" id="{AC8EBB72-3CFF-4814-B573-EE531A98E5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42" y="2162"/>
                <a:ext cx="6" cy="7"/>
              </a:xfrm>
              <a:custGeom>
                <a:avLst/>
                <a:gdLst>
                  <a:gd name="T0" fmla="*/ 90 w 110"/>
                  <a:gd name="T1" fmla="*/ 90 h 110"/>
                  <a:gd name="T2" fmla="*/ 19 w 110"/>
                  <a:gd name="T3" fmla="*/ 90 h 110"/>
                  <a:gd name="T4" fmla="*/ 19 w 110"/>
                  <a:gd name="T5" fmla="*/ 19 h 110"/>
                  <a:gd name="T6" fmla="*/ 90 w 110"/>
                  <a:gd name="T7" fmla="*/ 19 h 110"/>
                  <a:gd name="T8" fmla="*/ 90 w 110"/>
                  <a:gd name="T9" fmla="*/ 9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110">
                    <a:moveTo>
                      <a:pt x="90" y="90"/>
                    </a:moveTo>
                    <a:cubicBezTo>
                      <a:pt x="71" y="110"/>
                      <a:pt x="39" y="110"/>
                      <a:pt x="19" y="90"/>
                    </a:cubicBezTo>
                    <a:cubicBezTo>
                      <a:pt x="0" y="71"/>
                      <a:pt x="0" y="39"/>
                      <a:pt x="19" y="19"/>
                    </a:cubicBezTo>
                    <a:cubicBezTo>
                      <a:pt x="39" y="0"/>
                      <a:pt x="71" y="0"/>
                      <a:pt x="90" y="19"/>
                    </a:cubicBezTo>
                    <a:cubicBezTo>
                      <a:pt x="110" y="39"/>
                      <a:pt x="110" y="71"/>
                      <a:pt x="90" y="90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488" name="Freeform 79">
                <a:extLst>
                  <a:ext uri="{FF2B5EF4-FFF2-40B4-BE49-F238E27FC236}">
                    <a16:creationId xmlns:a16="http://schemas.microsoft.com/office/drawing/2014/main" id="{C2A166E4-0DE4-4112-9840-9225895F6C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42" y="2162"/>
                <a:ext cx="6" cy="7"/>
              </a:xfrm>
              <a:custGeom>
                <a:avLst/>
                <a:gdLst>
                  <a:gd name="T0" fmla="*/ 90 w 110"/>
                  <a:gd name="T1" fmla="*/ 90 h 110"/>
                  <a:gd name="T2" fmla="*/ 19 w 110"/>
                  <a:gd name="T3" fmla="*/ 90 h 110"/>
                  <a:gd name="T4" fmla="*/ 19 w 110"/>
                  <a:gd name="T5" fmla="*/ 19 h 110"/>
                  <a:gd name="T6" fmla="*/ 90 w 110"/>
                  <a:gd name="T7" fmla="*/ 19 h 110"/>
                  <a:gd name="T8" fmla="*/ 90 w 110"/>
                  <a:gd name="T9" fmla="*/ 9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110">
                    <a:moveTo>
                      <a:pt x="90" y="90"/>
                    </a:moveTo>
                    <a:cubicBezTo>
                      <a:pt x="71" y="110"/>
                      <a:pt x="39" y="110"/>
                      <a:pt x="19" y="90"/>
                    </a:cubicBezTo>
                    <a:cubicBezTo>
                      <a:pt x="0" y="71"/>
                      <a:pt x="0" y="39"/>
                      <a:pt x="19" y="19"/>
                    </a:cubicBezTo>
                    <a:cubicBezTo>
                      <a:pt x="39" y="0"/>
                      <a:pt x="71" y="0"/>
                      <a:pt x="90" y="19"/>
                    </a:cubicBezTo>
                    <a:cubicBezTo>
                      <a:pt x="110" y="39"/>
                      <a:pt x="110" y="71"/>
                      <a:pt x="90" y="90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489" name="Oval 80">
                <a:extLst>
                  <a:ext uri="{FF2B5EF4-FFF2-40B4-BE49-F238E27FC236}">
                    <a16:creationId xmlns:a16="http://schemas.microsoft.com/office/drawing/2014/main" id="{1BDCF721-A579-4026-989B-3F1ABECCB3B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82" y="2162"/>
                <a:ext cx="6" cy="6"/>
              </a:xfrm>
              <a:prstGeom prst="ellipse">
                <a:avLst/>
              </a:pr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490" name="Oval 81">
                <a:extLst>
                  <a:ext uri="{FF2B5EF4-FFF2-40B4-BE49-F238E27FC236}">
                    <a16:creationId xmlns:a16="http://schemas.microsoft.com/office/drawing/2014/main" id="{82A94C49-3CB8-469F-B47B-BD120AA8FDB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82" y="2162"/>
                <a:ext cx="6" cy="6"/>
              </a:xfrm>
              <a:prstGeom prst="ellipse">
                <a:avLst/>
              </a:pr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491" name="Freeform 82">
                <a:extLst>
                  <a:ext uri="{FF2B5EF4-FFF2-40B4-BE49-F238E27FC236}">
                    <a16:creationId xmlns:a16="http://schemas.microsoft.com/office/drawing/2014/main" id="{D886A004-CECF-48E7-8FE5-E344ADA481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00" y="2122"/>
                <a:ext cx="6" cy="6"/>
              </a:xfrm>
              <a:custGeom>
                <a:avLst/>
                <a:gdLst>
                  <a:gd name="T0" fmla="*/ 50 w 100"/>
                  <a:gd name="T1" fmla="*/ 100 h 100"/>
                  <a:gd name="T2" fmla="*/ 0 w 100"/>
                  <a:gd name="T3" fmla="*/ 50 h 100"/>
                  <a:gd name="T4" fmla="*/ 50 w 100"/>
                  <a:gd name="T5" fmla="*/ 0 h 100"/>
                  <a:gd name="T6" fmla="*/ 100 w 100"/>
                  <a:gd name="T7" fmla="*/ 50 h 100"/>
                  <a:gd name="T8" fmla="*/ 50 w 100"/>
                  <a:gd name="T9" fmla="*/ 10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0" h="100">
                    <a:moveTo>
                      <a:pt x="50" y="100"/>
                    </a:moveTo>
                    <a:cubicBezTo>
                      <a:pt x="23" y="100"/>
                      <a:pt x="0" y="77"/>
                      <a:pt x="0" y="50"/>
                    </a:cubicBezTo>
                    <a:cubicBezTo>
                      <a:pt x="0" y="22"/>
                      <a:pt x="23" y="0"/>
                      <a:pt x="50" y="0"/>
                    </a:cubicBezTo>
                    <a:cubicBezTo>
                      <a:pt x="78" y="0"/>
                      <a:pt x="100" y="22"/>
                      <a:pt x="100" y="50"/>
                    </a:cubicBezTo>
                    <a:cubicBezTo>
                      <a:pt x="100" y="78"/>
                      <a:pt x="78" y="100"/>
                      <a:pt x="50" y="100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492" name="Freeform 83">
                <a:extLst>
                  <a:ext uri="{FF2B5EF4-FFF2-40B4-BE49-F238E27FC236}">
                    <a16:creationId xmlns:a16="http://schemas.microsoft.com/office/drawing/2014/main" id="{DCEDB123-6E69-4FDF-A4A1-F321B12E2E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00" y="2122"/>
                <a:ext cx="6" cy="6"/>
              </a:xfrm>
              <a:custGeom>
                <a:avLst/>
                <a:gdLst>
                  <a:gd name="T0" fmla="*/ 50 w 100"/>
                  <a:gd name="T1" fmla="*/ 100 h 100"/>
                  <a:gd name="T2" fmla="*/ 0 w 100"/>
                  <a:gd name="T3" fmla="*/ 50 h 100"/>
                  <a:gd name="T4" fmla="*/ 50 w 100"/>
                  <a:gd name="T5" fmla="*/ 0 h 100"/>
                  <a:gd name="T6" fmla="*/ 100 w 100"/>
                  <a:gd name="T7" fmla="*/ 50 h 100"/>
                  <a:gd name="T8" fmla="*/ 50 w 100"/>
                  <a:gd name="T9" fmla="*/ 10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0" h="100">
                    <a:moveTo>
                      <a:pt x="50" y="100"/>
                    </a:moveTo>
                    <a:cubicBezTo>
                      <a:pt x="23" y="100"/>
                      <a:pt x="0" y="77"/>
                      <a:pt x="0" y="50"/>
                    </a:cubicBezTo>
                    <a:cubicBezTo>
                      <a:pt x="0" y="22"/>
                      <a:pt x="23" y="0"/>
                      <a:pt x="50" y="0"/>
                    </a:cubicBezTo>
                    <a:cubicBezTo>
                      <a:pt x="78" y="0"/>
                      <a:pt x="100" y="22"/>
                      <a:pt x="100" y="50"/>
                    </a:cubicBezTo>
                    <a:cubicBezTo>
                      <a:pt x="100" y="78"/>
                      <a:pt x="78" y="100"/>
                      <a:pt x="50" y="100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493" name="Freeform 84">
                <a:extLst>
                  <a:ext uri="{FF2B5EF4-FFF2-40B4-BE49-F238E27FC236}">
                    <a16:creationId xmlns:a16="http://schemas.microsoft.com/office/drawing/2014/main" id="{FCF12DA2-2C3A-4DB5-9FA2-4EF6F88A20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40" y="2122"/>
                <a:ext cx="6" cy="6"/>
              </a:xfrm>
              <a:custGeom>
                <a:avLst/>
                <a:gdLst>
                  <a:gd name="T0" fmla="*/ 51 w 101"/>
                  <a:gd name="T1" fmla="*/ 100 h 100"/>
                  <a:gd name="T2" fmla="*/ 0 w 101"/>
                  <a:gd name="T3" fmla="*/ 50 h 100"/>
                  <a:gd name="T4" fmla="*/ 51 w 101"/>
                  <a:gd name="T5" fmla="*/ 0 h 100"/>
                  <a:gd name="T6" fmla="*/ 101 w 101"/>
                  <a:gd name="T7" fmla="*/ 50 h 100"/>
                  <a:gd name="T8" fmla="*/ 51 w 101"/>
                  <a:gd name="T9" fmla="*/ 10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1" h="100">
                    <a:moveTo>
                      <a:pt x="51" y="100"/>
                    </a:moveTo>
                    <a:cubicBezTo>
                      <a:pt x="23" y="100"/>
                      <a:pt x="0" y="77"/>
                      <a:pt x="0" y="50"/>
                    </a:cubicBezTo>
                    <a:cubicBezTo>
                      <a:pt x="0" y="22"/>
                      <a:pt x="23" y="0"/>
                      <a:pt x="51" y="0"/>
                    </a:cubicBezTo>
                    <a:cubicBezTo>
                      <a:pt x="78" y="0"/>
                      <a:pt x="101" y="22"/>
                      <a:pt x="101" y="50"/>
                    </a:cubicBezTo>
                    <a:cubicBezTo>
                      <a:pt x="100" y="78"/>
                      <a:pt x="78" y="100"/>
                      <a:pt x="51" y="100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494" name="Freeform 85">
                <a:extLst>
                  <a:ext uri="{FF2B5EF4-FFF2-40B4-BE49-F238E27FC236}">
                    <a16:creationId xmlns:a16="http://schemas.microsoft.com/office/drawing/2014/main" id="{73E28B6C-C95F-4C60-AA63-CED299FA2C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40" y="2122"/>
                <a:ext cx="6" cy="6"/>
              </a:xfrm>
              <a:custGeom>
                <a:avLst/>
                <a:gdLst>
                  <a:gd name="T0" fmla="*/ 51 w 101"/>
                  <a:gd name="T1" fmla="*/ 100 h 100"/>
                  <a:gd name="T2" fmla="*/ 0 w 101"/>
                  <a:gd name="T3" fmla="*/ 50 h 100"/>
                  <a:gd name="T4" fmla="*/ 51 w 101"/>
                  <a:gd name="T5" fmla="*/ 0 h 100"/>
                  <a:gd name="T6" fmla="*/ 101 w 101"/>
                  <a:gd name="T7" fmla="*/ 50 h 100"/>
                  <a:gd name="T8" fmla="*/ 51 w 101"/>
                  <a:gd name="T9" fmla="*/ 10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1" h="100">
                    <a:moveTo>
                      <a:pt x="51" y="100"/>
                    </a:moveTo>
                    <a:cubicBezTo>
                      <a:pt x="23" y="100"/>
                      <a:pt x="0" y="77"/>
                      <a:pt x="0" y="50"/>
                    </a:cubicBezTo>
                    <a:cubicBezTo>
                      <a:pt x="0" y="22"/>
                      <a:pt x="23" y="0"/>
                      <a:pt x="51" y="0"/>
                    </a:cubicBezTo>
                    <a:cubicBezTo>
                      <a:pt x="78" y="0"/>
                      <a:pt x="101" y="22"/>
                      <a:pt x="101" y="50"/>
                    </a:cubicBezTo>
                    <a:cubicBezTo>
                      <a:pt x="100" y="78"/>
                      <a:pt x="78" y="100"/>
                      <a:pt x="51" y="100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495" name="Oval 86">
                <a:extLst>
                  <a:ext uri="{FF2B5EF4-FFF2-40B4-BE49-F238E27FC236}">
                    <a16:creationId xmlns:a16="http://schemas.microsoft.com/office/drawing/2014/main" id="{279E4357-3239-434D-A783-2035A47390B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81" y="2122"/>
                <a:ext cx="6" cy="6"/>
              </a:xfrm>
              <a:prstGeom prst="ellipse">
                <a:avLst/>
              </a:pr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496" name="Oval 87">
                <a:extLst>
                  <a:ext uri="{FF2B5EF4-FFF2-40B4-BE49-F238E27FC236}">
                    <a16:creationId xmlns:a16="http://schemas.microsoft.com/office/drawing/2014/main" id="{2767C860-2F0F-4C35-B9D8-5D6A20BFE58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81" y="2122"/>
                <a:ext cx="6" cy="6"/>
              </a:xfrm>
              <a:prstGeom prst="ellipse">
                <a:avLst/>
              </a:pr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497" name="Oval 88">
                <a:extLst>
                  <a:ext uri="{FF2B5EF4-FFF2-40B4-BE49-F238E27FC236}">
                    <a16:creationId xmlns:a16="http://schemas.microsoft.com/office/drawing/2014/main" id="{A5FF9461-08BA-427D-B617-81D5F6831EE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21" y="2122"/>
                <a:ext cx="6" cy="6"/>
              </a:xfrm>
              <a:prstGeom prst="ellipse">
                <a:avLst/>
              </a:pr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498" name="Oval 89">
                <a:extLst>
                  <a:ext uri="{FF2B5EF4-FFF2-40B4-BE49-F238E27FC236}">
                    <a16:creationId xmlns:a16="http://schemas.microsoft.com/office/drawing/2014/main" id="{4C8C34FA-2AFE-49E1-907A-BD89093AF97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21" y="2122"/>
                <a:ext cx="6" cy="6"/>
              </a:xfrm>
              <a:prstGeom prst="ellipse">
                <a:avLst/>
              </a:pr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499" name="Freeform 90">
                <a:extLst>
                  <a:ext uri="{FF2B5EF4-FFF2-40B4-BE49-F238E27FC236}">
                    <a16:creationId xmlns:a16="http://schemas.microsoft.com/office/drawing/2014/main" id="{1671E327-6888-4E65-8CE7-A543254B81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60" y="2122"/>
                <a:ext cx="7" cy="7"/>
              </a:xfrm>
              <a:custGeom>
                <a:avLst/>
                <a:gdLst>
                  <a:gd name="T0" fmla="*/ 91 w 110"/>
                  <a:gd name="T1" fmla="*/ 90 h 110"/>
                  <a:gd name="T2" fmla="*/ 20 w 110"/>
                  <a:gd name="T3" fmla="*/ 90 h 110"/>
                  <a:gd name="T4" fmla="*/ 20 w 110"/>
                  <a:gd name="T5" fmla="*/ 19 h 110"/>
                  <a:gd name="T6" fmla="*/ 91 w 110"/>
                  <a:gd name="T7" fmla="*/ 19 h 110"/>
                  <a:gd name="T8" fmla="*/ 91 w 110"/>
                  <a:gd name="T9" fmla="*/ 9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110">
                    <a:moveTo>
                      <a:pt x="91" y="90"/>
                    </a:moveTo>
                    <a:cubicBezTo>
                      <a:pt x="71" y="110"/>
                      <a:pt x="39" y="110"/>
                      <a:pt x="20" y="90"/>
                    </a:cubicBezTo>
                    <a:cubicBezTo>
                      <a:pt x="0" y="71"/>
                      <a:pt x="0" y="39"/>
                      <a:pt x="20" y="19"/>
                    </a:cubicBezTo>
                    <a:cubicBezTo>
                      <a:pt x="39" y="0"/>
                      <a:pt x="71" y="0"/>
                      <a:pt x="91" y="19"/>
                    </a:cubicBezTo>
                    <a:cubicBezTo>
                      <a:pt x="110" y="39"/>
                      <a:pt x="110" y="71"/>
                      <a:pt x="91" y="90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500" name="Freeform 91">
                <a:extLst>
                  <a:ext uri="{FF2B5EF4-FFF2-40B4-BE49-F238E27FC236}">
                    <a16:creationId xmlns:a16="http://schemas.microsoft.com/office/drawing/2014/main" id="{BBBF4B6F-9B69-400F-A8A8-69A6CB9ABF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60" y="2122"/>
                <a:ext cx="7" cy="7"/>
              </a:xfrm>
              <a:custGeom>
                <a:avLst/>
                <a:gdLst>
                  <a:gd name="T0" fmla="*/ 91 w 110"/>
                  <a:gd name="T1" fmla="*/ 90 h 110"/>
                  <a:gd name="T2" fmla="*/ 20 w 110"/>
                  <a:gd name="T3" fmla="*/ 90 h 110"/>
                  <a:gd name="T4" fmla="*/ 20 w 110"/>
                  <a:gd name="T5" fmla="*/ 19 h 110"/>
                  <a:gd name="T6" fmla="*/ 91 w 110"/>
                  <a:gd name="T7" fmla="*/ 19 h 110"/>
                  <a:gd name="T8" fmla="*/ 91 w 110"/>
                  <a:gd name="T9" fmla="*/ 9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110">
                    <a:moveTo>
                      <a:pt x="91" y="90"/>
                    </a:moveTo>
                    <a:cubicBezTo>
                      <a:pt x="71" y="110"/>
                      <a:pt x="39" y="110"/>
                      <a:pt x="20" y="90"/>
                    </a:cubicBezTo>
                    <a:cubicBezTo>
                      <a:pt x="0" y="71"/>
                      <a:pt x="0" y="39"/>
                      <a:pt x="20" y="19"/>
                    </a:cubicBezTo>
                    <a:cubicBezTo>
                      <a:pt x="39" y="0"/>
                      <a:pt x="71" y="0"/>
                      <a:pt x="91" y="19"/>
                    </a:cubicBezTo>
                    <a:cubicBezTo>
                      <a:pt x="110" y="39"/>
                      <a:pt x="110" y="71"/>
                      <a:pt x="91" y="90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501" name="Oval 92">
                <a:extLst>
                  <a:ext uri="{FF2B5EF4-FFF2-40B4-BE49-F238E27FC236}">
                    <a16:creationId xmlns:a16="http://schemas.microsoft.com/office/drawing/2014/main" id="{9ACCDBB5-F0B5-473D-BDE5-BF36B525CC8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01" y="2122"/>
                <a:ext cx="6" cy="6"/>
              </a:xfrm>
              <a:prstGeom prst="ellipse">
                <a:avLst/>
              </a:pr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502" name="Oval 93">
                <a:extLst>
                  <a:ext uri="{FF2B5EF4-FFF2-40B4-BE49-F238E27FC236}">
                    <a16:creationId xmlns:a16="http://schemas.microsoft.com/office/drawing/2014/main" id="{4F17C15C-267E-4156-AFBE-D5501708811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01" y="2122"/>
                <a:ext cx="6" cy="6"/>
              </a:xfrm>
              <a:prstGeom prst="ellipse">
                <a:avLst/>
              </a:pr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503" name="Freeform 94">
                <a:extLst>
                  <a:ext uri="{FF2B5EF4-FFF2-40B4-BE49-F238E27FC236}">
                    <a16:creationId xmlns:a16="http://schemas.microsoft.com/office/drawing/2014/main" id="{B876E469-D065-4657-A51E-48B540B910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41" y="2122"/>
                <a:ext cx="6" cy="7"/>
              </a:xfrm>
              <a:custGeom>
                <a:avLst/>
                <a:gdLst>
                  <a:gd name="T0" fmla="*/ 90 w 110"/>
                  <a:gd name="T1" fmla="*/ 90 h 110"/>
                  <a:gd name="T2" fmla="*/ 19 w 110"/>
                  <a:gd name="T3" fmla="*/ 90 h 110"/>
                  <a:gd name="T4" fmla="*/ 19 w 110"/>
                  <a:gd name="T5" fmla="*/ 19 h 110"/>
                  <a:gd name="T6" fmla="*/ 90 w 110"/>
                  <a:gd name="T7" fmla="*/ 19 h 110"/>
                  <a:gd name="T8" fmla="*/ 90 w 110"/>
                  <a:gd name="T9" fmla="*/ 9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110">
                    <a:moveTo>
                      <a:pt x="90" y="90"/>
                    </a:moveTo>
                    <a:cubicBezTo>
                      <a:pt x="70" y="110"/>
                      <a:pt x="39" y="110"/>
                      <a:pt x="19" y="90"/>
                    </a:cubicBezTo>
                    <a:cubicBezTo>
                      <a:pt x="0" y="71"/>
                      <a:pt x="0" y="39"/>
                      <a:pt x="19" y="19"/>
                    </a:cubicBezTo>
                    <a:cubicBezTo>
                      <a:pt x="39" y="0"/>
                      <a:pt x="70" y="0"/>
                      <a:pt x="90" y="19"/>
                    </a:cubicBezTo>
                    <a:cubicBezTo>
                      <a:pt x="110" y="39"/>
                      <a:pt x="110" y="71"/>
                      <a:pt x="90" y="90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504" name="Freeform 95">
                <a:extLst>
                  <a:ext uri="{FF2B5EF4-FFF2-40B4-BE49-F238E27FC236}">
                    <a16:creationId xmlns:a16="http://schemas.microsoft.com/office/drawing/2014/main" id="{B90F6080-C0DA-4D61-96DB-7B6BF18A8C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41" y="2122"/>
                <a:ext cx="6" cy="7"/>
              </a:xfrm>
              <a:custGeom>
                <a:avLst/>
                <a:gdLst>
                  <a:gd name="T0" fmla="*/ 90 w 110"/>
                  <a:gd name="T1" fmla="*/ 90 h 110"/>
                  <a:gd name="T2" fmla="*/ 19 w 110"/>
                  <a:gd name="T3" fmla="*/ 90 h 110"/>
                  <a:gd name="T4" fmla="*/ 19 w 110"/>
                  <a:gd name="T5" fmla="*/ 19 h 110"/>
                  <a:gd name="T6" fmla="*/ 90 w 110"/>
                  <a:gd name="T7" fmla="*/ 19 h 110"/>
                  <a:gd name="T8" fmla="*/ 90 w 110"/>
                  <a:gd name="T9" fmla="*/ 9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110">
                    <a:moveTo>
                      <a:pt x="90" y="90"/>
                    </a:moveTo>
                    <a:cubicBezTo>
                      <a:pt x="70" y="110"/>
                      <a:pt x="39" y="110"/>
                      <a:pt x="19" y="90"/>
                    </a:cubicBezTo>
                    <a:cubicBezTo>
                      <a:pt x="0" y="71"/>
                      <a:pt x="0" y="39"/>
                      <a:pt x="19" y="19"/>
                    </a:cubicBezTo>
                    <a:cubicBezTo>
                      <a:pt x="39" y="0"/>
                      <a:pt x="70" y="0"/>
                      <a:pt x="90" y="19"/>
                    </a:cubicBezTo>
                    <a:cubicBezTo>
                      <a:pt x="110" y="39"/>
                      <a:pt x="110" y="71"/>
                      <a:pt x="90" y="90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505" name="Freeform 96">
                <a:extLst>
                  <a:ext uri="{FF2B5EF4-FFF2-40B4-BE49-F238E27FC236}">
                    <a16:creationId xmlns:a16="http://schemas.microsoft.com/office/drawing/2014/main" id="{92562715-4D6E-481F-A68C-1C7833C524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81" y="2122"/>
                <a:ext cx="6" cy="7"/>
              </a:xfrm>
              <a:custGeom>
                <a:avLst/>
                <a:gdLst>
                  <a:gd name="T0" fmla="*/ 90 w 110"/>
                  <a:gd name="T1" fmla="*/ 90 h 110"/>
                  <a:gd name="T2" fmla="*/ 19 w 110"/>
                  <a:gd name="T3" fmla="*/ 90 h 110"/>
                  <a:gd name="T4" fmla="*/ 19 w 110"/>
                  <a:gd name="T5" fmla="*/ 19 h 110"/>
                  <a:gd name="T6" fmla="*/ 90 w 110"/>
                  <a:gd name="T7" fmla="*/ 19 h 110"/>
                  <a:gd name="T8" fmla="*/ 90 w 110"/>
                  <a:gd name="T9" fmla="*/ 9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110">
                    <a:moveTo>
                      <a:pt x="90" y="90"/>
                    </a:moveTo>
                    <a:cubicBezTo>
                      <a:pt x="71" y="110"/>
                      <a:pt x="39" y="110"/>
                      <a:pt x="19" y="90"/>
                    </a:cubicBezTo>
                    <a:cubicBezTo>
                      <a:pt x="0" y="71"/>
                      <a:pt x="0" y="39"/>
                      <a:pt x="19" y="19"/>
                    </a:cubicBezTo>
                    <a:cubicBezTo>
                      <a:pt x="39" y="0"/>
                      <a:pt x="71" y="0"/>
                      <a:pt x="90" y="19"/>
                    </a:cubicBezTo>
                    <a:cubicBezTo>
                      <a:pt x="110" y="39"/>
                      <a:pt x="110" y="71"/>
                      <a:pt x="90" y="90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506" name="Freeform 97">
                <a:extLst>
                  <a:ext uri="{FF2B5EF4-FFF2-40B4-BE49-F238E27FC236}">
                    <a16:creationId xmlns:a16="http://schemas.microsoft.com/office/drawing/2014/main" id="{A1E5656A-95E6-4D60-B2C4-C2086C577F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81" y="2122"/>
                <a:ext cx="6" cy="7"/>
              </a:xfrm>
              <a:custGeom>
                <a:avLst/>
                <a:gdLst>
                  <a:gd name="T0" fmla="*/ 90 w 110"/>
                  <a:gd name="T1" fmla="*/ 90 h 110"/>
                  <a:gd name="T2" fmla="*/ 19 w 110"/>
                  <a:gd name="T3" fmla="*/ 90 h 110"/>
                  <a:gd name="T4" fmla="*/ 19 w 110"/>
                  <a:gd name="T5" fmla="*/ 19 h 110"/>
                  <a:gd name="T6" fmla="*/ 90 w 110"/>
                  <a:gd name="T7" fmla="*/ 19 h 110"/>
                  <a:gd name="T8" fmla="*/ 90 w 110"/>
                  <a:gd name="T9" fmla="*/ 9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110">
                    <a:moveTo>
                      <a:pt x="90" y="90"/>
                    </a:moveTo>
                    <a:cubicBezTo>
                      <a:pt x="71" y="110"/>
                      <a:pt x="39" y="110"/>
                      <a:pt x="19" y="90"/>
                    </a:cubicBezTo>
                    <a:cubicBezTo>
                      <a:pt x="0" y="71"/>
                      <a:pt x="0" y="39"/>
                      <a:pt x="19" y="19"/>
                    </a:cubicBezTo>
                    <a:cubicBezTo>
                      <a:pt x="39" y="0"/>
                      <a:pt x="71" y="0"/>
                      <a:pt x="90" y="19"/>
                    </a:cubicBezTo>
                    <a:cubicBezTo>
                      <a:pt x="110" y="39"/>
                      <a:pt x="110" y="71"/>
                      <a:pt x="90" y="90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507" name="Freeform 98">
                <a:extLst>
                  <a:ext uri="{FF2B5EF4-FFF2-40B4-BE49-F238E27FC236}">
                    <a16:creationId xmlns:a16="http://schemas.microsoft.com/office/drawing/2014/main" id="{4FC5BFA2-A11B-4F49-8EA0-FF49A75C46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21" y="2122"/>
                <a:ext cx="6" cy="6"/>
              </a:xfrm>
              <a:custGeom>
                <a:avLst/>
                <a:gdLst>
                  <a:gd name="T0" fmla="*/ 50 w 101"/>
                  <a:gd name="T1" fmla="*/ 100 h 100"/>
                  <a:gd name="T2" fmla="*/ 0 w 101"/>
                  <a:gd name="T3" fmla="*/ 50 h 100"/>
                  <a:gd name="T4" fmla="*/ 50 w 101"/>
                  <a:gd name="T5" fmla="*/ 0 h 100"/>
                  <a:gd name="T6" fmla="*/ 100 w 101"/>
                  <a:gd name="T7" fmla="*/ 50 h 100"/>
                  <a:gd name="T8" fmla="*/ 50 w 101"/>
                  <a:gd name="T9" fmla="*/ 10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1" h="100">
                    <a:moveTo>
                      <a:pt x="50" y="100"/>
                    </a:moveTo>
                    <a:cubicBezTo>
                      <a:pt x="23" y="100"/>
                      <a:pt x="0" y="77"/>
                      <a:pt x="0" y="50"/>
                    </a:cubicBezTo>
                    <a:cubicBezTo>
                      <a:pt x="0" y="22"/>
                      <a:pt x="23" y="0"/>
                      <a:pt x="50" y="0"/>
                    </a:cubicBezTo>
                    <a:cubicBezTo>
                      <a:pt x="77" y="0"/>
                      <a:pt x="100" y="22"/>
                      <a:pt x="100" y="50"/>
                    </a:cubicBezTo>
                    <a:cubicBezTo>
                      <a:pt x="101" y="78"/>
                      <a:pt x="78" y="100"/>
                      <a:pt x="50" y="100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508" name="Freeform 99">
                <a:extLst>
                  <a:ext uri="{FF2B5EF4-FFF2-40B4-BE49-F238E27FC236}">
                    <a16:creationId xmlns:a16="http://schemas.microsoft.com/office/drawing/2014/main" id="{B385C154-5970-407F-AA4E-BECA910FB6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21" y="2122"/>
                <a:ext cx="6" cy="6"/>
              </a:xfrm>
              <a:custGeom>
                <a:avLst/>
                <a:gdLst>
                  <a:gd name="T0" fmla="*/ 50 w 101"/>
                  <a:gd name="T1" fmla="*/ 100 h 100"/>
                  <a:gd name="T2" fmla="*/ 0 w 101"/>
                  <a:gd name="T3" fmla="*/ 50 h 100"/>
                  <a:gd name="T4" fmla="*/ 50 w 101"/>
                  <a:gd name="T5" fmla="*/ 0 h 100"/>
                  <a:gd name="T6" fmla="*/ 100 w 101"/>
                  <a:gd name="T7" fmla="*/ 50 h 100"/>
                  <a:gd name="T8" fmla="*/ 50 w 101"/>
                  <a:gd name="T9" fmla="*/ 10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1" h="100">
                    <a:moveTo>
                      <a:pt x="50" y="100"/>
                    </a:moveTo>
                    <a:cubicBezTo>
                      <a:pt x="23" y="100"/>
                      <a:pt x="0" y="77"/>
                      <a:pt x="0" y="50"/>
                    </a:cubicBezTo>
                    <a:cubicBezTo>
                      <a:pt x="0" y="22"/>
                      <a:pt x="23" y="0"/>
                      <a:pt x="50" y="0"/>
                    </a:cubicBezTo>
                    <a:cubicBezTo>
                      <a:pt x="77" y="0"/>
                      <a:pt x="100" y="22"/>
                      <a:pt x="100" y="50"/>
                    </a:cubicBezTo>
                    <a:cubicBezTo>
                      <a:pt x="101" y="78"/>
                      <a:pt x="78" y="100"/>
                      <a:pt x="50" y="100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509" name="Freeform 100">
                <a:extLst>
                  <a:ext uri="{FF2B5EF4-FFF2-40B4-BE49-F238E27FC236}">
                    <a16:creationId xmlns:a16="http://schemas.microsoft.com/office/drawing/2014/main" id="{27C02E6B-2F56-4F19-8E91-907754D42C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61" y="2122"/>
                <a:ext cx="7" cy="7"/>
              </a:xfrm>
              <a:custGeom>
                <a:avLst/>
                <a:gdLst>
                  <a:gd name="T0" fmla="*/ 91 w 110"/>
                  <a:gd name="T1" fmla="*/ 90 h 110"/>
                  <a:gd name="T2" fmla="*/ 20 w 110"/>
                  <a:gd name="T3" fmla="*/ 90 h 110"/>
                  <a:gd name="T4" fmla="*/ 20 w 110"/>
                  <a:gd name="T5" fmla="*/ 19 h 110"/>
                  <a:gd name="T6" fmla="*/ 91 w 110"/>
                  <a:gd name="T7" fmla="*/ 19 h 110"/>
                  <a:gd name="T8" fmla="*/ 91 w 110"/>
                  <a:gd name="T9" fmla="*/ 9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110">
                    <a:moveTo>
                      <a:pt x="91" y="90"/>
                    </a:moveTo>
                    <a:cubicBezTo>
                      <a:pt x="71" y="110"/>
                      <a:pt x="39" y="110"/>
                      <a:pt x="20" y="90"/>
                    </a:cubicBezTo>
                    <a:cubicBezTo>
                      <a:pt x="0" y="71"/>
                      <a:pt x="0" y="39"/>
                      <a:pt x="20" y="19"/>
                    </a:cubicBezTo>
                    <a:cubicBezTo>
                      <a:pt x="39" y="0"/>
                      <a:pt x="71" y="0"/>
                      <a:pt x="91" y="19"/>
                    </a:cubicBezTo>
                    <a:cubicBezTo>
                      <a:pt x="110" y="39"/>
                      <a:pt x="110" y="71"/>
                      <a:pt x="91" y="90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510" name="Freeform 101">
                <a:extLst>
                  <a:ext uri="{FF2B5EF4-FFF2-40B4-BE49-F238E27FC236}">
                    <a16:creationId xmlns:a16="http://schemas.microsoft.com/office/drawing/2014/main" id="{FC27C015-338F-46E7-9127-5C3D5E1495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61" y="2122"/>
                <a:ext cx="7" cy="7"/>
              </a:xfrm>
              <a:custGeom>
                <a:avLst/>
                <a:gdLst>
                  <a:gd name="T0" fmla="*/ 91 w 110"/>
                  <a:gd name="T1" fmla="*/ 90 h 110"/>
                  <a:gd name="T2" fmla="*/ 20 w 110"/>
                  <a:gd name="T3" fmla="*/ 90 h 110"/>
                  <a:gd name="T4" fmla="*/ 20 w 110"/>
                  <a:gd name="T5" fmla="*/ 19 h 110"/>
                  <a:gd name="T6" fmla="*/ 91 w 110"/>
                  <a:gd name="T7" fmla="*/ 19 h 110"/>
                  <a:gd name="T8" fmla="*/ 91 w 110"/>
                  <a:gd name="T9" fmla="*/ 9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110">
                    <a:moveTo>
                      <a:pt x="91" y="90"/>
                    </a:moveTo>
                    <a:cubicBezTo>
                      <a:pt x="71" y="110"/>
                      <a:pt x="39" y="110"/>
                      <a:pt x="20" y="90"/>
                    </a:cubicBezTo>
                    <a:cubicBezTo>
                      <a:pt x="0" y="71"/>
                      <a:pt x="0" y="39"/>
                      <a:pt x="20" y="19"/>
                    </a:cubicBezTo>
                    <a:cubicBezTo>
                      <a:pt x="39" y="0"/>
                      <a:pt x="71" y="0"/>
                      <a:pt x="91" y="19"/>
                    </a:cubicBezTo>
                    <a:cubicBezTo>
                      <a:pt x="110" y="39"/>
                      <a:pt x="110" y="71"/>
                      <a:pt x="91" y="90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511" name="Freeform 102">
                <a:extLst>
                  <a:ext uri="{FF2B5EF4-FFF2-40B4-BE49-F238E27FC236}">
                    <a16:creationId xmlns:a16="http://schemas.microsoft.com/office/drawing/2014/main" id="{F8C34736-2E32-47FC-994C-0D8A4A80E5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01" y="2122"/>
                <a:ext cx="7" cy="7"/>
              </a:xfrm>
              <a:custGeom>
                <a:avLst/>
                <a:gdLst>
                  <a:gd name="T0" fmla="*/ 91 w 110"/>
                  <a:gd name="T1" fmla="*/ 90 h 110"/>
                  <a:gd name="T2" fmla="*/ 20 w 110"/>
                  <a:gd name="T3" fmla="*/ 90 h 110"/>
                  <a:gd name="T4" fmla="*/ 20 w 110"/>
                  <a:gd name="T5" fmla="*/ 19 h 110"/>
                  <a:gd name="T6" fmla="*/ 91 w 110"/>
                  <a:gd name="T7" fmla="*/ 19 h 110"/>
                  <a:gd name="T8" fmla="*/ 91 w 110"/>
                  <a:gd name="T9" fmla="*/ 9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110">
                    <a:moveTo>
                      <a:pt x="91" y="90"/>
                    </a:moveTo>
                    <a:cubicBezTo>
                      <a:pt x="71" y="110"/>
                      <a:pt x="40" y="110"/>
                      <a:pt x="20" y="90"/>
                    </a:cubicBezTo>
                    <a:cubicBezTo>
                      <a:pt x="0" y="71"/>
                      <a:pt x="0" y="39"/>
                      <a:pt x="20" y="19"/>
                    </a:cubicBezTo>
                    <a:cubicBezTo>
                      <a:pt x="40" y="0"/>
                      <a:pt x="71" y="0"/>
                      <a:pt x="91" y="19"/>
                    </a:cubicBezTo>
                    <a:cubicBezTo>
                      <a:pt x="110" y="39"/>
                      <a:pt x="110" y="71"/>
                      <a:pt x="91" y="90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512" name="Freeform 103">
                <a:extLst>
                  <a:ext uri="{FF2B5EF4-FFF2-40B4-BE49-F238E27FC236}">
                    <a16:creationId xmlns:a16="http://schemas.microsoft.com/office/drawing/2014/main" id="{12514D2C-1E30-4581-9CF5-6516A81FFD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01" y="2122"/>
                <a:ext cx="7" cy="7"/>
              </a:xfrm>
              <a:custGeom>
                <a:avLst/>
                <a:gdLst>
                  <a:gd name="T0" fmla="*/ 91 w 110"/>
                  <a:gd name="T1" fmla="*/ 90 h 110"/>
                  <a:gd name="T2" fmla="*/ 20 w 110"/>
                  <a:gd name="T3" fmla="*/ 90 h 110"/>
                  <a:gd name="T4" fmla="*/ 20 w 110"/>
                  <a:gd name="T5" fmla="*/ 19 h 110"/>
                  <a:gd name="T6" fmla="*/ 91 w 110"/>
                  <a:gd name="T7" fmla="*/ 19 h 110"/>
                  <a:gd name="T8" fmla="*/ 91 w 110"/>
                  <a:gd name="T9" fmla="*/ 9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110">
                    <a:moveTo>
                      <a:pt x="91" y="90"/>
                    </a:moveTo>
                    <a:cubicBezTo>
                      <a:pt x="71" y="110"/>
                      <a:pt x="40" y="110"/>
                      <a:pt x="20" y="90"/>
                    </a:cubicBezTo>
                    <a:cubicBezTo>
                      <a:pt x="0" y="71"/>
                      <a:pt x="0" y="39"/>
                      <a:pt x="20" y="19"/>
                    </a:cubicBezTo>
                    <a:cubicBezTo>
                      <a:pt x="40" y="0"/>
                      <a:pt x="71" y="0"/>
                      <a:pt x="91" y="19"/>
                    </a:cubicBezTo>
                    <a:cubicBezTo>
                      <a:pt x="110" y="39"/>
                      <a:pt x="110" y="71"/>
                      <a:pt x="91" y="90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513" name="Freeform 104">
                <a:extLst>
                  <a:ext uri="{FF2B5EF4-FFF2-40B4-BE49-F238E27FC236}">
                    <a16:creationId xmlns:a16="http://schemas.microsoft.com/office/drawing/2014/main" id="{776E121A-CA64-4DA2-932E-0BB50D9280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41" y="2122"/>
                <a:ext cx="7" cy="7"/>
              </a:xfrm>
              <a:custGeom>
                <a:avLst/>
                <a:gdLst>
                  <a:gd name="T0" fmla="*/ 90 w 110"/>
                  <a:gd name="T1" fmla="*/ 90 h 110"/>
                  <a:gd name="T2" fmla="*/ 19 w 110"/>
                  <a:gd name="T3" fmla="*/ 90 h 110"/>
                  <a:gd name="T4" fmla="*/ 19 w 110"/>
                  <a:gd name="T5" fmla="*/ 19 h 110"/>
                  <a:gd name="T6" fmla="*/ 90 w 110"/>
                  <a:gd name="T7" fmla="*/ 19 h 110"/>
                  <a:gd name="T8" fmla="*/ 90 w 110"/>
                  <a:gd name="T9" fmla="*/ 9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110">
                    <a:moveTo>
                      <a:pt x="90" y="90"/>
                    </a:moveTo>
                    <a:cubicBezTo>
                      <a:pt x="71" y="110"/>
                      <a:pt x="39" y="110"/>
                      <a:pt x="19" y="90"/>
                    </a:cubicBezTo>
                    <a:cubicBezTo>
                      <a:pt x="0" y="71"/>
                      <a:pt x="0" y="39"/>
                      <a:pt x="19" y="19"/>
                    </a:cubicBezTo>
                    <a:cubicBezTo>
                      <a:pt x="39" y="0"/>
                      <a:pt x="71" y="0"/>
                      <a:pt x="90" y="19"/>
                    </a:cubicBezTo>
                    <a:cubicBezTo>
                      <a:pt x="110" y="39"/>
                      <a:pt x="110" y="71"/>
                      <a:pt x="90" y="90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514" name="Freeform 105">
                <a:extLst>
                  <a:ext uri="{FF2B5EF4-FFF2-40B4-BE49-F238E27FC236}">
                    <a16:creationId xmlns:a16="http://schemas.microsoft.com/office/drawing/2014/main" id="{ECF164D9-7986-4CB5-8DDD-F83A61D9D8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41" y="2122"/>
                <a:ext cx="7" cy="7"/>
              </a:xfrm>
              <a:custGeom>
                <a:avLst/>
                <a:gdLst>
                  <a:gd name="T0" fmla="*/ 90 w 110"/>
                  <a:gd name="T1" fmla="*/ 90 h 110"/>
                  <a:gd name="T2" fmla="*/ 19 w 110"/>
                  <a:gd name="T3" fmla="*/ 90 h 110"/>
                  <a:gd name="T4" fmla="*/ 19 w 110"/>
                  <a:gd name="T5" fmla="*/ 19 h 110"/>
                  <a:gd name="T6" fmla="*/ 90 w 110"/>
                  <a:gd name="T7" fmla="*/ 19 h 110"/>
                  <a:gd name="T8" fmla="*/ 90 w 110"/>
                  <a:gd name="T9" fmla="*/ 9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110">
                    <a:moveTo>
                      <a:pt x="90" y="90"/>
                    </a:moveTo>
                    <a:cubicBezTo>
                      <a:pt x="71" y="110"/>
                      <a:pt x="39" y="110"/>
                      <a:pt x="19" y="90"/>
                    </a:cubicBezTo>
                    <a:cubicBezTo>
                      <a:pt x="0" y="71"/>
                      <a:pt x="0" y="39"/>
                      <a:pt x="19" y="19"/>
                    </a:cubicBezTo>
                    <a:cubicBezTo>
                      <a:pt x="39" y="0"/>
                      <a:pt x="71" y="0"/>
                      <a:pt x="90" y="19"/>
                    </a:cubicBezTo>
                    <a:cubicBezTo>
                      <a:pt x="110" y="39"/>
                      <a:pt x="110" y="71"/>
                      <a:pt x="90" y="90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515" name="Freeform 106">
                <a:extLst>
                  <a:ext uri="{FF2B5EF4-FFF2-40B4-BE49-F238E27FC236}">
                    <a16:creationId xmlns:a16="http://schemas.microsoft.com/office/drawing/2014/main" id="{EC2396B6-BA68-49B5-9D16-1426C60322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81" y="2122"/>
                <a:ext cx="7" cy="7"/>
              </a:xfrm>
              <a:custGeom>
                <a:avLst/>
                <a:gdLst>
                  <a:gd name="T0" fmla="*/ 90 w 110"/>
                  <a:gd name="T1" fmla="*/ 90 h 110"/>
                  <a:gd name="T2" fmla="*/ 19 w 110"/>
                  <a:gd name="T3" fmla="*/ 90 h 110"/>
                  <a:gd name="T4" fmla="*/ 19 w 110"/>
                  <a:gd name="T5" fmla="*/ 19 h 110"/>
                  <a:gd name="T6" fmla="*/ 90 w 110"/>
                  <a:gd name="T7" fmla="*/ 19 h 110"/>
                  <a:gd name="T8" fmla="*/ 90 w 110"/>
                  <a:gd name="T9" fmla="*/ 9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110">
                    <a:moveTo>
                      <a:pt x="90" y="90"/>
                    </a:moveTo>
                    <a:cubicBezTo>
                      <a:pt x="71" y="110"/>
                      <a:pt x="39" y="110"/>
                      <a:pt x="19" y="90"/>
                    </a:cubicBezTo>
                    <a:cubicBezTo>
                      <a:pt x="0" y="71"/>
                      <a:pt x="0" y="39"/>
                      <a:pt x="19" y="19"/>
                    </a:cubicBezTo>
                    <a:cubicBezTo>
                      <a:pt x="39" y="0"/>
                      <a:pt x="71" y="0"/>
                      <a:pt x="90" y="19"/>
                    </a:cubicBezTo>
                    <a:cubicBezTo>
                      <a:pt x="110" y="39"/>
                      <a:pt x="110" y="71"/>
                      <a:pt x="90" y="90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516" name="Freeform 107">
                <a:extLst>
                  <a:ext uri="{FF2B5EF4-FFF2-40B4-BE49-F238E27FC236}">
                    <a16:creationId xmlns:a16="http://schemas.microsoft.com/office/drawing/2014/main" id="{B19C6655-8094-45F2-A21E-043829BB2E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81" y="2122"/>
                <a:ext cx="7" cy="7"/>
              </a:xfrm>
              <a:custGeom>
                <a:avLst/>
                <a:gdLst>
                  <a:gd name="T0" fmla="*/ 90 w 110"/>
                  <a:gd name="T1" fmla="*/ 90 h 110"/>
                  <a:gd name="T2" fmla="*/ 19 w 110"/>
                  <a:gd name="T3" fmla="*/ 90 h 110"/>
                  <a:gd name="T4" fmla="*/ 19 w 110"/>
                  <a:gd name="T5" fmla="*/ 19 h 110"/>
                  <a:gd name="T6" fmla="*/ 90 w 110"/>
                  <a:gd name="T7" fmla="*/ 19 h 110"/>
                  <a:gd name="T8" fmla="*/ 90 w 110"/>
                  <a:gd name="T9" fmla="*/ 9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110">
                    <a:moveTo>
                      <a:pt x="90" y="90"/>
                    </a:moveTo>
                    <a:cubicBezTo>
                      <a:pt x="71" y="110"/>
                      <a:pt x="39" y="110"/>
                      <a:pt x="19" y="90"/>
                    </a:cubicBezTo>
                    <a:cubicBezTo>
                      <a:pt x="0" y="71"/>
                      <a:pt x="0" y="39"/>
                      <a:pt x="19" y="19"/>
                    </a:cubicBezTo>
                    <a:cubicBezTo>
                      <a:pt x="39" y="0"/>
                      <a:pt x="71" y="0"/>
                      <a:pt x="90" y="19"/>
                    </a:cubicBezTo>
                    <a:cubicBezTo>
                      <a:pt x="110" y="39"/>
                      <a:pt x="110" y="71"/>
                      <a:pt x="90" y="90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517" name="Freeform 108">
                <a:extLst>
                  <a:ext uri="{FF2B5EF4-FFF2-40B4-BE49-F238E27FC236}">
                    <a16:creationId xmlns:a16="http://schemas.microsoft.com/office/drawing/2014/main" id="{CB994B75-19D0-4799-B618-F98EC34C93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21" y="2122"/>
                <a:ext cx="7" cy="7"/>
              </a:xfrm>
              <a:custGeom>
                <a:avLst/>
                <a:gdLst>
                  <a:gd name="T0" fmla="*/ 91 w 110"/>
                  <a:gd name="T1" fmla="*/ 90 h 110"/>
                  <a:gd name="T2" fmla="*/ 20 w 110"/>
                  <a:gd name="T3" fmla="*/ 90 h 110"/>
                  <a:gd name="T4" fmla="*/ 20 w 110"/>
                  <a:gd name="T5" fmla="*/ 19 h 110"/>
                  <a:gd name="T6" fmla="*/ 91 w 110"/>
                  <a:gd name="T7" fmla="*/ 19 h 110"/>
                  <a:gd name="T8" fmla="*/ 91 w 110"/>
                  <a:gd name="T9" fmla="*/ 9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110">
                    <a:moveTo>
                      <a:pt x="91" y="90"/>
                    </a:moveTo>
                    <a:cubicBezTo>
                      <a:pt x="71" y="110"/>
                      <a:pt x="39" y="110"/>
                      <a:pt x="20" y="90"/>
                    </a:cubicBezTo>
                    <a:cubicBezTo>
                      <a:pt x="0" y="71"/>
                      <a:pt x="0" y="39"/>
                      <a:pt x="20" y="19"/>
                    </a:cubicBezTo>
                    <a:cubicBezTo>
                      <a:pt x="39" y="0"/>
                      <a:pt x="71" y="0"/>
                      <a:pt x="91" y="19"/>
                    </a:cubicBezTo>
                    <a:cubicBezTo>
                      <a:pt x="110" y="39"/>
                      <a:pt x="110" y="71"/>
                      <a:pt x="91" y="90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518" name="Freeform 109">
                <a:extLst>
                  <a:ext uri="{FF2B5EF4-FFF2-40B4-BE49-F238E27FC236}">
                    <a16:creationId xmlns:a16="http://schemas.microsoft.com/office/drawing/2014/main" id="{168B7745-9799-4B65-A5EF-D3ABCDD74E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21" y="2122"/>
                <a:ext cx="7" cy="7"/>
              </a:xfrm>
              <a:custGeom>
                <a:avLst/>
                <a:gdLst>
                  <a:gd name="T0" fmla="*/ 91 w 110"/>
                  <a:gd name="T1" fmla="*/ 90 h 110"/>
                  <a:gd name="T2" fmla="*/ 20 w 110"/>
                  <a:gd name="T3" fmla="*/ 90 h 110"/>
                  <a:gd name="T4" fmla="*/ 20 w 110"/>
                  <a:gd name="T5" fmla="*/ 19 h 110"/>
                  <a:gd name="T6" fmla="*/ 91 w 110"/>
                  <a:gd name="T7" fmla="*/ 19 h 110"/>
                  <a:gd name="T8" fmla="*/ 91 w 110"/>
                  <a:gd name="T9" fmla="*/ 9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110">
                    <a:moveTo>
                      <a:pt x="91" y="90"/>
                    </a:moveTo>
                    <a:cubicBezTo>
                      <a:pt x="71" y="110"/>
                      <a:pt x="39" y="110"/>
                      <a:pt x="20" y="90"/>
                    </a:cubicBezTo>
                    <a:cubicBezTo>
                      <a:pt x="0" y="71"/>
                      <a:pt x="0" y="39"/>
                      <a:pt x="20" y="19"/>
                    </a:cubicBezTo>
                    <a:cubicBezTo>
                      <a:pt x="39" y="0"/>
                      <a:pt x="71" y="0"/>
                      <a:pt x="91" y="19"/>
                    </a:cubicBezTo>
                    <a:cubicBezTo>
                      <a:pt x="110" y="39"/>
                      <a:pt x="110" y="71"/>
                      <a:pt x="91" y="90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519" name="Freeform 110">
                <a:extLst>
                  <a:ext uri="{FF2B5EF4-FFF2-40B4-BE49-F238E27FC236}">
                    <a16:creationId xmlns:a16="http://schemas.microsoft.com/office/drawing/2014/main" id="{992F31F7-841A-412B-8228-B7B07006E2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61" y="2122"/>
                <a:ext cx="7" cy="7"/>
              </a:xfrm>
              <a:custGeom>
                <a:avLst/>
                <a:gdLst>
                  <a:gd name="T0" fmla="*/ 91 w 110"/>
                  <a:gd name="T1" fmla="*/ 90 h 110"/>
                  <a:gd name="T2" fmla="*/ 20 w 110"/>
                  <a:gd name="T3" fmla="*/ 90 h 110"/>
                  <a:gd name="T4" fmla="*/ 20 w 110"/>
                  <a:gd name="T5" fmla="*/ 19 h 110"/>
                  <a:gd name="T6" fmla="*/ 91 w 110"/>
                  <a:gd name="T7" fmla="*/ 19 h 110"/>
                  <a:gd name="T8" fmla="*/ 91 w 110"/>
                  <a:gd name="T9" fmla="*/ 9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110">
                    <a:moveTo>
                      <a:pt x="91" y="90"/>
                    </a:moveTo>
                    <a:cubicBezTo>
                      <a:pt x="71" y="110"/>
                      <a:pt x="39" y="110"/>
                      <a:pt x="20" y="90"/>
                    </a:cubicBezTo>
                    <a:cubicBezTo>
                      <a:pt x="0" y="71"/>
                      <a:pt x="0" y="39"/>
                      <a:pt x="20" y="19"/>
                    </a:cubicBezTo>
                    <a:cubicBezTo>
                      <a:pt x="39" y="0"/>
                      <a:pt x="71" y="0"/>
                      <a:pt x="91" y="19"/>
                    </a:cubicBezTo>
                    <a:cubicBezTo>
                      <a:pt x="110" y="39"/>
                      <a:pt x="110" y="71"/>
                      <a:pt x="91" y="90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520" name="Freeform 111">
                <a:extLst>
                  <a:ext uri="{FF2B5EF4-FFF2-40B4-BE49-F238E27FC236}">
                    <a16:creationId xmlns:a16="http://schemas.microsoft.com/office/drawing/2014/main" id="{1ABE569B-31ED-45F1-9EEB-A80162B613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61" y="2122"/>
                <a:ext cx="7" cy="7"/>
              </a:xfrm>
              <a:custGeom>
                <a:avLst/>
                <a:gdLst>
                  <a:gd name="T0" fmla="*/ 91 w 110"/>
                  <a:gd name="T1" fmla="*/ 90 h 110"/>
                  <a:gd name="T2" fmla="*/ 20 w 110"/>
                  <a:gd name="T3" fmla="*/ 90 h 110"/>
                  <a:gd name="T4" fmla="*/ 20 w 110"/>
                  <a:gd name="T5" fmla="*/ 19 h 110"/>
                  <a:gd name="T6" fmla="*/ 91 w 110"/>
                  <a:gd name="T7" fmla="*/ 19 h 110"/>
                  <a:gd name="T8" fmla="*/ 91 w 110"/>
                  <a:gd name="T9" fmla="*/ 9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110">
                    <a:moveTo>
                      <a:pt x="91" y="90"/>
                    </a:moveTo>
                    <a:cubicBezTo>
                      <a:pt x="71" y="110"/>
                      <a:pt x="39" y="110"/>
                      <a:pt x="20" y="90"/>
                    </a:cubicBezTo>
                    <a:cubicBezTo>
                      <a:pt x="0" y="71"/>
                      <a:pt x="0" y="39"/>
                      <a:pt x="20" y="19"/>
                    </a:cubicBezTo>
                    <a:cubicBezTo>
                      <a:pt x="39" y="0"/>
                      <a:pt x="71" y="0"/>
                      <a:pt x="91" y="19"/>
                    </a:cubicBezTo>
                    <a:cubicBezTo>
                      <a:pt x="110" y="39"/>
                      <a:pt x="110" y="71"/>
                      <a:pt x="91" y="90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521" name="Freeform 112">
                <a:extLst>
                  <a:ext uri="{FF2B5EF4-FFF2-40B4-BE49-F238E27FC236}">
                    <a16:creationId xmlns:a16="http://schemas.microsoft.com/office/drawing/2014/main" id="{6E40A49B-C5B3-4FEC-AC91-DABE6AF2CE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02" y="2122"/>
                <a:ext cx="6" cy="6"/>
              </a:xfrm>
              <a:custGeom>
                <a:avLst/>
                <a:gdLst>
                  <a:gd name="T0" fmla="*/ 51 w 101"/>
                  <a:gd name="T1" fmla="*/ 100 h 100"/>
                  <a:gd name="T2" fmla="*/ 0 w 101"/>
                  <a:gd name="T3" fmla="*/ 50 h 100"/>
                  <a:gd name="T4" fmla="*/ 51 w 101"/>
                  <a:gd name="T5" fmla="*/ 0 h 100"/>
                  <a:gd name="T6" fmla="*/ 101 w 101"/>
                  <a:gd name="T7" fmla="*/ 50 h 100"/>
                  <a:gd name="T8" fmla="*/ 51 w 101"/>
                  <a:gd name="T9" fmla="*/ 10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1" h="100">
                    <a:moveTo>
                      <a:pt x="51" y="100"/>
                    </a:moveTo>
                    <a:cubicBezTo>
                      <a:pt x="23" y="100"/>
                      <a:pt x="0" y="77"/>
                      <a:pt x="0" y="50"/>
                    </a:cubicBezTo>
                    <a:cubicBezTo>
                      <a:pt x="0" y="22"/>
                      <a:pt x="23" y="0"/>
                      <a:pt x="51" y="0"/>
                    </a:cubicBezTo>
                    <a:cubicBezTo>
                      <a:pt x="78" y="0"/>
                      <a:pt x="101" y="22"/>
                      <a:pt x="101" y="50"/>
                    </a:cubicBezTo>
                    <a:cubicBezTo>
                      <a:pt x="101" y="78"/>
                      <a:pt x="78" y="100"/>
                      <a:pt x="51" y="100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522" name="Freeform 113">
                <a:extLst>
                  <a:ext uri="{FF2B5EF4-FFF2-40B4-BE49-F238E27FC236}">
                    <a16:creationId xmlns:a16="http://schemas.microsoft.com/office/drawing/2014/main" id="{F35FDD66-1107-4A86-8EFE-4D597594CA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02" y="2122"/>
                <a:ext cx="6" cy="6"/>
              </a:xfrm>
              <a:custGeom>
                <a:avLst/>
                <a:gdLst>
                  <a:gd name="T0" fmla="*/ 51 w 101"/>
                  <a:gd name="T1" fmla="*/ 100 h 100"/>
                  <a:gd name="T2" fmla="*/ 0 w 101"/>
                  <a:gd name="T3" fmla="*/ 50 h 100"/>
                  <a:gd name="T4" fmla="*/ 51 w 101"/>
                  <a:gd name="T5" fmla="*/ 0 h 100"/>
                  <a:gd name="T6" fmla="*/ 101 w 101"/>
                  <a:gd name="T7" fmla="*/ 50 h 100"/>
                  <a:gd name="T8" fmla="*/ 51 w 101"/>
                  <a:gd name="T9" fmla="*/ 10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1" h="100">
                    <a:moveTo>
                      <a:pt x="51" y="100"/>
                    </a:moveTo>
                    <a:cubicBezTo>
                      <a:pt x="23" y="100"/>
                      <a:pt x="0" y="77"/>
                      <a:pt x="0" y="50"/>
                    </a:cubicBezTo>
                    <a:cubicBezTo>
                      <a:pt x="0" y="22"/>
                      <a:pt x="23" y="0"/>
                      <a:pt x="51" y="0"/>
                    </a:cubicBezTo>
                    <a:cubicBezTo>
                      <a:pt x="78" y="0"/>
                      <a:pt x="101" y="22"/>
                      <a:pt x="101" y="50"/>
                    </a:cubicBezTo>
                    <a:cubicBezTo>
                      <a:pt x="101" y="78"/>
                      <a:pt x="78" y="100"/>
                      <a:pt x="51" y="100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523" name="Freeform 114">
                <a:extLst>
                  <a:ext uri="{FF2B5EF4-FFF2-40B4-BE49-F238E27FC236}">
                    <a16:creationId xmlns:a16="http://schemas.microsoft.com/office/drawing/2014/main" id="{3C7ED0CE-3179-424D-B666-5607DC11C0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42" y="2122"/>
                <a:ext cx="6" cy="7"/>
              </a:xfrm>
              <a:custGeom>
                <a:avLst/>
                <a:gdLst>
                  <a:gd name="T0" fmla="*/ 90 w 110"/>
                  <a:gd name="T1" fmla="*/ 90 h 110"/>
                  <a:gd name="T2" fmla="*/ 19 w 110"/>
                  <a:gd name="T3" fmla="*/ 90 h 110"/>
                  <a:gd name="T4" fmla="*/ 19 w 110"/>
                  <a:gd name="T5" fmla="*/ 19 h 110"/>
                  <a:gd name="T6" fmla="*/ 90 w 110"/>
                  <a:gd name="T7" fmla="*/ 19 h 110"/>
                  <a:gd name="T8" fmla="*/ 90 w 110"/>
                  <a:gd name="T9" fmla="*/ 9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110">
                    <a:moveTo>
                      <a:pt x="90" y="90"/>
                    </a:moveTo>
                    <a:cubicBezTo>
                      <a:pt x="71" y="110"/>
                      <a:pt x="39" y="110"/>
                      <a:pt x="19" y="90"/>
                    </a:cubicBezTo>
                    <a:cubicBezTo>
                      <a:pt x="0" y="71"/>
                      <a:pt x="0" y="39"/>
                      <a:pt x="19" y="19"/>
                    </a:cubicBezTo>
                    <a:cubicBezTo>
                      <a:pt x="39" y="0"/>
                      <a:pt x="71" y="0"/>
                      <a:pt x="90" y="19"/>
                    </a:cubicBezTo>
                    <a:cubicBezTo>
                      <a:pt x="110" y="39"/>
                      <a:pt x="110" y="71"/>
                      <a:pt x="90" y="90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524" name="Freeform 115">
                <a:extLst>
                  <a:ext uri="{FF2B5EF4-FFF2-40B4-BE49-F238E27FC236}">
                    <a16:creationId xmlns:a16="http://schemas.microsoft.com/office/drawing/2014/main" id="{822CCC76-193A-4126-B5E2-CF2F449AE7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42" y="2122"/>
                <a:ext cx="6" cy="7"/>
              </a:xfrm>
              <a:custGeom>
                <a:avLst/>
                <a:gdLst>
                  <a:gd name="T0" fmla="*/ 90 w 110"/>
                  <a:gd name="T1" fmla="*/ 90 h 110"/>
                  <a:gd name="T2" fmla="*/ 19 w 110"/>
                  <a:gd name="T3" fmla="*/ 90 h 110"/>
                  <a:gd name="T4" fmla="*/ 19 w 110"/>
                  <a:gd name="T5" fmla="*/ 19 h 110"/>
                  <a:gd name="T6" fmla="*/ 90 w 110"/>
                  <a:gd name="T7" fmla="*/ 19 h 110"/>
                  <a:gd name="T8" fmla="*/ 90 w 110"/>
                  <a:gd name="T9" fmla="*/ 9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110">
                    <a:moveTo>
                      <a:pt x="90" y="90"/>
                    </a:moveTo>
                    <a:cubicBezTo>
                      <a:pt x="71" y="110"/>
                      <a:pt x="39" y="110"/>
                      <a:pt x="19" y="90"/>
                    </a:cubicBezTo>
                    <a:cubicBezTo>
                      <a:pt x="0" y="71"/>
                      <a:pt x="0" y="39"/>
                      <a:pt x="19" y="19"/>
                    </a:cubicBezTo>
                    <a:cubicBezTo>
                      <a:pt x="39" y="0"/>
                      <a:pt x="71" y="0"/>
                      <a:pt x="90" y="19"/>
                    </a:cubicBezTo>
                    <a:cubicBezTo>
                      <a:pt x="110" y="39"/>
                      <a:pt x="110" y="71"/>
                      <a:pt x="90" y="90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525" name="Freeform 116">
                <a:extLst>
                  <a:ext uri="{FF2B5EF4-FFF2-40B4-BE49-F238E27FC236}">
                    <a16:creationId xmlns:a16="http://schemas.microsoft.com/office/drawing/2014/main" id="{94B783D7-DB56-4537-BC85-4CCBBFDA51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82" y="2122"/>
                <a:ext cx="6" cy="7"/>
              </a:xfrm>
              <a:custGeom>
                <a:avLst/>
                <a:gdLst>
                  <a:gd name="T0" fmla="*/ 90 w 110"/>
                  <a:gd name="T1" fmla="*/ 90 h 110"/>
                  <a:gd name="T2" fmla="*/ 20 w 110"/>
                  <a:gd name="T3" fmla="*/ 90 h 110"/>
                  <a:gd name="T4" fmla="*/ 20 w 110"/>
                  <a:gd name="T5" fmla="*/ 19 h 110"/>
                  <a:gd name="T6" fmla="*/ 90 w 110"/>
                  <a:gd name="T7" fmla="*/ 19 h 110"/>
                  <a:gd name="T8" fmla="*/ 90 w 110"/>
                  <a:gd name="T9" fmla="*/ 9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110">
                    <a:moveTo>
                      <a:pt x="90" y="90"/>
                    </a:moveTo>
                    <a:cubicBezTo>
                      <a:pt x="71" y="110"/>
                      <a:pt x="39" y="110"/>
                      <a:pt x="20" y="90"/>
                    </a:cubicBezTo>
                    <a:cubicBezTo>
                      <a:pt x="0" y="71"/>
                      <a:pt x="0" y="39"/>
                      <a:pt x="20" y="19"/>
                    </a:cubicBezTo>
                    <a:cubicBezTo>
                      <a:pt x="39" y="0"/>
                      <a:pt x="71" y="0"/>
                      <a:pt x="90" y="19"/>
                    </a:cubicBezTo>
                    <a:cubicBezTo>
                      <a:pt x="110" y="39"/>
                      <a:pt x="110" y="71"/>
                      <a:pt x="90" y="90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526" name="Freeform 117">
                <a:extLst>
                  <a:ext uri="{FF2B5EF4-FFF2-40B4-BE49-F238E27FC236}">
                    <a16:creationId xmlns:a16="http://schemas.microsoft.com/office/drawing/2014/main" id="{40F00EF6-F299-4274-BBC5-129FE4F879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82" y="2122"/>
                <a:ext cx="6" cy="7"/>
              </a:xfrm>
              <a:custGeom>
                <a:avLst/>
                <a:gdLst>
                  <a:gd name="T0" fmla="*/ 90 w 110"/>
                  <a:gd name="T1" fmla="*/ 90 h 110"/>
                  <a:gd name="T2" fmla="*/ 20 w 110"/>
                  <a:gd name="T3" fmla="*/ 90 h 110"/>
                  <a:gd name="T4" fmla="*/ 20 w 110"/>
                  <a:gd name="T5" fmla="*/ 19 h 110"/>
                  <a:gd name="T6" fmla="*/ 90 w 110"/>
                  <a:gd name="T7" fmla="*/ 19 h 110"/>
                  <a:gd name="T8" fmla="*/ 90 w 110"/>
                  <a:gd name="T9" fmla="*/ 9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110">
                    <a:moveTo>
                      <a:pt x="90" y="90"/>
                    </a:moveTo>
                    <a:cubicBezTo>
                      <a:pt x="71" y="110"/>
                      <a:pt x="39" y="110"/>
                      <a:pt x="20" y="90"/>
                    </a:cubicBezTo>
                    <a:cubicBezTo>
                      <a:pt x="0" y="71"/>
                      <a:pt x="0" y="39"/>
                      <a:pt x="20" y="19"/>
                    </a:cubicBezTo>
                    <a:cubicBezTo>
                      <a:pt x="39" y="0"/>
                      <a:pt x="71" y="0"/>
                      <a:pt x="90" y="19"/>
                    </a:cubicBezTo>
                    <a:cubicBezTo>
                      <a:pt x="110" y="39"/>
                      <a:pt x="110" y="71"/>
                      <a:pt x="90" y="90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527" name="Freeform 118">
                <a:extLst>
                  <a:ext uri="{FF2B5EF4-FFF2-40B4-BE49-F238E27FC236}">
                    <a16:creationId xmlns:a16="http://schemas.microsoft.com/office/drawing/2014/main" id="{7D8CB981-985E-454B-BF67-DDB46C3D5F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00" y="2082"/>
                <a:ext cx="7" cy="6"/>
              </a:xfrm>
              <a:custGeom>
                <a:avLst/>
                <a:gdLst>
                  <a:gd name="T0" fmla="*/ 90 w 110"/>
                  <a:gd name="T1" fmla="*/ 91 h 110"/>
                  <a:gd name="T2" fmla="*/ 19 w 110"/>
                  <a:gd name="T3" fmla="*/ 91 h 110"/>
                  <a:gd name="T4" fmla="*/ 19 w 110"/>
                  <a:gd name="T5" fmla="*/ 20 h 110"/>
                  <a:gd name="T6" fmla="*/ 90 w 110"/>
                  <a:gd name="T7" fmla="*/ 20 h 110"/>
                  <a:gd name="T8" fmla="*/ 90 w 110"/>
                  <a:gd name="T9" fmla="*/ 91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110">
                    <a:moveTo>
                      <a:pt x="90" y="91"/>
                    </a:moveTo>
                    <a:cubicBezTo>
                      <a:pt x="71" y="110"/>
                      <a:pt x="39" y="110"/>
                      <a:pt x="19" y="91"/>
                    </a:cubicBezTo>
                    <a:cubicBezTo>
                      <a:pt x="0" y="71"/>
                      <a:pt x="0" y="39"/>
                      <a:pt x="19" y="20"/>
                    </a:cubicBezTo>
                    <a:cubicBezTo>
                      <a:pt x="39" y="0"/>
                      <a:pt x="71" y="0"/>
                      <a:pt x="90" y="20"/>
                    </a:cubicBezTo>
                    <a:cubicBezTo>
                      <a:pt x="110" y="39"/>
                      <a:pt x="110" y="71"/>
                      <a:pt x="90" y="91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528" name="Freeform 119">
                <a:extLst>
                  <a:ext uri="{FF2B5EF4-FFF2-40B4-BE49-F238E27FC236}">
                    <a16:creationId xmlns:a16="http://schemas.microsoft.com/office/drawing/2014/main" id="{591C9C7D-1656-4ACF-AFA3-2F634A9BC3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00" y="2082"/>
                <a:ext cx="7" cy="6"/>
              </a:xfrm>
              <a:custGeom>
                <a:avLst/>
                <a:gdLst>
                  <a:gd name="T0" fmla="*/ 90 w 110"/>
                  <a:gd name="T1" fmla="*/ 91 h 110"/>
                  <a:gd name="T2" fmla="*/ 19 w 110"/>
                  <a:gd name="T3" fmla="*/ 91 h 110"/>
                  <a:gd name="T4" fmla="*/ 19 w 110"/>
                  <a:gd name="T5" fmla="*/ 20 h 110"/>
                  <a:gd name="T6" fmla="*/ 90 w 110"/>
                  <a:gd name="T7" fmla="*/ 20 h 110"/>
                  <a:gd name="T8" fmla="*/ 90 w 110"/>
                  <a:gd name="T9" fmla="*/ 91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110">
                    <a:moveTo>
                      <a:pt x="90" y="91"/>
                    </a:moveTo>
                    <a:cubicBezTo>
                      <a:pt x="71" y="110"/>
                      <a:pt x="39" y="110"/>
                      <a:pt x="19" y="91"/>
                    </a:cubicBezTo>
                    <a:cubicBezTo>
                      <a:pt x="0" y="71"/>
                      <a:pt x="0" y="39"/>
                      <a:pt x="19" y="20"/>
                    </a:cubicBezTo>
                    <a:cubicBezTo>
                      <a:pt x="39" y="0"/>
                      <a:pt x="71" y="0"/>
                      <a:pt x="90" y="20"/>
                    </a:cubicBezTo>
                    <a:cubicBezTo>
                      <a:pt x="110" y="39"/>
                      <a:pt x="110" y="71"/>
                      <a:pt x="90" y="91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529" name="Oval 120">
                <a:extLst>
                  <a:ext uri="{FF2B5EF4-FFF2-40B4-BE49-F238E27FC236}">
                    <a16:creationId xmlns:a16="http://schemas.microsoft.com/office/drawing/2014/main" id="{0CB59F81-0045-4E86-B846-963043D7D08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40" y="2082"/>
                <a:ext cx="6" cy="6"/>
              </a:xfrm>
              <a:prstGeom prst="ellipse">
                <a:avLst/>
              </a:pr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530" name="Oval 121">
                <a:extLst>
                  <a:ext uri="{FF2B5EF4-FFF2-40B4-BE49-F238E27FC236}">
                    <a16:creationId xmlns:a16="http://schemas.microsoft.com/office/drawing/2014/main" id="{D6F1E70D-A617-496D-A482-774857A84F1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40" y="2082"/>
                <a:ext cx="6" cy="6"/>
              </a:xfrm>
              <a:prstGeom prst="ellipse">
                <a:avLst/>
              </a:pr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531" name="Oval 122">
                <a:extLst>
                  <a:ext uri="{FF2B5EF4-FFF2-40B4-BE49-F238E27FC236}">
                    <a16:creationId xmlns:a16="http://schemas.microsoft.com/office/drawing/2014/main" id="{5ABD33D8-1E42-4879-A2FF-61A032F6AE9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81" y="2082"/>
                <a:ext cx="6" cy="6"/>
              </a:xfrm>
              <a:prstGeom prst="ellipse">
                <a:avLst/>
              </a:pr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532" name="Oval 123">
                <a:extLst>
                  <a:ext uri="{FF2B5EF4-FFF2-40B4-BE49-F238E27FC236}">
                    <a16:creationId xmlns:a16="http://schemas.microsoft.com/office/drawing/2014/main" id="{EC1647AB-F7FE-4479-93A0-6BF887ADE25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81" y="2082"/>
                <a:ext cx="6" cy="6"/>
              </a:xfrm>
              <a:prstGeom prst="ellipse">
                <a:avLst/>
              </a:pr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533" name="Freeform 124">
                <a:extLst>
                  <a:ext uri="{FF2B5EF4-FFF2-40B4-BE49-F238E27FC236}">
                    <a16:creationId xmlns:a16="http://schemas.microsoft.com/office/drawing/2014/main" id="{DC833E05-8EC1-4A44-827E-D0CD4B76FF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20" y="2082"/>
                <a:ext cx="7" cy="7"/>
              </a:xfrm>
              <a:custGeom>
                <a:avLst/>
                <a:gdLst>
                  <a:gd name="T0" fmla="*/ 90 w 110"/>
                  <a:gd name="T1" fmla="*/ 90 h 110"/>
                  <a:gd name="T2" fmla="*/ 20 w 110"/>
                  <a:gd name="T3" fmla="*/ 90 h 110"/>
                  <a:gd name="T4" fmla="*/ 20 w 110"/>
                  <a:gd name="T5" fmla="*/ 19 h 110"/>
                  <a:gd name="T6" fmla="*/ 90 w 110"/>
                  <a:gd name="T7" fmla="*/ 19 h 110"/>
                  <a:gd name="T8" fmla="*/ 90 w 110"/>
                  <a:gd name="T9" fmla="*/ 9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110">
                    <a:moveTo>
                      <a:pt x="90" y="90"/>
                    </a:moveTo>
                    <a:cubicBezTo>
                      <a:pt x="71" y="110"/>
                      <a:pt x="39" y="110"/>
                      <a:pt x="20" y="90"/>
                    </a:cubicBezTo>
                    <a:cubicBezTo>
                      <a:pt x="0" y="71"/>
                      <a:pt x="0" y="39"/>
                      <a:pt x="20" y="19"/>
                    </a:cubicBezTo>
                    <a:cubicBezTo>
                      <a:pt x="39" y="0"/>
                      <a:pt x="71" y="0"/>
                      <a:pt x="90" y="19"/>
                    </a:cubicBezTo>
                    <a:cubicBezTo>
                      <a:pt x="110" y="39"/>
                      <a:pt x="110" y="71"/>
                      <a:pt x="90" y="90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534" name="Freeform 125">
                <a:extLst>
                  <a:ext uri="{FF2B5EF4-FFF2-40B4-BE49-F238E27FC236}">
                    <a16:creationId xmlns:a16="http://schemas.microsoft.com/office/drawing/2014/main" id="{C52935B6-007B-4AF8-8DC6-953AC67496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20" y="2082"/>
                <a:ext cx="7" cy="7"/>
              </a:xfrm>
              <a:custGeom>
                <a:avLst/>
                <a:gdLst>
                  <a:gd name="T0" fmla="*/ 90 w 110"/>
                  <a:gd name="T1" fmla="*/ 90 h 110"/>
                  <a:gd name="T2" fmla="*/ 20 w 110"/>
                  <a:gd name="T3" fmla="*/ 90 h 110"/>
                  <a:gd name="T4" fmla="*/ 20 w 110"/>
                  <a:gd name="T5" fmla="*/ 19 h 110"/>
                  <a:gd name="T6" fmla="*/ 90 w 110"/>
                  <a:gd name="T7" fmla="*/ 19 h 110"/>
                  <a:gd name="T8" fmla="*/ 90 w 110"/>
                  <a:gd name="T9" fmla="*/ 9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110">
                    <a:moveTo>
                      <a:pt x="90" y="90"/>
                    </a:moveTo>
                    <a:cubicBezTo>
                      <a:pt x="71" y="110"/>
                      <a:pt x="39" y="110"/>
                      <a:pt x="20" y="90"/>
                    </a:cubicBezTo>
                    <a:cubicBezTo>
                      <a:pt x="0" y="71"/>
                      <a:pt x="0" y="39"/>
                      <a:pt x="20" y="19"/>
                    </a:cubicBezTo>
                    <a:cubicBezTo>
                      <a:pt x="39" y="0"/>
                      <a:pt x="71" y="0"/>
                      <a:pt x="90" y="19"/>
                    </a:cubicBezTo>
                    <a:cubicBezTo>
                      <a:pt x="110" y="39"/>
                      <a:pt x="110" y="71"/>
                      <a:pt x="90" y="90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535" name="Oval 126">
                <a:extLst>
                  <a:ext uri="{FF2B5EF4-FFF2-40B4-BE49-F238E27FC236}">
                    <a16:creationId xmlns:a16="http://schemas.microsoft.com/office/drawing/2014/main" id="{D82351EA-D1B9-415C-81F3-12F47772AFB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61" y="2082"/>
                <a:ext cx="6" cy="6"/>
              </a:xfrm>
              <a:prstGeom prst="ellipse">
                <a:avLst/>
              </a:pr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536" name="Oval 127">
                <a:extLst>
                  <a:ext uri="{FF2B5EF4-FFF2-40B4-BE49-F238E27FC236}">
                    <a16:creationId xmlns:a16="http://schemas.microsoft.com/office/drawing/2014/main" id="{C613799B-A514-4AB5-848B-0B7AEFBCF59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61" y="2082"/>
                <a:ext cx="6" cy="6"/>
              </a:xfrm>
              <a:prstGeom prst="ellipse">
                <a:avLst/>
              </a:pr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537" name="Freeform 128">
                <a:extLst>
                  <a:ext uri="{FF2B5EF4-FFF2-40B4-BE49-F238E27FC236}">
                    <a16:creationId xmlns:a16="http://schemas.microsoft.com/office/drawing/2014/main" id="{72AFDFDD-9ED3-45ED-BACA-F11AF1F74A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00" y="2082"/>
                <a:ext cx="7" cy="7"/>
              </a:xfrm>
              <a:custGeom>
                <a:avLst/>
                <a:gdLst>
                  <a:gd name="T0" fmla="*/ 91 w 110"/>
                  <a:gd name="T1" fmla="*/ 90 h 110"/>
                  <a:gd name="T2" fmla="*/ 20 w 110"/>
                  <a:gd name="T3" fmla="*/ 90 h 110"/>
                  <a:gd name="T4" fmla="*/ 20 w 110"/>
                  <a:gd name="T5" fmla="*/ 19 h 110"/>
                  <a:gd name="T6" fmla="*/ 91 w 110"/>
                  <a:gd name="T7" fmla="*/ 19 h 110"/>
                  <a:gd name="T8" fmla="*/ 91 w 110"/>
                  <a:gd name="T9" fmla="*/ 9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110">
                    <a:moveTo>
                      <a:pt x="91" y="90"/>
                    </a:moveTo>
                    <a:cubicBezTo>
                      <a:pt x="71" y="110"/>
                      <a:pt x="40" y="110"/>
                      <a:pt x="20" y="90"/>
                    </a:cubicBezTo>
                    <a:cubicBezTo>
                      <a:pt x="0" y="70"/>
                      <a:pt x="0" y="39"/>
                      <a:pt x="20" y="19"/>
                    </a:cubicBezTo>
                    <a:cubicBezTo>
                      <a:pt x="40" y="0"/>
                      <a:pt x="71" y="0"/>
                      <a:pt x="91" y="19"/>
                    </a:cubicBezTo>
                    <a:cubicBezTo>
                      <a:pt x="110" y="39"/>
                      <a:pt x="110" y="70"/>
                      <a:pt x="91" y="90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538" name="Freeform 129">
                <a:extLst>
                  <a:ext uri="{FF2B5EF4-FFF2-40B4-BE49-F238E27FC236}">
                    <a16:creationId xmlns:a16="http://schemas.microsoft.com/office/drawing/2014/main" id="{C1C69976-A43E-4957-9215-8751564D39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00" y="2082"/>
                <a:ext cx="7" cy="7"/>
              </a:xfrm>
              <a:custGeom>
                <a:avLst/>
                <a:gdLst>
                  <a:gd name="T0" fmla="*/ 91 w 110"/>
                  <a:gd name="T1" fmla="*/ 90 h 110"/>
                  <a:gd name="T2" fmla="*/ 20 w 110"/>
                  <a:gd name="T3" fmla="*/ 90 h 110"/>
                  <a:gd name="T4" fmla="*/ 20 w 110"/>
                  <a:gd name="T5" fmla="*/ 19 h 110"/>
                  <a:gd name="T6" fmla="*/ 91 w 110"/>
                  <a:gd name="T7" fmla="*/ 19 h 110"/>
                  <a:gd name="T8" fmla="*/ 91 w 110"/>
                  <a:gd name="T9" fmla="*/ 9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110">
                    <a:moveTo>
                      <a:pt x="91" y="90"/>
                    </a:moveTo>
                    <a:cubicBezTo>
                      <a:pt x="71" y="110"/>
                      <a:pt x="40" y="110"/>
                      <a:pt x="20" y="90"/>
                    </a:cubicBezTo>
                    <a:cubicBezTo>
                      <a:pt x="0" y="70"/>
                      <a:pt x="0" y="39"/>
                      <a:pt x="20" y="19"/>
                    </a:cubicBezTo>
                    <a:cubicBezTo>
                      <a:pt x="40" y="0"/>
                      <a:pt x="71" y="0"/>
                      <a:pt x="91" y="19"/>
                    </a:cubicBezTo>
                    <a:cubicBezTo>
                      <a:pt x="110" y="39"/>
                      <a:pt x="110" y="70"/>
                      <a:pt x="91" y="90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539" name="Freeform 130">
                <a:extLst>
                  <a:ext uri="{FF2B5EF4-FFF2-40B4-BE49-F238E27FC236}">
                    <a16:creationId xmlns:a16="http://schemas.microsoft.com/office/drawing/2014/main" id="{3DBA255C-2227-4F74-9BE0-D8E2270308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41" y="2082"/>
                <a:ext cx="6" cy="7"/>
              </a:xfrm>
              <a:custGeom>
                <a:avLst/>
                <a:gdLst>
                  <a:gd name="T0" fmla="*/ 90 w 110"/>
                  <a:gd name="T1" fmla="*/ 90 h 110"/>
                  <a:gd name="T2" fmla="*/ 19 w 110"/>
                  <a:gd name="T3" fmla="*/ 90 h 110"/>
                  <a:gd name="T4" fmla="*/ 19 w 110"/>
                  <a:gd name="T5" fmla="*/ 19 h 110"/>
                  <a:gd name="T6" fmla="*/ 90 w 110"/>
                  <a:gd name="T7" fmla="*/ 19 h 110"/>
                  <a:gd name="T8" fmla="*/ 90 w 110"/>
                  <a:gd name="T9" fmla="*/ 9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110">
                    <a:moveTo>
                      <a:pt x="90" y="90"/>
                    </a:moveTo>
                    <a:cubicBezTo>
                      <a:pt x="71" y="110"/>
                      <a:pt x="39" y="110"/>
                      <a:pt x="19" y="90"/>
                    </a:cubicBezTo>
                    <a:cubicBezTo>
                      <a:pt x="0" y="70"/>
                      <a:pt x="0" y="39"/>
                      <a:pt x="19" y="19"/>
                    </a:cubicBezTo>
                    <a:cubicBezTo>
                      <a:pt x="39" y="0"/>
                      <a:pt x="71" y="0"/>
                      <a:pt x="90" y="19"/>
                    </a:cubicBezTo>
                    <a:cubicBezTo>
                      <a:pt x="110" y="39"/>
                      <a:pt x="110" y="70"/>
                      <a:pt x="90" y="90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540" name="Freeform 131">
                <a:extLst>
                  <a:ext uri="{FF2B5EF4-FFF2-40B4-BE49-F238E27FC236}">
                    <a16:creationId xmlns:a16="http://schemas.microsoft.com/office/drawing/2014/main" id="{D340FA70-BA4F-438E-8363-02806F094A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41" y="2082"/>
                <a:ext cx="6" cy="7"/>
              </a:xfrm>
              <a:custGeom>
                <a:avLst/>
                <a:gdLst>
                  <a:gd name="T0" fmla="*/ 90 w 110"/>
                  <a:gd name="T1" fmla="*/ 90 h 110"/>
                  <a:gd name="T2" fmla="*/ 19 w 110"/>
                  <a:gd name="T3" fmla="*/ 90 h 110"/>
                  <a:gd name="T4" fmla="*/ 19 w 110"/>
                  <a:gd name="T5" fmla="*/ 19 h 110"/>
                  <a:gd name="T6" fmla="*/ 90 w 110"/>
                  <a:gd name="T7" fmla="*/ 19 h 110"/>
                  <a:gd name="T8" fmla="*/ 90 w 110"/>
                  <a:gd name="T9" fmla="*/ 9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110">
                    <a:moveTo>
                      <a:pt x="90" y="90"/>
                    </a:moveTo>
                    <a:cubicBezTo>
                      <a:pt x="71" y="110"/>
                      <a:pt x="39" y="110"/>
                      <a:pt x="19" y="90"/>
                    </a:cubicBezTo>
                    <a:cubicBezTo>
                      <a:pt x="0" y="70"/>
                      <a:pt x="0" y="39"/>
                      <a:pt x="19" y="19"/>
                    </a:cubicBezTo>
                    <a:cubicBezTo>
                      <a:pt x="39" y="0"/>
                      <a:pt x="71" y="0"/>
                      <a:pt x="90" y="19"/>
                    </a:cubicBezTo>
                    <a:cubicBezTo>
                      <a:pt x="110" y="39"/>
                      <a:pt x="110" y="70"/>
                      <a:pt x="90" y="90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541" name="Freeform 132">
                <a:extLst>
                  <a:ext uri="{FF2B5EF4-FFF2-40B4-BE49-F238E27FC236}">
                    <a16:creationId xmlns:a16="http://schemas.microsoft.com/office/drawing/2014/main" id="{C882B8B8-AA12-4817-9744-8027959785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81" y="2082"/>
                <a:ext cx="6" cy="6"/>
              </a:xfrm>
              <a:custGeom>
                <a:avLst/>
                <a:gdLst>
                  <a:gd name="T0" fmla="*/ 50 w 100"/>
                  <a:gd name="T1" fmla="*/ 101 h 101"/>
                  <a:gd name="T2" fmla="*/ 0 w 100"/>
                  <a:gd name="T3" fmla="*/ 51 h 101"/>
                  <a:gd name="T4" fmla="*/ 50 w 100"/>
                  <a:gd name="T5" fmla="*/ 0 h 101"/>
                  <a:gd name="T6" fmla="*/ 100 w 100"/>
                  <a:gd name="T7" fmla="*/ 51 h 101"/>
                  <a:gd name="T8" fmla="*/ 50 w 100"/>
                  <a:gd name="T9" fmla="*/ 101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0" h="101">
                    <a:moveTo>
                      <a:pt x="50" y="101"/>
                    </a:moveTo>
                    <a:cubicBezTo>
                      <a:pt x="22" y="101"/>
                      <a:pt x="0" y="78"/>
                      <a:pt x="0" y="51"/>
                    </a:cubicBezTo>
                    <a:cubicBezTo>
                      <a:pt x="0" y="23"/>
                      <a:pt x="22" y="0"/>
                      <a:pt x="50" y="0"/>
                    </a:cubicBezTo>
                    <a:cubicBezTo>
                      <a:pt x="77" y="0"/>
                      <a:pt x="100" y="23"/>
                      <a:pt x="100" y="51"/>
                    </a:cubicBezTo>
                    <a:cubicBezTo>
                      <a:pt x="100" y="78"/>
                      <a:pt x="78" y="101"/>
                      <a:pt x="50" y="101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542" name="Freeform 133">
                <a:extLst>
                  <a:ext uri="{FF2B5EF4-FFF2-40B4-BE49-F238E27FC236}">
                    <a16:creationId xmlns:a16="http://schemas.microsoft.com/office/drawing/2014/main" id="{BC748C7C-1821-412C-8FF0-9A2B9C4353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81" y="2082"/>
                <a:ext cx="6" cy="6"/>
              </a:xfrm>
              <a:custGeom>
                <a:avLst/>
                <a:gdLst>
                  <a:gd name="T0" fmla="*/ 50 w 100"/>
                  <a:gd name="T1" fmla="*/ 101 h 101"/>
                  <a:gd name="T2" fmla="*/ 0 w 100"/>
                  <a:gd name="T3" fmla="*/ 51 h 101"/>
                  <a:gd name="T4" fmla="*/ 50 w 100"/>
                  <a:gd name="T5" fmla="*/ 0 h 101"/>
                  <a:gd name="T6" fmla="*/ 100 w 100"/>
                  <a:gd name="T7" fmla="*/ 51 h 101"/>
                  <a:gd name="T8" fmla="*/ 50 w 100"/>
                  <a:gd name="T9" fmla="*/ 101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0" h="101">
                    <a:moveTo>
                      <a:pt x="50" y="101"/>
                    </a:moveTo>
                    <a:cubicBezTo>
                      <a:pt x="22" y="101"/>
                      <a:pt x="0" y="78"/>
                      <a:pt x="0" y="51"/>
                    </a:cubicBezTo>
                    <a:cubicBezTo>
                      <a:pt x="0" y="23"/>
                      <a:pt x="22" y="0"/>
                      <a:pt x="50" y="0"/>
                    </a:cubicBezTo>
                    <a:cubicBezTo>
                      <a:pt x="77" y="0"/>
                      <a:pt x="100" y="23"/>
                      <a:pt x="100" y="51"/>
                    </a:cubicBezTo>
                    <a:cubicBezTo>
                      <a:pt x="100" y="78"/>
                      <a:pt x="78" y="101"/>
                      <a:pt x="50" y="101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543" name="Freeform 134">
                <a:extLst>
                  <a:ext uri="{FF2B5EF4-FFF2-40B4-BE49-F238E27FC236}">
                    <a16:creationId xmlns:a16="http://schemas.microsoft.com/office/drawing/2014/main" id="{13E10873-4856-4A2A-B925-99043C1F18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21" y="2082"/>
                <a:ext cx="6" cy="6"/>
              </a:xfrm>
              <a:custGeom>
                <a:avLst/>
                <a:gdLst>
                  <a:gd name="T0" fmla="*/ 90 w 110"/>
                  <a:gd name="T1" fmla="*/ 91 h 110"/>
                  <a:gd name="T2" fmla="*/ 19 w 110"/>
                  <a:gd name="T3" fmla="*/ 91 h 110"/>
                  <a:gd name="T4" fmla="*/ 19 w 110"/>
                  <a:gd name="T5" fmla="*/ 20 h 110"/>
                  <a:gd name="T6" fmla="*/ 90 w 110"/>
                  <a:gd name="T7" fmla="*/ 20 h 110"/>
                  <a:gd name="T8" fmla="*/ 90 w 110"/>
                  <a:gd name="T9" fmla="*/ 91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110">
                    <a:moveTo>
                      <a:pt x="90" y="91"/>
                    </a:moveTo>
                    <a:cubicBezTo>
                      <a:pt x="70" y="110"/>
                      <a:pt x="39" y="110"/>
                      <a:pt x="19" y="91"/>
                    </a:cubicBezTo>
                    <a:cubicBezTo>
                      <a:pt x="0" y="71"/>
                      <a:pt x="0" y="39"/>
                      <a:pt x="19" y="20"/>
                    </a:cubicBezTo>
                    <a:cubicBezTo>
                      <a:pt x="39" y="0"/>
                      <a:pt x="70" y="0"/>
                      <a:pt x="90" y="20"/>
                    </a:cubicBezTo>
                    <a:cubicBezTo>
                      <a:pt x="110" y="39"/>
                      <a:pt x="110" y="71"/>
                      <a:pt x="90" y="91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544" name="Freeform 135">
                <a:extLst>
                  <a:ext uri="{FF2B5EF4-FFF2-40B4-BE49-F238E27FC236}">
                    <a16:creationId xmlns:a16="http://schemas.microsoft.com/office/drawing/2014/main" id="{BCA52959-DE37-4323-B50F-3EC76BC174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21" y="2082"/>
                <a:ext cx="6" cy="6"/>
              </a:xfrm>
              <a:custGeom>
                <a:avLst/>
                <a:gdLst>
                  <a:gd name="T0" fmla="*/ 90 w 110"/>
                  <a:gd name="T1" fmla="*/ 91 h 110"/>
                  <a:gd name="T2" fmla="*/ 19 w 110"/>
                  <a:gd name="T3" fmla="*/ 91 h 110"/>
                  <a:gd name="T4" fmla="*/ 19 w 110"/>
                  <a:gd name="T5" fmla="*/ 20 h 110"/>
                  <a:gd name="T6" fmla="*/ 90 w 110"/>
                  <a:gd name="T7" fmla="*/ 20 h 110"/>
                  <a:gd name="T8" fmla="*/ 90 w 110"/>
                  <a:gd name="T9" fmla="*/ 91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110">
                    <a:moveTo>
                      <a:pt x="90" y="91"/>
                    </a:moveTo>
                    <a:cubicBezTo>
                      <a:pt x="70" y="110"/>
                      <a:pt x="39" y="110"/>
                      <a:pt x="19" y="91"/>
                    </a:cubicBezTo>
                    <a:cubicBezTo>
                      <a:pt x="0" y="71"/>
                      <a:pt x="0" y="39"/>
                      <a:pt x="19" y="20"/>
                    </a:cubicBezTo>
                    <a:cubicBezTo>
                      <a:pt x="39" y="0"/>
                      <a:pt x="70" y="0"/>
                      <a:pt x="90" y="20"/>
                    </a:cubicBezTo>
                    <a:cubicBezTo>
                      <a:pt x="110" y="39"/>
                      <a:pt x="110" y="71"/>
                      <a:pt x="90" y="91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545" name="Freeform 136">
                <a:extLst>
                  <a:ext uri="{FF2B5EF4-FFF2-40B4-BE49-F238E27FC236}">
                    <a16:creationId xmlns:a16="http://schemas.microsoft.com/office/drawing/2014/main" id="{42824791-A895-48B5-9193-12EA39366C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61" y="2082"/>
                <a:ext cx="7" cy="6"/>
              </a:xfrm>
              <a:custGeom>
                <a:avLst/>
                <a:gdLst>
                  <a:gd name="T0" fmla="*/ 90 w 110"/>
                  <a:gd name="T1" fmla="*/ 91 h 110"/>
                  <a:gd name="T2" fmla="*/ 19 w 110"/>
                  <a:gd name="T3" fmla="*/ 91 h 110"/>
                  <a:gd name="T4" fmla="*/ 19 w 110"/>
                  <a:gd name="T5" fmla="*/ 20 h 110"/>
                  <a:gd name="T6" fmla="*/ 90 w 110"/>
                  <a:gd name="T7" fmla="*/ 20 h 110"/>
                  <a:gd name="T8" fmla="*/ 90 w 110"/>
                  <a:gd name="T9" fmla="*/ 91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110">
                    <a:moveTo>
                      <a:pt x="90" y="91"/>
                    </a:moveTo>
                    <a:cubicBezTo>
                      <a:pt x="71" y="110"/>
                      <a:pt x="39" y="110"/>
                      <a:pt x="19" y="91"/>
                    </a:cubicBezTo>
                    <a:cubicBezTo>
                      <a:pt x="0" y="71"/>
                      <a:pt x="0" y="39"/>
                      <a:pt x="19" y="20"/>
                    </a:cubicBezTo>
                    <a:cubicBezTo>
                      <a:pt x="39" y="0"/>
                      <a:pt x="71" y="0"/>
                      <a:pt x="90" y="20"/>
                    </a:cubicBezTo>
                    <a:cubicBezTo>
                      <a:pt x="110" y="39"/>
                      <a:pt x="110" y="71"/>
                      <a:pt x="90" y="91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546" name="Freeform 137">
                <a:extLst>
                  <a:ext uri="{FF2B5EF4-FFF2-40B4-BE49-F238E27FC236}">
                    <a16:creationId xmlns:a16="http://schemas.microsoft.com/office/drawing/2014/main" id="{2EBF7E92-DF0B-4CDE-862E-0AB5921657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61" y="2082"/>
                <a:ext cx="7" cy="6"/>
              </a:xfrm>
              <a:custGeom>
                <a:avLst/>
                <a:gdLst>
                  <a:gd name="T0" fmla="*/ 90 w 110"/>
                  <a:gd name="T1" fmla="*/ 91 h 110"/>
                  <a:gd name="T2" fmla="*/ 19 w 110"/>
                  <a:gd name="T3" fmla="*/ 91 h 110"/>
                  <a:gd name="T4" fmla="*/ 19 w 110"/>
                  <a:gd name="T5" fmla="*/ 20 h 110"/>
                  <a:gd name="T6" fmla="*/ 90 w 110"/>
                  <a:gd name="T7" fmla="*/ 20 h 110"/>
                  <a:gd name="T8" fmla="*/ 90 w 110"/>
                  <a:gd name="T9" fmla="*/ 91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110">
                    <a:moveTo>
                      <a:pt x="90" y="91"/>
                    </a:moveTo>
                    <a:cubicBezTo>
                      <a:pt x="71" y="110"/>
                      <a:pt x="39" y="110"/>
                      <a:pt x="19" y="91"/>
                    </a:cubicBezTo>
                    <a:cubicBezTo>
                      <a:pt x="0" y="71"/>
                      <a:pt x="0" y="39"/>
                      <a:pt x="19" y="20"/>
                    </a:cubicBezTo>
                    <a:cubicBezTo>
                      <a:pt x="39" y="0"/>
                      <a:pt x="71" y="0"/>
                      <a:pt x="90" y="20"/>
                    </a:cubicBezTo>
                    <a:cubicBezTo>
                      <a:pt x="110" y="39"/>
                      <a:pt x="110" y="71"/>
                      <a:pt x="90" y="91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547" name="Freeform 138">
                <a:extLst>
                  <a:ext uri="{FF2B5EF4-FFF2-40B4-BE49-F238E27FC236}">
                    <a16:creationId xmlns:a16="http://schemas.microsoft.com/office/drawing/2014/main" id="{D61B4FBD-3F2C-4D92-ACF5-4B20369FBE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01" y="2082"/>
                <a:ext cx="7" cy="7"/>
              </a:xfrm>
              <a:custGeom>
                <a:avLst/>
                <a:gdLst>
                  <a:gd name="T0" fmla="*/ 91 w 110"/>
                  <a:gd name="T1" fmla="*/ 90 h 110"/>
                  <a:gd name="T2" fmla="*/ 20 w 110"/>
                  <a:gd name="T3" fmla="*/ 90 h 110"/>
                  <a:gd name="T4" fmla="*/ 20 w 110"/>
                  <a:gd name="T5" fmla="*/ 19 h 110"/>
                  <a:gd name="T6" fmla="*/ 91 w 110"/>
                  <a:gd name="T7" fmla="*/ 19 h 110"/>
                  <a:gd name="T8" fmla="*/ 91 w 110"/>
                  <a:gd name="T9" fmla="*/ 9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110">
                    <a:moveTo>
                      <a:pt x="91" y="90"/>
                    </a:moveTo>
                    <a:cubicBezTo>
                      <a:pt x="71" y="110"/>
                      <a:pt x="40" y="110"/>
                      <a:pt x="20" y="90"/>
                    </a:cubicBezTo>
                    <a:cubicBezTo>
                      <a:pt x="0" y="70"/>
                      <a:pt x="0" y="39"/>
                      <a:pt x="20" y="19"/>
                    </a:cubicBezTo>
                    <a:cubicBezTo>
                      <a:pt x="40" y="0"/>
                      <a:pt x="71" y="0"/>
                      <a:pt x="91" y="19"/>
                    </a:cubicBezTo>
                    <a:cubicBezTo>
                      <a:pt x="110" y="39"/>
                      <a:pt x="110" y="70"/>
                      <a:pt x="91" y="90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548" name="Freeform 139">
                <a:extLst>
                  <a:ext uri="{FF2B5EF4-FFF2-40B4-BE49-F238E27FC236}">
                    <a16:creationId xmlns:a16="http://schemas.microsoft.com/office/drawing/2014/main" id="{207850FC-CE8A-40E5-A96D-BB72B49B68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01" y="2082"/>
                <a:ext cx="7" cy="7"/>
              </a:xfrm>
              <a:custGeom>
                <a:avLst/>
                <a:gdLst>
                  <a:gd name="T0" fmla="*/ 91 w 110"/>
                  <a:gd name="T1" fmla="*/ 90 h 110"/>
                  <a:gd name="T2" fmla="*/ 20 w 110"/>
                  <a:gd name="T3" fmla="*/ 90 h 110"/>
                  <a:gd name="T4" fmla="*/ 20 w 110"/>
                  <a:gd name="T5" fmla="*/ 19 h 110"/>
                  <a:gd name="T6" fmla="*/ 91 w 110"/>
                  <a:gd name="T7" fmla="*/ 19 h 110"/>
                  <a:gd name="T8" fmla="*/ 91 w 110"/>
                  <a:gd name="T9" fmla="*/ 9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110">
                    <a:moveTo>
                      <a:pt x="91" y="90"/>
                    </a:moveTo>
                    <a:cubicBezTo>
                      <a:pt x="71" y="110"/>
                      <a:pt x="40" y="110"/>
                      <a:pt x="20" y="90"/>
                    </a:cubicBezTo>
                    <a:cubicBezTo>
                      <a:pt x="0" y="70"/>
                      <a:pt x="0" y="39"/>
                      <a:pt x="20" y="19"/>
                    </a:cubicBezTo>
                    <a:cubicBezTo>
                      <a:pt x="40" y="0"/>
                      <a:pt x="71" y="0"/>
                      <a:pt x="91" y="19"/>
                    </a:cubicBezTo>
                    <a:cubicBezTo>
                      <a:pt x="110" y="39"/>
                      <a:pt x="110" y="70"/>
                      <a:pt x="91" y="90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549" name="Freeform 140">
                <a:extLst>
                  <a:ext uri="{FF2B5EF4-FFF2-40B4-BE49-F238E27FC236}">
                    <a16:creationId xmlns:a16="http://schemas.microsoft.com/office/drawing/2014/main" id="{46804D57-946F-476C-BC39-BA5414AEB1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41" y="2082"/>
                <a:ext cx="7" cy="7"/>
              </a:xfrm>
              <a:custGeom>
                <a:avLst/>
                <a:gdLst>
                  <a:gd name="T0" fmla="*/ 90 w 110"/>
                  <a:gd name="T1" fmla="*/ 90 h 110"/>
                  <a:gd name="T2" fmla="*/ 19 w 110"/>
                  <a:gd name="T3" fmla="*/ 90 h 110"/>
                  <a:gd name="T4" fmla="*/ 19 w 110"/>
                  <a:gd name="T5" fmla="*/ 19 h 110"/>
                  <a:gd name="T6" fmla="*/ 90 w 110"/>
                  <a:gd name="T7" fmla="*/ 19 h 110"/>
                  <a:gd name="T8" fmla="*/ 90 w 110"/>
                  <a:gd name="T9" fmla="*/ 9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110">
                    <a:moveTo>
                      <a:pt x="90" y="90"/>
                    </a:moveTo>
                    <a:cubicBezTo>
                      <a:pt x="71" y="110"/>
                      <a:pt x="39" y="110"/>
                      <a:pt x="19" y="90"/>
                    </a:cubicBezTo>
                    <a:cubicBezTo>
                      <a:pt x="0" y="70"/>
                      <a:pt x="0" y="39"/>
                      <a:pt x="19" y="19"/>
                    </a:cubicBezTo>
                    <a:cubicBezTo>
                      <a:pt x="39" y="0"/>
                      <a:pt x="71" y="0"/>
                      <a:pt x="90" y="19"/>
                    </a:cubicBezTo>
                    <a:cubicBezTo>
                      <a:pt x="110" y="39"/>
                      <a:pt x="110" y="70"/>
                      <a:pt x="90" y="90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550" name="Freeform 141">
                <a:extLst>
                  <a:ext uri="{FF2B5EF4-FFF2-40B4-BE49-F238E27FC236}">
                    <a16:creationId xmlns:a16="http://schemas.microsoft.com/office/drawing/2014/main" id="{81659169-5C5D-48E4-A2C7-5E10AB8053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41" y="2082"/>
                <a:ext cx="7" cy="7"/>
              </a:xfrm>
              <a:custGeom>
                <a:avLst/>
                <a:gdLst>
                  <a:gd name="T0" fmla="*/ 90 w 110"/>
                  <a:gd name="T1" fmla="*/ 90 h 110"/>
                  <a:gd name="T2" fmla="*/ 19 w 110"/>
                  <a:gd name="T3" fmla="*/ 90 h 110"/>
                  <a:gd name="T4" fmla="*/ 19 w 110"/>
                  <a:gd name="T5" fmla="*/ 19 h 110"/>
                  <a:gd name="T6" fmla="*/ 90 w 110"/>
                  <a:gd name="T7" fmla="*/ 19 h 110"/>
                  <a:gd name="T8" fmla="*/ 90 w 110"/>
                  <a:gd name="T9" fmla="*/ 9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110">
                    <a:moveTo>
                      <a:pt x="90" y="90"/>
                    </a:moveTo>
                    <a:cubicBezTo>
                      <a:pt x="71" y="110"/>
                      <a:pt x="39" y="110"/>
                      <a:pt x="19" y="90"/>
                    </a:cubicBezTo>
                    <a:cubicBezTo>
                      <a:pt x="0" y="70"/>
                      <a:pt x="0" y="39"/>
                      <a:pt x="19" y="19"/>
                    </a:cubicBezTo>
                    <a:cubicBezTo>
                      <a:pt x="39" y="0"/>
                      <a:pt x="71" y="0"/>
                      <a:pt x="90" y="19"/>
                    </a:cubicBezTo>
                    <a:cubicBezTo>
                      <a:pt x="110" y="39"/>
                      <a:pt x="110" y="70"/>
                      <a:pt x="90" y="90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551" name="Freeform 142">
                <a:extLst>
                  <a:ext uri="{FF2B5EF4-FFF2-40B4-BE49-F238E27FC236}">
                    <a16:creationId xmlns:a16="http://schemas.microsoft.com/office/drawing/2014/main" id="{C821238C-BD0C-405F-99E2-BAC378A829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81" y="2082"/>
                <a:ext cx="7" cy="7"/>
              </a:xfrm>
              <a:custGeom>
                <a:avLst/>
                <a:gdLst>
                  <a:gd name="T0" fmla="*/ 90 w 110"/>
                  <a:gd name="T1" fmla="*/ 90 h 110"/>
                  <a:gd name="T2" fmla="*/ 19 w 110"/>
                  <a:gd name="T3" fmla="*/ 90 h 110"/>
                  <a:gd name="T4" fmla="*/ 19 w 110"/>
                  <a:gd name="T5" fmla="*/ 19 h 110"/>
                  <a:gd name="T6" fmla="*/ 90 w 110"/>
                  <a:gd name="T7" fmla="*/ 19 h 110"/>
                  <a:gd name="T8" fmla="*/ 90 w 110"/>
                  <a:gd name="T9" fmla="*/ 9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110">
                    <a:moveTo>
                      <a:pt x="90" y="90"/>
                    </a:moveTo>
                    <a:cubicBezTo>
                      <a:pt x="71" y="110"/>
                      <a:pt x="39" y="110"/>
                      <a:pt x="19" y="90"/>
                    </a:cubicBezTo>
                    <a:cubicBezTo>
                      <a:pt x="0" y="70"/>
                      <a:pt x="0" y="39"/>
                      <a:pt x="19" y="19"/>
                    </a:cubicBezTo>
                    <a:cubicBezTo>
                      <a:pt x="39" y="0"/>
                      <a:pt x="71" y="0"/>
                      <a:pt x="90" y="19"/>
                    </a:cubicBezTo>
                    <a:cubicBezTo>
                      <a:pt x="110" y="39"/>
                      <a:pt x="110" y="70"/>
                      <a:pt x="90" y="90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552" name="Freeform 143">
                <a:extLst>
                  <a:ext uri="{FF2B5EF4-FFF2-40B4-BE49-F238E27FC236}">
                    <a16:creationId xmlns:a16="http://schemas.microsoft.com/office/drawing/2014/main" id="{4A62899D-426D-4A4A-A752-6897EE9381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81" y="2082"/>
                <a:ext cx="7" cy="7"/>
              </a:xfrm>
              <a:custGeom>
                <a:avLst/>
                <a:gdLst>
                  <a:gd name="T0" fmla="*/ 90 w 110"/>
                  <a:gd name="T1" fmla="*/ 90 h 110"/>
                  <a:gd name="T2" fmla="*/ 19 w 110"/>
                  <a:gd name="T3" fmla="*/ 90 h 110"/>
                  <a:gd name="T4" fmla="*/ 19 w 110"/>
                  <a:gd name="T5" fmla="*/ 19 h 110"/>
                  <a:gd name="T6" fmla="*/ 90 w 110"/>
                  <a:gd name="T7" fmla="*/ 19 h 110"/>
                  <a:gd name="T8" fmla="*/ 90 w 110"/>
                  <a:gd name="T9" fmla="*/ 9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110">
                    <a:moveTo>
                      <a:pt x="90" y="90"/>
                    </a:moveTo>
                    <a:cubicBezTo>
                      <a:pt x="71" y="110"/>
                      <a:pt x="39" y="110"/>
                      <a:pt x="19" y="90"/>
                    </a:cubicBezTo>
                    <a:cubicBezTo>
                      <a:pt x="0" y="70"/>
                      <a:pt x="0" y="39"/>
                      <a:pt x="19" y="19"/>
                    </a:cubicBezTo>
                    <a:cubicBezTo>
                      <a:pt x="39" y="0"/>
                      <a:pt x="71" y="0"/>
                      <a:pt x="90" y="19"/>
                    </a:cubicBezTo>
                    <a:cubicBezTo>
                      <a:pt x="110" y="39"/>
                      <a:pt x="110" y="70"/>
                      <a:pt x="90" y="90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553" name="Freeform 144">
                <a:extLst>
                  <a:ext uri="{FF2B5EF4-FFF2-40B4-BE49-F238E27FC236}">
                    <a16:creationId xmlns:a16="http://schemas.microsoft.com/office/drawing/2014/main" id="{E33993A3-9AD0-4641-AD43-4599CAAE0E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21" y="2082"/>
                <a:ext cx="7" cy="7"/>
              </a:xfrm>
              <a:custGeom>
                <a:avLst/>
                <a:gdLst>
                  <a:gd name="T0" fmla="*/ 91 w 110"/>
                  <a:gd name="T1" fmla="*/ 91 h 111"/>
                  <a:gd name="T2" fmla="*/ 20 w 110"/>
                  <a:gd name="T3" fmla="*/ 91 h 111"/>
                  <a:gd name="T4" fmla="*/ 20 w 110"/>
                  <a:gd name="T5" fmla="*/ 20 h 111"/>
                  <a:gd name="T6" fmla="*/ 91 w 110"/>
                  <a:gd name="T7" fmla="*/ 20 h 111"/>
                  <a:gd name="T8" fmla="*/ 91 w 110"/>
                  <a:gd name="T9" fmla="*/ 91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111">
                    <a:moveTo>
                      <a:pt x="91" y="91"/>
                    </a:moveTo>
                    <a:cubicBezTo>
                      <a:pt x="71" y="111"/>
                      <a:pt x="39" y="111"/>
                      <a:pt x="20" y="91"/>
                    </a:cubicBezTo>
                    <a:cubicBezTo>
                      <a:pt x="0" y="71"/>
                      <a:pt x="0" y="40"/>
                      <a:pt x="20" y="20"/>
                    </a:cubicBezTo>
                    <a:cubicBezTo>
                      <a:pt x="39" y="0"/>
                      <a:pt x="71" y="0"/>
                      <a:pt x="91" y="20"/>
                    </a:cubicBezTo>
                    <a:cubicBezTo>
                      <a:pt x="110" y="40"/>
                      <a:pt x="110" y="71"/>
                      <a:pt x="91" y="91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554" name="Freeform 145">
                <a:extLst>
                  <a:ext uri="{FF2B5EF4-FFF2-40B4-BE49-F238E27FC236}">
                    <a16:creationId xmlns:a16="http://schemas.microsoft.com/office/drawing/2014/main" id="{2C47137C-7FFC-469D-8D1E-AFF1B0239C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21" y="2082"/>
                <a:ext cx="7" cy="7"/>
              </a:xfrm>
              <a:custGeom>
                <a:avLst/>
                <a:gdLst>
                  <a:gd name="T0" fmla="*/ 91 w 110"/>
                  <a:gd name="T1" fmla="*/ 91 h 111"/>
                  <a:gd name="T2" fmla="*/ 20 w 110"/>
                  <a:gd name="T3" fmla="*/ 91 h 111"/>
                  <a:gd name="T4" fmla="*/ 20 w 110"/>
                  <a:gd name="T5" fmla="*/ 20 h 111"/>
                  <a:gd name="T6" fmla="*/ 91 w 110"/>
                  <a:gd name="T7" fmla="*/ 20 h 111"/>
                  <a:gd name="T8" fmla="*/ 91 w 110"/>
                  <a:gd name="T9" fmla="*/ 91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111">
                    <a:moveTo>
                      <a:pt x="91" y="91"/>
                    </a:moveTo>
                    <a:cubicBezTo>
                      <a:pt x="71" y="111"/>
                      <a:pt x="39" y="111"/>
                      <a:pt x="20" y="91"/>
                    </a:cubicBezTo>
                    <a:cubicBezTo>
                      <a:pt x="0" y="71"/>
                      <a:pt x="0" y="40"/>
                      <a:pt x="20" y="20"/>
                    </a:cubicBezTo>
                    <a:cubicBezTo>
                      <a:pt x="39" y="0"/>
                      <a:pt x="71" y="0"/>
                      <a:pt x="91" y="20"/>
                    </a:cubicBezTo>
                    <a:cubicBezTo>
                      <a:pt x="110" y="40"/>
                      <a:pt x="110" y="71"/>
                      <a:pt x="91" y="91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555" name="Freeform 146">
                <a:extLst>
                  <a:ext uri="{FF2B5EF4-FFF2-40B4-BE49-F238E27FC236}">
                    <a16:creationId xmlns:a16="http://schemas.microsoft.com/office/drawing/2014/main" id="{58F0BC78-1480-4BE4-8F9E-69E5A0F1BB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61" y="2082"/>
                <a:ext cx="7" cy="7"/>
              </a:xfrm>
              <a:custGeom>
                <a:avLst/>
                <a:gdLst>
                  <a:gd name="T0" fmla="*/ 91 w 110"/>
                  <a:gd name="T1" fmla="*/ 91 h 111"/>
                  <a:gd name="T2" fmla="*/ 20 w 110"/>
                  <a:gd name="T3" fmla="*/ 91 h 111"/>
                  <a:gd name="T4" fmla="*/ 20 w 110"/>
                  <a:gd name="T5" fmla="*/ 20 h 111"/>
                  <a:gd name="T6" fmla="*/ 91 w 110"/>
                  <a:gd name="T7" fmla="*/ 20 h 111"/>
                  <a:gd name="T8" fmla="*/ 91 w 110"/>
                  <a:gd name="T9" fmla="*/ 91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111">
                    <a:moveTo>
                      <a:pt x="91" y="91"/>
                    </a:moveTo>
                    <a:cubicBezTo>
                      <a:pt x="71" y="111"/>
                      <a:pt x="39" y="111"/>
                      <a:pt x="20" y="91"/>
                    </a:cubicBezTo>
                    <a:cubicBezTo>
                      <a:pt x="0" y="71"/>
                      <a:pt x="0" y="40"/>
                      <a:pt x="20" y="20"/>
                    </a:cubicBezTo>
                    <a:cubicBezTo>
                      <a:pt x="39" y="0"/>
                      <a:pt x="71" y="0"/>
                      <a:pt x="91" y="20"/>
                    </a:cubicBezTo>
                    <a:cubicBezTo>
                      <a:pt x="110" y="40"/>
                      <a:pt x="110" y="71"/>
                      <a:pt x="91" y="91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556" name="Freeform 147">
                <a:extLst>
                  <a:ext uri="{FF2B5EF4-FFF2-40B4-BE49-F238E27FC236}">
                    <a16:creationId xmlns:a16="http://schemas.microsoft.com/office/drawing/2014/main" id="{902166E2-B400-47D6-A3E0-3BCD7208FE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61" y="2082"/>
                <a:ext cx="7" cy="7"/>
              </a:xfrm>
              <a:custGeom>
                <a:avLst/>
                <a:gdLst>
                  <a:gd name="T0" fmla="*/ 91 w 110"/>
                  <a:gd name="T1" fmla="*/ 91 h 111"/>
                  <a:gd name="T2" fmla="*/ 20 w 110"/>
                  <a:gd name="T3" fmla="*/ 91 h 111"/>
                  <a:gd name="T4" fmla="*/ 20 w 110"/>
                  <a:gd name="T5" fmla="*/ 20 h 111"/>
                  <a:gd name="T6" fmla="*/ 91 w 110"/>
                  <a:gd name="T7" fmla="*/ 20 h 111"/>
                  <a:gd name="T8" fmla="*/ 91 w 110"/>
                  <a:gd name="T9" fmla="*/ 91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111">
                    <a:moveTo>
                      <a:pt x="91" y="91"/>
                    </a:moveTo>
                    <a:cubicBezTo>
                      <a:pt x="71" y="111"/>
                      <a:pt x="39" y="111"/>
                      <a:pt x="20" y="91"/>
                    </a:cubicBezTo>
                    <a:cubicBezTo>
                      <a:pt x="0" y="71"/>
                      <a:pt x="0" y="40"/>
                      <a:pt x="20" y="20"/>
                    </a:cubicBezTo>
                    <a:cubicBezTo>
                      <a:pt x="39" y="0"/>
                      <a:pt x="71" y="0"/>
                      <a:pt x="91" y="20"/>
                    </a:cubicBezTo>
                    <a:cubicBezTo>
                      <a:pt x="110" y="40"/>
                      <a:pt x="110" y="71"/>
                      <a:pt x="91" y="91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557" name="Freeform 148">
                <a:extLst>
                  <a:ext uri="{FF2B5EF4-FFF2-40B4-BE49-F238E27FC236}">
                    <a16:creationId xmlns:a16="http://schemas.microsoft.com/office/drawing/2014/main" id="{E820839D-2EB7-4D29-996D-0CA2C9C49E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02" y="2082"/>
                <a:ext cx="6" cy="7"/>
              </a:xfrm>
              <a:custGeom>
                <a:avLst/>
                <a:gdLst>
                  <a:gd name="T0" fmla="*/ 90 w 110"/>
                  <a:gd name="T1" fmla="*/ 91 h 111"/>
                  <a:gd name="T2" fmla="*/ 19 w 110"/>
                  <a:gd name="T3" fmla="*/ 91 h 111"/>
                  <a:gd name="T4" fmla="*/ 19 w 110"/>
                  <a:gd name="T5" fmla="*/ 20 h 111"/>
                  <a:gd name="T6" fmla="*/ 90 w 110"/>
                  <a:gd name="T7" fmla="*/ 20 h 111"/>
                  <a:gd name="T8" fmla="*/ 90 w 110"/>
                  <a:gd name="T9" fmla="*/ 91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111">
                    <a:moveTo>
                      <a:pt x="90" y="91"/>
                    </a:moveTo>
                    <a:cubicBezTo>
                      <a:pt x="70" y="111"/>
                      <a:pt x="39" y="111"/>
                      <a:pt x="19" y="91"/>
                    </a:cubicBezTo>
                    <a:cubicBezTo>
                      <a:pt x="0" y="71"/>
                      <a:pt x="0" y="40"/>
                      <a:pt x="19" y="20"/>
                    </a:cubicBezTo>
                    <a:cubicBezTo>
                      <a:pt x="39" y="0"/>
                      <a:pt x="70" y="0"/>
                      <a:pt x="90" y="20"/>
                    </a:cubicBezTo>
                    <a:cubicBezTo>
                      <a:pt x="110" y="40"/>
                      <a:pt x="110" y="71"/>
                      <a:pt x="90" y="91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558" name="Freeform 149">
                <a:extLst>
                  <a:ext uri="{FF2B5EF4-FFF2-40B4-BE49-F238E27FC236}">
                    <a16:creationId xmlns:a16="http://schemas.microsoft.com/office/drawing/2014/main" id="{00B67B79-936E-4A0E-A637-68DDAEC09E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02" y="2082"/>
                <a:ext cx="6" cy="7"/>
              </a:xfrm>
              <a:custGeom>
                <a:avLst/>
                <a:gdLst>
                  <a:gd name="T0" fmla="*/ 90 w 110"/>
                  <a:gd name="T1" fmla="*/ 91 h 111"/>
                  <a:gd name="T2" fmla="*/ 19 w 110"/>
                  <a:gd name="T3" fmla="*/ 91 h 111"/>
                  <a:gd name="T4" fmla="*/ 19 w 110"/>
                  <a:gd name="T5" fmla="*/ 20 h 111"/>
                  <a:gd name="T6" fmla="*/ 90 w 110"/>
                  <a:gd name="T7" fmla="*/ 20 h 111"/>
                  <a:gd name="T8" fmla="*/ 90 w 110"/>
                  <a:gd name="T9" fmla="*/ 91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111">
                    <a:moveTo>
                      <a:pt x="90" y="91"/>
                    </a:moveTo>
                    <a:cubicBezTo>
                      <a:pt x="70" y="111"/>
                      <a:pt x="39" y="111"/>
                      <a:pt x="19" y="91"/>
                    </a:cubicBezTo>
                    <a:cubicBezTo>
                      <a:pt x="0" y="71"/>
                      <a:pt x="0" y="40"/>
                      <a:pt x="19" y="20"/>
                    </a:cubicBezTo>
                    <a:cubicBezTo>
                      <a:pt x="39" y="0"/>
                      <a:pt x="70" y="0"/>
                      <a:pt x="90" y="20"/>
                    </a:cubicBezTo>
                    <a:cubicBezTo>
                      <a:pt x="110" y="40"/>
                      <a:pt x="110" y="71"/>
                      <a:pt x="90" y="91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559" name="Freeform 150">
                <a:extLst>
                  <a:ext uri="{FF2B5EF4-FFF2-40B4-BE49-F238E27FC236}">
                    <a16:creationId xmlns:a16="http://schemas.microsoft.com/office/drawing/2014/main" id="{EF412F3D-1B9B-40A8-9FAC-33A44AAAEB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42" y="2082"/>
                <a:ext cx="6" cy="6"/>
              </a:xfrm>
              <a:custGeom>
                <a:avLst/>
                <a:gdLst>
                  <a:gd name="T0" fmla="*/ 50 w 100"/>
                  <a:gd name="T1" fmla="*/ 101 h 101"/>
                  <a:gd name="T2" fmla="*/ 0 w 100"/>
                  <a:gd name="T3" fmla="*/ 50 h 101"/>
                  <a:gd name="T4" fmla="*/ 50 w 100"/>
                  <a:gd name="T5" fmla="*/ 0 h 101"/>
                  <a:gd name="T6" fmla="*/ 100 w 100"/>
                  <a:gd name="T7" fmla="*/ 50 h 101"/>
                  <a:gd name="T8" fmla="*/ 50 w 100"/>
                  <a:gd name="T9" fmla="*/ 101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0" h="101">
                    <a:moveTo>
                      <a:pt x="50" y="101"/>
                    </a:moveTo>
                    <a:cubicBezTo>
                      <a:pt x="22" y="101"/>
                      <a:pt x="0" y="78"/>
                      <a:pt x="0" y="50"/>
                    </a:cubicBezTo>
                    <a:cubicBezTo>
                      <a:pt x="0" y="23"/>
                      <a:pt x="22" y="0"/>
                      <a:pt x="50" y="0"/>
                    </a:cubicBezTo>
                    <a:cubicBezTo>
                      <a:pt x="77" y="0"/>
                      <a:pt x="100" y="23"/>
                      <a:pt x="100" y="50"/>
                    </a:cubicBezTo>
                    <a:cubicBezTo>
                      <a:pt x="100" y="78"/>
                      <a:pt x="78" y="101"/>
                      <a:pt x="50" y="101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560" name="Freeform 151">
                <a:extLst>
                  <a:ext uri="{FF2B5EF4-FFF2-40B4-BE49-F238E27FC236}">
                    <a16:creationId xmlns:a16="http://schemas.microsoft.com/office/drawing/2014/main" id="{DC032600-CB9A-4638-8875-58E6DA32AA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42" y="2082"/>
                <a:ext cx="6" cy="6"/>
              </a:xfrm>
              <a:custGeom>
                <a:avLst/>
                <a:gdLst>
                  <a:gd name="T0" fmla="*/ 50 w 100"/>
                  <a:gd name="T1" fmla="*/ 101 h 101"/>
                  <a:gd name="T2" fmla="*/ 0 w 100"/>
                  <a:gd name="T3" fmla="*/ 50 h 101"/>
                  <a:gd name="T4" fmla="*/ 50 w 100"/>
                  <a:gd name="T5" fmla="*/ 0 h 101"/>
                  <a:gd name="T6" fmla="*/ 100 w 100"/>
                  <a:gd name="T7" fmla="*/ 50 h 101"/>
                  <a:gd name="T8" fmla="*/ 50 w 100"/>
                  <a:gd name="T9" fmla="*/ 101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0" h="101">
                    <a:moveTo>
                      <a:pt x="50" y="101"/>
                    </a:moveTo>
                    <a:cubicBezTo>
                      <a:pt x="22" y="101"/>
                      <a:pt x="0" y="78"/>
                      <a:pt x="0" y="50"/>
                    </a:cubicBezTo>
                    <a:cubicBezTo>
                      <a:pt x="0" y="23"/>
                      <a:pt x="22" y="0"/>
                      <a:pt x="50" y="0"/>
                    </a:cubicBezTo>
                    <a:cubicBezTo>
                      <a:pt x="77" y="0"/>
                      <a:pt x="100" y="23"/>
                      <a:pt x="100" y="50"/>
                    </a:cubicBezTo>
                    <a:cubicBezTo>
                      <a:pt x="100" y="78"/>
                      <a:pt x="78" y="101"/>
                      <a:pt x="50" y="101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561" name="Freeform 152">
                <a:extLst>
                  <a:ext uri="{FF2B5EF4-FFF2-40B4-BE49-F238E27FC236}">
                    <a16:creationId xmlns:a16="http://schemas.microsoft.com/office/drawing/2014/main" id="{5D2EFB68-0BD8-49E7-8208-653A16348C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82" y="2082"/>
                <a:ext cx="6" cy="6"/>
              </a:xfrm>
              <a:custGeom>
                <a:avLst/>
                <a:gdLst>
                  <a:gd name="T0" fmla="*/ 91 w 110"/>
                  <a:gd name="T1" fmla="*/ 90 h 110"/>
                  <a:gd name="T2" fmla="*/ 20 w 110"/>
                  <a:gd name="T3" fmla="*/ 90 h 110"/>
                  <a:gd name="T4" fmla="*/ 20 w 110"/>
                  <a:gd name="T5" fmla="*/ 20 h 110"/>
                  <a:gd name="T6" fmla="*/ 91 w 110"/>
                  <a:gd name="T7" fmla="*/ 20 h 110"/>
                  <a:gd name="T8" fmla="*/ 91 w 110"/>
                  <a:gd name="T9" fmla="*/ 9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110">
                    <a:moveTo>
                      <a:pt x="91" y="90"/>
                    </a:moveTo>
                    <a:cubicBezTo>
                      <a:pt x="71" y="110"/>
                      <a:pt x="40" y="110"/>
                      <a:pt x="20" y="90"/>
                    </a:cubicBezTo>
                    <a:cubicBezTo>
                      <a:pt x="0" y="71"/>
                      <a:pt x="0" y="39"/>
                      <a:pt x="20" y="20"/>
                    </a:cubicBezTo>
                    <a:cubicBezTo>
                      <a:pt x="40" y="0"/>
                      <a:pt x="71" y="0"/>
                      <a:pt x="91" y="20"/>
                    </a:cubicBezTo>
                    <a:cubicBezTo>
                      <a:pt x="110" y="39"/>
                      <a:pt x="110" y="71"/>
                      <a:pt x="91" y="90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562" name="Freeform 153">
                <a:extLst>
                  <a:ext uri="{FF2B5EF4-FFF2-40B4-BE49-F238E27FC236}">
                    <a16:creationId xmlns:a16="http://schemas.microsoft.com/office/drawing/2014/main" id="{F20C13F8-C413-4B7D-8B35-E1C2D100E7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82" y="2082"/>
                <a:ext cx="6" cy="6"/>
              </a:xfrm>
              <a:custGeom>
                <a:avLst/>
                <a:gdLst>
                  <a:gd name="T0" fmla="*/ 91 w 110"/>
                  <a:gd name="T1" fmla="*/ 90 h 110"/>
                  <a:gd name="T2" fmla="*/ 20 w 110"/>
                  <a:gd name="T3" fmla="*/ 90 h 110"/>
                  <a:gd name="T4" fmla="*/ 20 w 110"/>
                  <a:gd name="T5" fmla="*/ 20 h 110"/>
                  <a:gd name="T6" fmla="*/ 91 w 110"/>
                  <a:gd name="T7" fmla="*/ 20 h 110"/>
                  <a:gd name="T8" fmla="*/ 91 w 110"/>
                  <a:gd name="T9" fmla="*/ 9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110">
                    <a:moveTo>
                      <a:pt x="91" y="90"/>
                    </a:moveTo>
                    <a:cubicBezTo>
                      <a:pt x="71" y="110"/>
                      <a:pt x="40" y="110"/>
                      <a:pt x="20" y="90"/>
                    </a:cubicBezTo>
                    <a:cubicBezTo>
                      <a:pt x="0" y="71"/>
                      <a:pt x="0" y="39"/>
                      <a:pt x="20" y="20"/>
                    </a:cubicBezTo>
                    <a:cubicBezTo>
                      <a:pt x="40" y="0"/>
                      <a:pt x="71" y="0"/>
                      <a:pt x="91" y="20"/>
                    </a:cubicBezTo>
                    <a:cubicBezTo>
                      <a:pt x="110" y="39"/>
                      <a:pt x="110" y="71"/>
                      <a:pt x="91" y="90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563" name="Freeform 154">
                <a:extLst>
                  <a:ext uri="{FF2B5EF4-FFF2-40B4-BE49-F238E27FC236}">
                    <a16:creationId xmlns:a16="http://schemas.microsoft.com/office/drawing/2014/main" id="{1E14C167-314E-41AE-9614-A28C473959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00" y="2042"/>
                <a:ext cx="6" cy="6"/>
              </a:xfrm>
              <a:custGeom>
                <a:avLst/>
                <a:gdLst>
                  <a:gd name="T0" fmla="*/ 50 w 100"/>
                  <a:gd name="T1" fmla="*/ 100 h 101"/>
                  <a:gd name="T2" fmla="*/ 0 w 100"/>
                  <a:gd name="T3" fmla="*/ 50 h 101"/>
                  <a:gd name="T4" fmla="*/ 50 w 100"/>
                  <a:gd name="T5" fmla="*/ 0 h 101"/>
                  <a:gd name="T6" fmla="*/ 100 w 100"/>
                  <a:gd name="T7" fmla="*/ 50 h 101"/>
                  <a:gd name="T8" fmla="*/ 50 w 100"/>
                  <a:gd name="T9" fmla="*/ 10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0" h="101">
                    <a:moveTo>
                      <a:pt x="50" y="100"/>
                    </a:moveTo>
                    <a:cubicBezTo>
                      <a:pt x="22" y="100"/>
                      <a:pt x="0" y="77"/>
                      <a:pt x="0" y="50"/>
                    </a:cubicBezTo>
                    <a:cubicBezTo>
                      <a:pt x="0" y="23"/>
                      <a:pt x="22" y="0"/>
                      <a:pt x="50" y="0"/>
                    </a:cubicBezTo>
                    <a:cubicBezTo>
                      <a:pt x="77" y="0"/>
                      <a:pt x="100" y="23"/>
                      <a:pt x="100" y="50"/>
                    </a:cubicBezTo>
                    <a:cubicBezTo>
                      <a:pt x="100" y="78"/>
                      <a:pt x="78" y="101"/>
                      <a:pt x="50" y="100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564" name="Freeform 155">
                <a:extLst>
                  <a:ext uri="{FF2B5EF4-FFF2-40B4-BE49-F238E27FC236}">
                    <a16:creationId xmlns:a16="http://schemas.microsoft.com/office/drawing/2014/main" id="{8F979B92-510B-4272-B33C-A738DCD1D9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00" y="2042"/>
                <a:ext cx="6" cy="6"/>
              </a:xfrm>
              <a:custGeom>
                <a:avLst/>
                <a:gdLst>
                  <a:gd name="T0" fmla="*/ 50 w 100"/>
                  <a:gd name="T1" fmla="*/ 100 h 101"/>
                  <a:gd name="T2" fmla="*/ 0 w 100"/>
                  <a:gd name="T3" fmla="*/ 50 h 101"/>
                  <a:gd name="T4" fmla="*/ 50 w 100"/>
                  <a:gd name="T5" fmla="*/ 0 h 101"/>
                  <a:gd name="T6" fmla="*/ 100 w 100"/>
                  <a:gd name="T7" fmla="*/ 50 h 101"/>
                  <a:gd name="T8" fmla="*/ 50 w 100"/>
                  <a:gd name="T9" fmla="*/ 10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0" h="101">
                    <a:moveTo>
                      <a:pt x="50" y="100"/>
                    </a:moveTo>
                    <a:cubicBezTo>
                      <a:pt x="22" y="100"/>
                      <a:pt x="0" y="77"/>
                      <a:pt x="0" y="50"/>
                    </a:cubicBezTo>
                    <a:cubicBezTo>
                      <a:pt x="0" y="23"/>
                      <a:pt x="22" y="0"/>
                      <a:pt x="50" y="0"/>
                    </a:cubicBezTo>
                    <a:cubicBezTo>
                      <a:pt x="77" y="0"/>
                      <a:pt x="100" y="23"/>
                      <a:pt x="100" y="50"/>
                    </a:cubicBezTo>
                    <a:cubicBezTo>
                      <a:pt x="100" y="78"/>
                      <a:pt x="78" y="101"/>
                      <a:pt x="50" y="100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565" name="Oval 156">
                <a:extLst>
                  <a:ext uri="{FF2B5EF4-FFF2-40B4-BE49-F238E27FC236}">
                    <a16:creationId xmlns:a16="http://schemas.microsoft.com/office/drawing/2014/main" id="{15FE5006-09C9-439F-B459-4E5917062C2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40" y="2042"/>
                <a:ext cx="6" cy="6"/>
              </a:xfrm>
              <a:prstGeom prst="ellipse">
                <a:avLst/>
              </a:pr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566" name="Oval 157">
                <a:extLst>
                  <a:ext uri="{FF2B5EF4-FFF2-40B4-BE49-F238E27FC236}">
                    <a16:creationId xmlns:a16="http://schemas.microsoft.com/office/drawing/2014/main" id="{4A207DED-EA87-4A45-B000-46B138C15E4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40" y="2042"/>
                <a:ext cx="6" cy="6"/>
              </a:xfrm>
              <a:prstGeom prst="ellipse">
                <a:avLst/>
              </a:pr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567" name="Freeform 158">
                <a:extLst>
                  <a:ext uri="{FF2B5EF4-FFF2-40B4-BE49-F238E27FC236}">
                    <a16:creationId xmlns:a16="http://schemas.microsoft.com/office/drawing/2014/main" id="{A734B887-03C6-4C39-B2DC-8A581B6812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80" y="2042"/>
                <a:ext cx="7" cy="6"/>
              </a:xfrm>
              <a:custGeom>
                <a:avLst/>
                <a:gdLst>
                  <a:gd name="T0" fmla="*/ 90 w 110"/>
                  <a:gd name="T1" fmla="*/ 91 h 110"/>
                  <a:gd name="T2" fmla="*/ 19 w 110"/>
                  <a:gd name="T3" fmla="*/ 91 h 110"/>
                  <a:gd name="T4" fmla="*/ 19 w 110"/>
                  <a:gd name="T5" fmla="*/ 20 h 110"/>
                  <a:gd name="T6" fmla="*/ 90 w 110"/>
                  <a:gd name="T7" fmla="*/ 20 h 110"/>
                  <a:gd name="T8" fmla="*/ 90 w 110"/>
                  <a:gd name="T9" fmla="*/ 91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110">
                    <a:moveTo>
                      <a:pt x="90" y="91"/>
                    </a:moveTo>
                    <a:cubicBezTo>
                      <a:pt x="71" y="110"/>
                      <a:pt x="39" y="110"/>
                      <a:pt x="19" y="91"/>
                    </a:cubicBezTo>
                    <a:cubicBezTo>
                      <a:pt x="0" y="71"/>
                      <a:pt x="0" y="40"/>
                      <a:pt x="19" y="20"/>
                    </a:cubicBezTo>
                    <a:cubicBezTo>
                      <a:pt x="39" y="0"/>
                      <a:pt x="71" y="0"/>
                      <a:pt x="90" y="20"/>
                    </a:cubicBezTo>
                    <a:cubicBezTo>
                      <a:pt x="110" y="40"/>
                      <a:pt x="110" y="71"/>
                      <a:pt x="90" y="91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568" name="Freeform 159">
                <a:extLst>
                  <a:ext uri="{FF2B5EF4-FFF2-40B4-BE49-F238E27FC236}">
                    <a16:creationId xmlns:a16="http://schemas.microsoft.com/office/drawing/2014/main" id="{C32A7964-4D04-4AFB-9117-B833BF23B7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80" y="2042"/>
                <a:ext cx="7" cy="6"/>
              </a:xfrm>
              <a:custGeom>
                <a:avLst/>
                <a:gdLst>
                  <a:gd name="T0" fmla="*/ 90 w 110"/>
                  <a:gd name="T1" fmla="*/ 91 h 110"/>
                  <a:gd name="T2" fmla="*/ 19 w 110"/>
                  <a:gd name="T3" fmla="*/ 91 h 110"/>
                  <a:gd name="T4" fmla="*/ 19 w 110"/>
                  <a:gd name="T5" fmla="*/ 20 h 110"/>
                  <a:gd name="T6" fmla="*/ 90 w 110"/>
                  <a:gd name="T7" fmla="*/ 20 h 110"/>
                  <a:gd name="T8" fmla="*/ 90 w 110"/>
                  <a:gd name="T9" fmla="*/ 91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110">
                    <a:moveTo>
                      <a:pt x="90" y="91"/>
                    </a:moveTo>
                    <a:cubicBezTo>
                      <a:pt x="71" y="110"/>
                      <a:pt x="39" y="110"/>
                      <a:pt x="19" y="91"/>
                    </a:cubicBezTo>
                    <a:cubicBezTo>
                      <a:pt x="0" y="71"/>
                      <a:pt x="0" y="40"/>
                      <a:pt x="19" y="20"/>
                    </a:cubicBezTo>
                    <a:cubicBezTo>
                      <a:pt x="39" y="0"/>
                      <a:pt x="71" y="0"/>
                      <a:pt x="90" y="20"/>
                    </a:cubicBezTo>
                    <a:cubicBezTo>
                      <a:pt x="110" y="40"/>
                      <a:pt x="110" y="71"/>
                      <a:pt x="90" y="91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569" name="Oval 160">
                <a:extLst>
                  <a:ext uri="{FF2B5EF4-FFF2-40B4-BE49-F238E27FC236}">
                    <a16:creationId xmlns:a16="http://schemas.microsoft.com/office/drawing/2014/main" id="{21B4D1AE-629A-4E16-BFF0-544DAF74A3E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21" y="2042"/>
                <a:ext cx="6" cy="6"/>
              </a:xfrm>
              <a:prstGeom prst="ellipse">
                <a:avLst/>
              </a:pr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570" name="Oval 161">
                <a:extLst>
                  <a:ext uri="{FF2B5EF4-FFF2-40B4-BE49-F238E27FC236}">
                    <a16:creationId xmlns:a16="http://schemas.microsoft.com/office/drawing/2014/main" id="{1A984FB9-AF44-4A23-B6E9-79CB4D72CEA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21" y="2042"/>
                <a:ext cx="6" cy="6"/>
              </a:xfrm>
              <a:prstGeom prst="ellipse">
                <a:avLst/>
              </a:pr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571" name="Freeform 162">
                <a:extLst>
                  <a:ext uri="{FF2B5EF4-FFF2-40B4-BE49-F238E27FC236}">
                    <a16:creationId xmlns:a16="http://schemas.microsoft.com/office/drawing/2014/main" id="{EF85E9DD-1E42-4162-AA77-618C0C2461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60" y="2042"/>
                <a:ext cx="7" cy="6"/>
              </a:xfrm>
              <a:custGeom>
                <a:avLst/>
                <a:gdLst>
                  <a:gd name="T0" fmla="*/ 91 w 110"/>
                  <a:gd name="T1" fmla="*/ 91 h 110"/>
                  <a:gd name="T2" fmla="*/ 20 w 110"/>
                  <a:gd name="T3" fmla="*/ 91 h 110"/>
                  <a:gd name="T4" fmla="*/ 20 w 110"/>
                  <a:gd name="T5" fmla="*/ 20 h 110"/>
                  <a:gd name="T6" fmla="*/ 91 w 110"/>
                  <a:gd name="T7" fmla="*/ 20 h 110"/>
                  <a:gd name="T8" fmla="*/ 91 w 110"/>
                  <a:gd name="T9" fmla="*/ 91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110">
                    <a:moveTo>
                      <a:pt x="91" y="91"/>
                    </a:moveTo>
                    <a:cubicBezTo>
                      <a:pt x="71" y="110"/>
                      <a:pt x="39" y="110"/>
                      <a:pt x="20" y="91"/>
                    </a:cubicBezTo>
                    <a:cubicBezTo>
                      <a:pt x="0" y="71"/>
                      <a:pt x="0" y="40"/>
                      <a:pt x="20" y="20"/>
                    </a:cubicBezTo>
                    <a:cubicBezTo>
                      <a:pt x="39" y="0"/>
                      <a:pt x="71" y="0"/>
                      <a:pt x="91" y="20"/>
                    </a:cubicBezTo>
                    <a:cubicBezTo>
                      <a:pt x="110" y="40"/>
                      <a:pt x="110" y="71"/>
                      <a:pt x="91" y="91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572" name="Freeform 163">
                <a:extLst>
                  <a:ext uri="{FF2B5EF4-FFF2-40B4-BE49-F238E27FC236}">
                    <a16:creationId xmlns:a16="http://schemas.microsoft.com/office/drawing/2014/main" id="{7B278166-47FD-4989-A849-74581F8020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60" y="2042"/>
                <a:ext cx="7" cy="6"/>
              </a:xfrm>
              <a:custGeom>
                <a:avLst/>
                <a:gdLst>
                  <a:gd name="T0" fmla="*/ 91 w 110"/>
                  <a:gd name="T1" fmla="*/ 91 h 110"/>
                  <a:gd name="T2" fmla="*/ 20 w 110"/>
                  <a:gd name="T3" fmla="*/ 91 h 110"/>
                  <a:gd name="T4" fmla="*/ 20 w 110"/>
                  <a:gd name="T5" fmla="*/ 20 h 110"/>
                  <a:gd name="T6" fmla="*/ 91 w 110"/>
                  <a:gd name="T7" fmla="*/ 20 h 110"/>
                  <a:gd name="T8" fmla="*/ 91 w 110"/>
                  <a:gd name="T9" fmla="*/ 91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110">
                    <a:moveTo>
                      <a:pt x="91" y="91"/>
                    </a:moveTo>
                    <a:cubicBezTo>
                      <a:pt x="71" y="110"/>
                      <a:pt x="39" y="110"/>
                      <a:pt x="20" y="91"/>
                    </a:cubicBezTo>
                    <a:cubicBezTo>
                      <a:pt x="0" y="71"/>
                      <a:pt x="0" y="40"/>
                      <a:pt x="20" y="20"/>
                    </a:cubicBezTo>
                    <a:cubicBezTo>
                      <a:pt x="39" y="0"/>
                      <a:pt x="71" y="0"/>
                      <a:pt x="91" y="20"/>
                    </a:cubicBezTo>
                    <a:cubicBezTo>
                      <a:pt x="110" y="40"/>
                      <a:pt x="110" y="71"/>
                      <a:pt x="91" y="91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573" name="Freeform 164">
                <a:extLst>
                  <a:ext uri="{FF2B5EF4-FFF2-40B4-BE49-F238E27FC236}">
                    <a16:creationId xmlns:a16="http://schemas.microsoft.com/office/drawing/2014/main" id="{94C7DE68-5BC6-4B73-A8C7-AF2F2C5186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00" y="2042"/>
                <a:ext cx="7" cy="6"/>
              </a:xfrm>
              <a:custGeom>
                <a:avLst/>
                <a:gdLst>
                  <a:gd name="T0" fmla="*/ 91 w 110"/>
                  <a:gd name="T1" fmla="*/ 91 h 110"/>
                  <a:gd name="T2" fmla="*/ 20 w 110"/>
                  <a:gd name="T3" fmla="*/ 91 h 110"/>
                  <a:gd name="T4" fmla="*/ 20 w 110"/>
                  <a:gd name="T5" fmla="*/ 20 h 110"/>
                  <a:gd name="T6" fmla="*/ 91 w 110"/>
                  <a:gd name="T7" fmla="*/ 20 h 110"/>
                  <a:gd name="T8" fmla="*/ 91 w 110"/>
                  <a:gd name="T9" fmla="*/ 91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110">
                    <a:moveTo>
                      <a:pt x="91" y="91"/>
                    </a:moveTo>
                    <a:cubicBezTo>
                      <a:pt x="71" y="110"/>
                      <a:pt x="40" y="110"/>
                      <a:pt x="20" y="91"/>
                    </a:cubicBezTo>
                    <a:cubicBezTo>
                      <a:pt x="0" y="71"/>
                      <a:pt x="0" y="40"/>
                      <a:pt x="20" y="20"/>
                    </a:cubicBezTo>
                    <a:cubicBezTo>
                      <a:pt x="40" y="0"/>
                      <a:pt x="71" y="0"/>
                      <a:pt x="91" y="20"/>
                    </a:cubicBezTo>
                    <a:cubicBezTo>
                      <a:pt x="110" y="40"/>
                      <a:pt x="110" y="71"/>
                      <a:pt x="91" y="91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574" name="Freeform 165">
                <a:extLst>
                  <a:ext uri="{FF2B5EF4-FFF2-40B4-BE49-F238E27FC236}">
                    <a16:creationId xmlns:a16="http://schemas.microsoft.com/office/drawing/2014/main" id="{380E65D4-5A4D-458F-B941-7C29F56EF5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00" y="2042"/>
                <a:ext cx="7" cy="6"/>
              </a:xfrm>
              <a:custGeom>
                <a:avLst/>
                <a:gdLst>
                  <a:gd name="T0" fmla="*/ 91 w 110"/>
                  <a:gd name="T1" fmla="*/ 91 h 110"/>
                  <a:gd name="T2" fmla="*/ 20 w 110"/>
                  <a:gd name="T3" fmla="*/ 91 h 110"/>
                  <a:gd name="T4" fmla="*/ 20 w 110"/>
                  <a:gd name="T5" fmla="*/ 20 h 110"/>
                  <a:gd name="T6" fmla="*/ 91 w 110"/>
                  <a:gd name="T7" fmla="*/ 20 h 110"/>
                  <a:gd name="T8" fmla="*/ 91 w 110"/>
                  <a:gd name="T9" fmla="*/ 91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110">
                    <a:moveTo>
                      <a:pt x="91" y="91"/>
                    </a:moveTo>
                    <a:cubicBezTo>
                      <a:pt x="71" y="110"/>
                      <a:pt x="40" y="110"/>
                      <a:pt x="20" y="91"/>
                    </a:cubicBezTo>
                    <a:cubicBezTo>
                      <a:pt x="0" y="71"/>
                      <a:pt x="0" y="40"/>
                      <a:pt x="20" y="20"/>
                    </a:cubicBezTo>
                    <a:cubicBezTo>
                      <a:pt x="40" y="0"/>
                      <a:pt x="71" y="0"/>
                      <a:pt x="91" y="20"/>
                    </a:cubicBezTo>
                    <a:cubicBezTo>
                      <a:pt x="110" y="40"/>
                      <a:pt x="110" y="71"/>
                      <a:pt x="91" y="91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575" name="Freeform 166">
                <a:extLst>
                  <a:ext uri="{FF2B5EF4-FFF2-40B4-BE49-F238E27FC236}">
                    <a16:creationId xmlns:a16="http://schemas.microsoft.com/office/drawing/2014/main" id="{3F5C7387-D783-45E4-8F0B-8F2FD92099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41" y="2042"/>
                <a:ext cx="6" cy="6"/>
              </a:xfrm>
              <a:custGeom>
                <a:avLst/>
                <a:gdLst>
                  <a:gd name="T0" fmla="*/ 50 w 100"/>
                  <a:gd name="T1" fmla="*/ 100 h 100"/>
                  <a:gd name="T2" fmla="*/ 0 w 100"/>
                  <a:gd name="T3" fmla="*/ 50 h 100"/>
                  <a:gd name="T4" fmla="*/ 50 w 100"/>
                  <a:gd name="T5" fmla="*/ 0 h 100"/>
                  <a:gd name="T6" fmla="*/ 100 w 100"/>
                  <a:gd name="T7" fmla="*/ 50 h 100"/>
                  <a:gd name="T8" fmla="*/ 50 w 100"/>
                  <a:gd name="T9" fmla="*/ 10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0" h="100">
                    <a:moveTo>
                      <a:pt x="50" y="100"/>
                    </a:moveTo>
                    <a:cubicBezTo>
                      <a:pt x="22" y="100"/>
                      <a:pt x="0" y="78"/>
                      <a:pt x="0" y="50"/>
                    </a:cubicBezTo>
                    <a:cubicBezTo>
                      <a:pt x="0" y="23"/>
                      <a:pt x="22" y="0"/>
                      <a:pt x="50" y="0"/>
                    </a:cubicBezTo>
                    <a:cubicBezTo>
                      <a:pt x="77" y="0"/>
                      <a:pt x="100" y="23"/>
                      <a:pt x="100" y="50"/>
                    </a:cubicBezTo>
                    <a:cubicBezTo>
                      <a:pt x="100" y="78"/>
                      <a:pt x="78" y="100"/>
                      <a:pt x="50" y="100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576" name="Freeform 167">
                <a:extLst>
                  <a:ext uri="{FF2B5EF4-FFF2-40B4-BE49-F238E27FC236}">
                    <a16:creationId xmlns:a16="http://schemas.microsoft.com/office/drawing/2014/main" id="{E78042CB-F91C-4F21-BD7B-CDF5B708E3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41" y="2042"/>
                <a:ext cx="6" cy="6"/>
              </a:xfrm>
              <a:custGeom>
                <a:avLst/>
                <a:gdLst>
                  <a:gd name="T0" fmla="*/ 50 w 100"/>
                  <a:gd name="T1" fmla="*/ 100 h 100"/>
                  <a:gd name="T2" fmla="*/ 0 w 100"/>
                  <a:gd name="T3" fmla="*/ 50 h 100"/>
                  <a:gd name="T4" fmla="*/ 50 w 100"/>
                  <a:gd name="T5" fmla="*/ 0 h 100"/>
                  <a:gd name="T6" fmla="*/ 100 w 100"/>
                  <a:gd name="T7" fmla="*/ 50 h 100"/>
                  <a:gd name="T8" fmla="*/ 50 w 100"/>
                  <a:gd name="T9" fmla="*/ 10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0" h="100">
                    <a:moveTo>
                      <a:pt x="50" y="100"/>
                    </a:moveTo>
                    <a:cubicBezTo>
                      <a:pt x="22" y="100"/>
                      <a:pt x="0" y="78"/>
                      <a:pt x="0" y="50"/>
                    </a:cubicBezTo>
                    <a:cubicBezTo>
                      <a:pt x="0" y="23"/>
                      <a:pt x="22" y="0"/>
                      <a:pt x="50" y="0"/>
                    </a:cubicBezTo>
                    <a:cubicBezTo>
                      <a:pt x="77" y="0"/>
                      <a:pt x="100" y="23"/>
                      <a:pt x="100" y="50"/>
                    </a:cubicBezTo>
                    <a:cubicBezTo>
                      <a:pt x="100" y="78"/>
                      <a:pt x="78" y="100"/>
                      <a:pt x="50" y="100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577" name="Freeform 168">
                <a:extLst>
                  <a:ext uri="{FF2B5EF4-FFF2-40B4-BE49-F238E27FC236}">
                    <a16:creationId xmlns:a16="http://schemas.microsoft.com/office/drawing/2014/main" id="{3FE9D5CF-3B57-40CF-9D8A-EA4C5CB07C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81" y="2042"/>
                <a:ext cx="6" cy="6"/>
              </a:xfrm>
              <a:custGeom>
                <a:avLst/>
                <a:gdLst>
                  <a:gd name="T0" fmla="*/ 91 w 110"/>
                  <a:gd name="T1" fmla="*/ 90 h 110"/>
                  <a:gd name="T2" fmla="*/ 20 w 110"/>
                  <a:gd name="T3" fmla="*/ 90 h 110"/>
                  <a:gd name="T4" fmla="*/ 20 w 110"/>
                  <a:gd name="T5" fmla="*/ 19 h 110"/>
                  <a:gd name="T6" fmla="*/ 91 w 110"/>
                  <a:gd name="T7" fmla="*/ 19 h 110"/>
                  <a:gd name="T8" fmla="*/ 91 w 110"/>
                  <a:gd name="T9" fmla="*/ 9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110">
                    <a:moveTo>
                      <a:pt x="91" y="90"/>
                    </a:moveTo>
                    <a:cubicBezTo>
                      <a:pt x="71" y="110"/>
                      <a:pt x="39" y="110"/>
                      <a:pt x="20" y="90"/>
                    </a:cubicBezTo>
                    <a:cubicBezTo>
                      <a:pt x="0" y="71"/>
                      <a:pt x="0" y="39"/>
                      <a:pt x="20" y="19"/>
                    </a:cubicBezTo>
                    <a:cubicBezTo>
                      <a:pt x="39" y="0"/>
                      <a:pt x="71" y="0"/>
                      <a:pt x="91" y="19"/>
                    </a:cubicBezTo>
                    <a:cubicBezTo>
                      <a:pt x="110" y="39"/>
                      <a:pt x="110" y="71"/>
                      <a:pt x="91" y="90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578" name="Freeform 169">
                <a:extLst>
                  <a:ext uri="{FF2B5EF4-FFF2-40B4-BE49-F238E27FC236}">
                    <a16:creationId xmlns:a16="http://schemas.microsoft.com/office/drawing/2014/main" id="{FE6ED3B8-8C0A-4AF5-8709-F5B3EE7826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81" y="2042"/>
                <a:ext cx="6" cy="6"/>
              </a:xfrm>
              <a:custGeom>
                <a:avLst/>
                <a:gdLst>
                  <a:gd name="T0" fmla="*/ 91 w 110"/>
                  <a:gd name="T1" fmla="*/ 90 h 110"/>
                  <a:gd name="T2" fmla="*/ 20 w 110"/>
                  <a:gd name="T3" fmla="*/ 90 h 110"/>
                  <a:gd name="T4" fmla="*/ 20 w 110"/>
                  <a:gd name="T5" fmla="*/ 19 h 110"/>
                  <a:gd name="T6" fmla="*/ 91 w 110"/>
                  <a:gd name="T7" fmla="*/ 19 h 110"/>
                  <a:gd name="T8" fmla="*/ 91 w 110"/>
                  <a:gd name="T9" fmla="*/ 9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110">
                    <a:moveTo>
                      <a:pt x="91" y="90"/>
                    </a:moveTo>
                    <a:cubicBezTo>
                      <a:pt x="71" y="110"/>
                      <a:pt x="39" y="110"/>
                      <a:pt x="20" y="90"/>
                    </a:cubicBezTo>
                    <a:cubicBezTo>
                      <a:pt x="0" y="71"/>
                      <a:pt x="0" y="39"/>
                      <a:pt x="20" y="19"/>
                    </a:cubicBezTo>
                    <a:cubicBezTo>
                      <a:pt x="39" y="0"/>
                      <a:pt x="71" y="0"/>
                      <a:pt x="91" y="19"/>
                    </a:cubicBezTo>
                    <a:cubicBezTo>
                      <a:pt x="110" y="39"/>
                      <a:pt x="110" y="71"/>
                      <a:pt x="91" y="90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579" name="Freeform 170">
                <a:extLst>
                  <a:ext uri="{FF2B5EF4-FFF2-40B4-BE49-F238E27FC236}">
                    <a16:creationId xmlns:a16="http://schemas.microsoft.com/office/drawing/2014/main" id="{5A1C751E-C1AF-450F-8C88-20407663FC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21" y="2042"/>
                <a:ext cx="6" cy="6"/>
              </a:xfrm>
              <a:custGeom>
                <a:avLst/>
                <a:gdLst>
                  <a:gd name="T0" fmla="*/ 90 w 110"/>
                  <a:gd name="T1" fmla="*/ 90 h 110"/>
                  <a:gd name="T2" fmla="*/ 19 w 110"/>
                  <a:gd name="T3" fmla="*/ 90 h 110"/>
                  <a:gd name="T4" fmla="*/ 19 w 110"/>
                  <a:gd name="T5" fmla="*/ 19 h 110"/>
                  <a:gd name="T6" fmla="*/ 90 w 110"/>
                  <a:gd name="T7" fmla="*/ 19 h 110"/>
                  <a:gd name="T8" fmla="*/ 90 w 110"/>
                  <a:gd name="T9" fmla="*/ 9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110">
                    <a:moveTo>
                      <a:pt x="90" y="90"/>
                    </a:moveTo>
                    <a:cubicBezTo>
                      <a:pt x="70" y="110"/>
                      <a:pt x="39" y="110"/>
                      <a:pt x="19" y="90"/>
                    </a:cubicBezTo>
                    <a:cubicBezTo>
                      <a:pt x="0" y="71"/>
                      <a:pt x="0" y="39"/>
                      <a:pt x="19" y="19"/>
                    </a:cubicBezTo>
                    <a:cubicBezTo>
                      <a:pt x="39" y="0"/>
                      <a:pt x="70" y="0"/>
                      <a:pt x="90" y="19"/>
                    </a:cubicBezTo>
                    <a:cubicBezTo>
                      <a:pt x="110" y="39"/>
                      <a:pt x="110" y="71"/>
                      <a:pt x="90" y="90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580" name="Freeform 171">
                <a:extLst>
                  <a:ext uri="{FF2B5EF4-FFF2-40B4-BE49-F238E27FC236}">
                    <a16:creationId xmlns:a16="http://schemas.microsoft.com/office/drawing/2014/main" id="{8F8B3B12-35CF-4604-B1C3-36DA4FFBF7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21" y="2042"/>
                <a:ext cx="6" cy="6"/>
              </a:xfrm>
              <a:custGeom>
                <a:avLst/>
                <a:gdLst>
                  <a:gd name="T0" fmla="*/ 90 w 110"/>
                  <a:gd name="T1" fmla="*/ 90 h 110"/>
                  <a:gd name="T2" fmla="*/ 19 w 110"/>
                  <a:gd name="T3" fmla="*/ 90 h 110"/>
                  <a:gd name="T4" fmla="*/ 19 w 110"/>
                  <a:gd name="T5" fmla="*/ 19 h 110"/>
                  <a:gd name="T6" fmla="*/ 90 w 110"/>
                  <a:gd name="T7" fmla="*/ 19 h 110"/>
                  <a:gd name="T8" fmla="*/ 90 w 110"/>
                  <a:gd name="T9" fmla="*/ 9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110">
                    <a:moveTo>
                      <a:pt x="90" y="90"/>
                    </a:moveTo>
                    <a:cubicBezTo>
                      <a:pt x="70" y="110"/>
                      <a:pt x="39" y="110"/>
                      <a:pt x="19" y="90"/>
                    </a:cubicBezTo>
                    <a:cubicBezTo>
                      <a:pt x="0" y="71"/>
                      <a:pt x="0" y="39"/>
                      <a:pt x="19" y="19"/>
                    </a:cubicBezTo>
                    <a:cubicBezTo>
                      <a:pt x="39" y="0"/>
                      <a:pt x="70" y="0"/>
                      <a:pt x="90" y="19"/>
                    </a:cubicBezTo>
                    <a:cubicBezTo>
                      <a:pt x="110" y="39"/>
                      <a:pt x="110" y="71"/>
                      <a:pt x="90" y="90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581" name="Freeform 172">
                <a:extLst>
                  <a:ext uri="{FF2B5EF4-FFF2-40B4-BE49-F238E27FC236}">
                    <a16:creationId xmlns:a16="http://schemas.microsoft.com/office/drawing/2014/main" id="{C0D9ED71-8785-4577-B0AA-88FAE9222F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61" y="2042"/>
                <a:ext cx="7" cy="6"/>
              </a:xfrm>
              <a:custGeom>
                <a:avLst/>
                <a:gdLst>
                  <a:gd name="T0" fmla="*/ 90 w 110"/>
                  <a:gd name="T1" fmla="*/ 90 h 110"/>
                  <a:gd name="T2" fmla="*/ 19 w 110"/>
                  <a:gd name="T3" fmla="*/ 90 h 110"/>
                  <a:gd name="T4" fmla="*/ 19 w 110"/>
                  <a:gd name="T5" fmla="*/ 19 h 110"/>
                  <a:gd name="T6" fmla="*/ 90 w 110"/>
                  <a:gd name="T7" fmla="*/ 19 h 110"/>
                  <a:gd name="T8" fmla="*/ 90 w 110"/>
                  <a:gd name="T9" fmla="*/ 9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110">
                    <a:moveTo>
                      <a:pt x="90" y="90"/>
                    </a:moveTo>
                    <a:cubicBezTo>
                      <a:pt x="71" y="110"/>
                      <a:pt x="39" y="110"/>
                      <a:pt x="19" y="90"/>
                    </a:cubicBezTo>
                    <a:cubicBezTo>
                      <a:pt x="0" y="71"/>
                      <a:pt x="0" y="39"/>
                      <a:pt x="19" y="19"/>
                    </a:cubicBezTo>
                    <a:cubicBezTo>
                      <a:pt x="39" y="0"/>
                      <a:pt x="71" y="0"/>
                      <a:pt x="90" y="19"/>
                    </a:cubicBezTo>
                    <a:cubicBezTo>
                      <a:pt x="110" y="39"/>
                      <a:pt x="110" y="71"/>
                      <a:pt x="90" y="90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582" name="Freeform 173">
                <a:extLst>
                  <a:ext uri="{FF2B5EF4-FFF2-40B4-BE49-F238E27FC236}">
                    <a16:creationId xmlns:a16="http://schemas.microsoft.com/office/drawing/2014/main" id="{55F76C5E-70DF-42C8-87F7-7E80512448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61" y="2042"/>
                <a:ext cx="7" cy="6"/>
              </a:xfrm>
              <a:custGeom>
                <a:avLst/>
                <a:gdLst>
                  <a:gd name="T0" fmla="*/ 90 w 110"/>
                  <a:gd name="T1" fmla="*/ 90 h 110"/>
                  <a:gd name="T2" fmla="*/ 19 w 110"/>
                  <a:gd name="T3" fmla="*/ 90 h 110"/>
                  <a:gd name="T4" fmla="*/ 19 w 110"/>
                  <a:gd name="T5" fmla="*/ 19 h 110"/>
                  <a:gd name="T6" fmla="*/ 90 w 110"/>
                  <a:gd name="T7" fmla="*/ 19 h 110"/>
                  <a:gd name="T8" fmla="*/ 90 w 110"/>
                  <a:gd name="T9" fmla="*/ 9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110">
                    <a:moveTo>
                      <a:pt x="90" y="90"/>
                    </a:moveTo>
                    <a:cubicBezTo>
                      <a:pt x="71" y="110"/>
                      <a:pt x="39" y="110"/>
                      <a:pt x="19" y="90"/>
                    </a:cubicBezTo>
                    <a:cubicBezTo>
                      <a:pt x="0" y="71"/>
                      <a:pt x="0" y="39"/>
                      <a:pt x="19" y="19"/>
                    </a:cubicBezTo>
                    <a:cubicBezTo>
                      <a:pt x="39" y="0"/>
                      <a:pt x="71" y="0"/>
                      <a:pt x="90" y="19"/>
                    </a:cubicBezTo>
                    <a:cubicBezTo>
                      <a:pt x="110" y="39"/>
                      <a:pt x="110" y="71"/>
                      <a:pt x="90" y="90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583" name="Freeform 174">
                <a:extLst>
                  <a:ext uri="{FF2B5EF4-FFF2-40B4-BE49-F238E27FC236}">
                    <a16:creationId xmlns:a16="http://schemas.microsoft.com/office/drawing/2014/main" id="{76C7A8DE-98F5-4E51-896C-3B5EBBB75A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01" y="2042"/>
                <a:ext cx="7" cy="6"/>
              </a:xfrm>
              <a:custGeom>
                <a:avLst/>
                <a:gdLst>
                  <a:gd name="T0" fmla="*/ 90 w 110"/>
                  <a:gd name="T1" fmla="*/ 90 h 110"/>
                  <a:gd name="T2" fmla="*/ 20 w 110"/>
                  <a:gd name="T3" fmla="*/ 90 h 110"/>
                  <a:gd name="T4" fmla="*/ 20 w 110"/>
                  <a:gd name="T5" fmla="*/ 19 h 110"/>
                  <a:gd name="T6" fmla="*/ 90 w 110"/>
                  <a:gd name="T7" fmla="*/ 19 h 110"/>
                  <a:gd name="T8" fmla="*/ 90 w 110"/>
                  <a:gd name="T9" fmla="*/ 9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110">
                    <a:moveTo>
                      <a:pt x="90" y="90"/>
                    </a:moveTo>
                    <a:cubicBezTo>
                      <a:pt x="71" y="110"/>
                      <a:pt x="39" y="110"/>
                      <a:pt x="20" y="90"/>
                    </a:cubicBezTo>
                    <a:cubicBezTo>
                      <a:pt x="0" y="71"/>
                      <a:pt x="0" y="39"/>
                      <a:pt x="20" y="19"/>
                    </a:cubicBezTo>
                    <a:cubicBezTo>
                      <a:pt x="39" y="0"/>
                      <a:pt x="71" y="0"/>
                      <a:pt x="90" y="19"/>
                    </a:cubicBezTo>
                    <a:cubicBezTo>
                      <a:pt x="110" y="39"/>
                      <a:pt x="110" y="71"/>
                      <a:pt x="90" y="90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584" name="Freeform 175">
                <a:extLst>
                  <a:ext uri="{FF2B5EF4-FFF2-40B4-BE49-F238E27FC236}">
                    <a16:creationId xmlns:a16="http://schemas.microsoft.com/office/drawing/2014/main" id="{4C0BD4EB-3FF2-4419-9D7E-C82401535F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01" y="2042"/>
                <a:ext cx="7" cy="6"/>
              </a:xfrm>
              <a:custGeom>
                <a:avLst/>
                <a:gdLst>
                  <a:gd name="T0" fmla="*/ 90 w 110"/>
                  <a:gd name="T1" fmla="*/ 90 h 110"/>
                  <a:gd name="T2" fmla="*/ 20 w 110"/>
                  <a:gd name="T3" fmla="*/ 90 h 110"/>
                  <a:gd name="T4" fmla="*/ 20 w 110"/>
                  <a:gd name="T5" fmla="*/ 19 h 110"/>
                  <a:gd name="T6" fmla="*/ 90 w 110"/>
                  <a:gd name="T7" fmla="*/ 19 h 110"/>
                  <a:gd name="T8" fmla="*/ 90 w 110"/>
                  <a:gd name="T9" fmla="*/ 9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110">
                    <a:moveTo>
                      <a:pt x="90" y="90"/>
                    </a:moveTo>
                    <a:cubicBezTo>
                      <a:pt x="71" y="110"/>
                      <a:pt x="39" y="110"/>
                      <a:pt x="20" y="90"/>
                    </a:cubicBezTo>
                    <a:cubicBezTo>
                      <a:pt x="0" y="71"/>
                      <a:pt x="0" y="39"/>
                      <a:pt x="20" y="19"/>
                    </a:cubicBezTo>
                    <a:cubicBezTo>
                      <a:pt x="39" y="0"/>
                      <a:pt x="71" y="0"/>
                      <a:pt x="90" y="19"/>
                    </a:cubicBezTo>
                    <a:cubicBezTo>
                      <a:pt x="110" y="39"/>
                      <a:pt x="110" y="71"/>
                      <a:pt x="90" y="90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585" name="Freeform 176">
                <a:extLst>
                  <a:ext uri="{FF2B5EF4-FFF2-40B4-BE49-F238E27FC236}">
                    <a16:creationId xmlns:a16="http://schemas.microsoft.com/office/drawing/2014/main" id="{6379F06A-1F85-4E5A-8CA4-2ED66A1367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41" y="2042"/>
                <a:ext cx="7" cy="6"/>
              </a:xfrm>
              <a:custGeom>
                <a:avLst/>
                <a:gdLst>
                  <a:gd name="T0" fmla="*/ 90 w 110"/>
                  <a:gd name="T1" fmla="*/ 91 h 110"/>
                  <a:gd name="T2" fmla="*/ 19 w 110"/>
                  <a:gd name="T3" fmla="*/ 91 h 110"/>
                  <a:gd name="T4" fmla="*/ 19 w 110"/>
                  <a:gd name="T5" fmla="*/ 20 h 110"/>
                  <a:gd name="T6" fmla="*/ 90 w 110"/>
                  <a:gd name="T7" fmla="*/ 20 h 110"/>
                  <a:gd name="T8" fmla="*/ 90 w 110"/>
                  <a:gd name="T9" fmla="*/ 91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110">
                    <a:moveTo>
                      <a:pt x="90" y="91"/>
                    </a:moveTo>
                    <a:cubicBezTo>
                      <a:pt x="71" y="110"/>
                      <a:pt x="39" y="110"/>
                      <a:pt x="19" y="91"/>
                    </a:cubicBezTo>
                    <a:cubicBezTo>
                      <a:pt x="0" y="71"/>
                      <a:pt x="0" y="39"/>
                      <a:pt x="19" y="20"/>
                    </a:cubicBezTo>
                    <a:cubicBezTo>
                      <a:pt x="39" y="0"/>
                      <a:pt x="71" y="0"/>
                      <a:pt x="90" y="20"/>
                    </a:cubicBezTo>
                    <a:cubicBezTo>
                      <a:pt x="110" y="39"/>
                      <a:pt x="110" y="71"/>
                      <a:pt x="90" y="91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586" name="Freeform 177">
                <a:extLst>
                  <a:ext uri="{FF2B5EF4-FFF2-40B4-BE49-F238E27FC236}">
                    <a16:creationId xmlns:a16="http://schemas.microsoft.com/office/drawing/2014/main" id="{3BB9AE9E-7BB5-4403-A842-BDE8423AE2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41" y="2042"/>
                <a:ext cx="7" cy="6"/>
              </a:xfrm>
              <a:custGeom>
                <a:avLst/>
                <a:gdLst>
                  <a:gd name="T0" fmla="*/ 90 w 110"/>
                  <a:gd name="T1" fmla="*/ 91 h 110"/>
                  <a:gd name="T2" fmla="*/ 19 w 110"/>
                  <a:gd name="T3" fmla="*/ 91 h 110"/>
                  <a:gd name="T4" fmla="*/ 19 w 110"/>
                  <a:gd name="T5" fmla="*/ 20 h 110"/>
                  <a:gd name="T6" fmla="*/ 90 w 110"/>
                  <a:gd name="T7" fmla="*/ 20 h 110"/>
                  <a:gd name="T8" fmla="*/ 90 w 110"/>
                  <a:gd name="T9" fmla="*/ 91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110">
                    <a:moveTo>
                      <a:pt x="90" y="91"/>
                    </a:moveTo>
                    <a:cubicBezTo>
                      <a:pt x="71" y="110"/>
                      <a:pt x="39" y="110"/>
                      <a:pt x="19" y="91"/>
                    </a:cubicBezTo>
                    <a:cubicBezTo>
                      <a:pt x="0" y="71"/>
                      <a:pt x="0" y="39"/>
                      <a:pt x="19" y="20"/>
                    </a:cubicBezTo>
                    <a:cubicBezTo>
                      <a:pt x="39" y="0"/>
                      <a:pt x="71" y="0"/>
                      <a:pt x="90" y="20"/>
                    </a:cubicBezTo>
                    <a:cubicBezTo>
                      <a:pt x="110" y="39"/>
                      <a:pt x="110" y="71"/>
                      <a:pt x="90" y="91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587" name="Freeform 178">
                <a:extLst>
                  <a:ext uri="{FF2B5EF4-FFF2-40B4-BE49-F238E27FC236}">
                    <a16:creationId xmlns:a16="http://schemas.microsoft.com/office/drawing/2014/main" id="{C5DA38D0-31F8-42A4-BDD2-6DB99689C5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81" y="2042"/>
                <a:ext cx="7" cy="6"/>
              </a:xfrm>
              <a:custGeom>
                <a:avLst/>
                <a:gdLst>
                  <a:gd name="T0" fmla="*/ 90 w 110"/>
                  <a:gd name="T1" fmla="*/ 91 h 110"/>
                  <a:gd name="T2" fmla="*/ 19 w 110"/>
                  <a:gd name="T3" fmla="*/ 91 h 110"/>
                  <a:gd name="T4" fmla="*/ 19 w 110"/>
                  <a:gd name="T5" fmla="*/ 20 h 110"/>
                  <a:gd name="T6" fmla="*/ 90 w 110"/>
                  <a:gd name="T7" fmla="*/ 20 h 110"/>
                  <a:gd name="T8" fmla="*/ 90 w 110"/>
                  <a:gd name="T9" fmla="*/ 91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110">
                    <a:moveTo>
                      <a:pt x="90" y="91"/>
                    </a:moveTo>
                    <a:cubicBezTo>
                      <a:pt x="71" y="110"/>
                      <a:pt x="39" y="110"/>
                      <a:pt x="19" y="91"/>
                    </a:cubicBezTo>
                    <a:cubicBezTo>
                      <a:pt x="0" y="71"/>
                      <a:pt x="0" y="39"/>
                      <a:pt x="19" y="20"/>
                    </a:cubicBezTo>
                    <a:cubicBezTo>
                      <a:pt x="39" y="0"/>
                      <a:pt x="71" y="0"/>
                      <a:pt x="90" y="20"/>
                    </a:cubicBezTo>
                    <a:cubicBezTo>
                      <a:pt x="110" y="39"/>
                      <a:pt x="110" y="71"/>
                      <a:pt x="90" y="91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588" name="Freeform 179">
                <a:extLst>
                  <a:ext uri="{FF2B5EF4-FFF2-40B4-BE49-F238E27FC236}">
                    <a16:creationId xmlns:a16="http://schemas.microsoft.com/office/drawing/2014/main" id="{0B4111F7-AF91-49BE-A6A9-7C9F6BDC08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81" y="2042"/>
                <a:ext cx="7" cy="6"/>
              </a:xfrm>
              <a:custGeom>
                <a:avLst/>
                <a:gdLst>
                  <a:gd name="T0" fmla="*/ 90 w 110"/>
                  <a:gd name="T1" fmla="*/ 91 h 110"/>
                  <a:gd name="T2" fmla="*/ 19 w 110"/>
                  <a:gd name="T3" fmla="*/ 91 h 110"/>
                  <a:gd name="T4" fmla="*/ 19 w 110"/>
                  <a:gd name="T5" fmla="*/ 20 h 110"/>
                  <a:gd name="T6" fmla="*/ 90 w 110"/>
                  <a:gd name="T7" fmla="*/ 20 h 110"/>
                  <a:gd name="T8" fmla="*/ 90 w 110"/>
                  <a:gd name="T9" fmla="*/ 91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110">
                    <a:moveTo>
                      <a:pt x="90" y="91"/>
                    </a:moveTo>
                    <a:cubicBezTo>
                      <a:pt x="71" y="110"/>
                      <a:pt x="39" y="110"/>
                      <a:pt x="19" y="91"/>
                    </a:cubicBezTo>
                    <a:cubicBezTo>
                      <a:pt x="0" y="71"/>
                      <a:pt x="0" y="39"/>
                      <a:pt x="19" y="20"/>
                    </a:cubicBezTo>
                    <a:cubicBezTo>
                      <a:pt x="39" y="0"/>
                      <a:pt x="71" y="0"/>
                      <a:pt x="90" y="20"/>
                    </a:cubicBezTo>
                    <a:cubicBezTo>
                      <a:pt x="110" y="39"/>
                      <a:pt x="110" y="71"/>
                      <a:pt x="90" y="91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589" name="Freeform 180">
                <a:extLst>
                  <a:ext uri="{FF2B5EF4-FFF2-40B4-BE49-F238E27FC236}">
                    <a16:creationId xmlns:a16="http://schemas.microsoft.com/office/drawing/2014/main" id="{D300796F-350B-4FCF-972D-4A6CBAA8CC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21" y="2042"/>
                <a:ext cx="7" cy="6"/>
              </a:xfrm>
              <a:custGeom>
                <a:avLst/>
                <a:gdLst>
                  <a:gd name="T0" fmla="*/ 91 w 110"/>
                  <a:gd name="T1" fmla="*/ 91 h 110"/>
                  <a:gd name="T2" fmla="*/ 20 w 110"/>
                  <a:gd name="T3" fmla="*/ 91 h 110"/>
                  <a:gd name="T4" fmla="*/ 20 w 110"/>
                  <a:gd name="T5" fmla="*/ 20 h 110"/>
                  <a:gd name="T6" fmla="*/ 91 w 110"/>
                  <a:gd name="T7" fmla="*/ 20 h 110"/>
                  <a:gd name="T8" fmla="*/ 91 w 110"/>
                  <a:gd name="T9" fmla="*/ 91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110">
                    <a:moveTo>
                      <a:pt x="91" y="91"/>
                    </a:moveTo>
                    <a:cubicBezTo>
                      <a:pt x="71" y="110"/>
                      <a:pt x="39" y="110"/>
                      <a:pt x="20" y="91"/>
                    </a:cubicBezTo>
                    <a:cubicBezTo>
                      <a:pt x="0" y="71"/>
                      <a:pt x="0" y="39"/>
                      <a:pt x="20" y="20"/>
                    </a:cubicBezTo>
                    <a:cubicBezTo>
                      <a:pt x="39" y="0"/>
                      <a:pt x="71" y="0"/>
                      <a:pt x="91" y="20"/>
                    </a:cubicBezTo>
                    <a:cubicBezTo>
                      <a:pt x="110" y="39"/>
                      <a:pt x="110" y="71"/>
                      <a:pt x="91" y="91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590" name="Freeform 181">
                <a:extLst>
                  <a:ext uri="{FF2B5EF4-FFF2-40B4-BE49-F238E27FC236}">
                    <a16:creationId xmlns:a16="http://schemas.microsoft.com/office/drawing/2014/main" id="{052D60BB-2415-4EEF-98C4-6613B3D4A0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21" y="2042"/>
                <a:ext cx="7" cy="6"/>
              </a:xfrm>
              <a:custGeom>
                <a:avLst/>
                <a:gdLst>
                  <a:gd name="T0" fmla="*/ 91 w 110"/>
                  <a:gd name="T1" fmla="*/ 91 h 110"/>
                  <a:gd name="T2" fmla="*/ 20 w 110"/>
                  <a:gd name="T3" fmla="*/ 91 h 110"/>
                  <a:gd name="T4" fmla="*/ 20 w 110"/>
                  <a:gd name="T5" fmla="*/ 20 h 110"/>
                  <a:gd name="T6" fmla="*/ 91 w 110"/>
                  <a:gd name="T7" fmla="*/ 20 h 110"/>
                  <a:gd name="T8" fmla="*/ 91 w 110"/>
                  <a:gd name="T9" fmla="*/ 91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110">
                    <a:moveTo>
                      <a:pt x="91" y="91"/>
                    </a:moveTo>
                    <a:cubicBezTo>
                      <a:pt x="71" y="110"/>
                      <a:pt x="39" y="110"/>
                      <a:pt x="20" y="91"/>
                    </a:cubicBezTo>
                    <a:cubicBezTo>
                      <a:pt x="0" y="71"/>
                      <a:pt x="0" y="39"/>
                      <a:pt x="20" y="20"/>
                    </a:cubicBezTo>
                    <a:cubicBezTo>
                      <a:pt x="39" y="0"/>
                      <a:pt x="71" y="0"/>
                      <a:pt x="91" y="20"/>
                    </a:cubicBezTo>
                    <a:cubicBezTo>
                      <a:pt x="110" y="39"/>
                      <a:pt x="110" y="71"/>
                      <a:pt x="91" y="91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591" name="Freeform 182">
                <a:extLst>
                  <a:ext uri="{FF2B5EF4-FFF2-40B4-BE49-F238E27FC236}">
                    <a16:creationId xmlns:a16="http://schemas.microsoft.com/office/drawing/2014/main" id="{D2A27053-4980-4042-932D-187FF9956E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61" y="2042"/>
                <a:ext cx="7" cy="6"/>
              </a:xfrm>
              <a:custGeom>
                <a:avLst/>
                <a:gdLst>
                  <a:gd name="T0" fmla="*/ 91 w 110"/>
                  <a:gd name="T1" fmla="*/ 91 h 110"/>
                  <a:gd name="T2" fmla="*/ 20 w 110"/>
                  <a:gd name="T3" fmla="*/ 91 h 110"/>
                  <a:gd name="T4" fmla="*/ 20 w 110"/>
                  <a:gd name="T5" fmla="*/ 20 h 110"/>
                  <a:gd name="T6" fmla="*/ 91 w 110"/>
                  <a:gd name="T7" fmla="*/ 20 h 110"/>
                  <a:gd name="T8" fmla="*/ 91 w 110"/>
                  <a:gd name="T9" fmla="*/ 91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110">
                    <a:moveTo>
                      <a:pt x="91" y="91"/>
                    </a:moveTo>
                    <a:cubicBezTo>
                      <a:pt x="71" y="110"/>
                      <a:pt x="39" y="110"/>
                      <a:pt x="20" y="91"/>
                    </a:cubicBezTo>
                    <a:cubicBezTo>
                      <a:pt x="0" y="71"/>
                      <a:pt x="0" y="39"/>
                      <a:pt x="20" y="20"/>
                    </a:cubicBezTo>
                    <a:cubicBezTo>
                      <a:pt x="39" y="0"/>
                      <a:pt x="71" y="0"/>
                      <a:pt x="91" y="20"/>
                    </a:cubicBezTo>
                    <a:cubicBezTo>
                      <a:pt x="110" y="39"/>
                      <a:pt x="110" y="71"/>
                      <a:pt x="91" y="91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592" name="Freeform 183">
                <a:extLst>
                  <a:ext uri="{FF2B5EF4-FFF2-40B4-BE49-F238E27FC236}">
                    <a16:creationId xmlns:a16="http://schemas.microsoft.com/office/drawing/2014/main" id="{77B018C9-E95B-4D9E-8A92-33B51F47DA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61" y="2042"/>
                <a:ext cx="7" cy="6"/>
              </a:xfrm>
              <a:custGeom>
                <a:avLst/>
                <a:gdLst>
                  <a:gd name="T0" fmla="*/ 91 w 110"/>
                  <a:gd name="T1" fmla="*/ 91 h 110"/>
                  <a:gd name="T2" fmla="*/ 20 w 110"/>
                  <a:gd name="T3" fmla="*/ 91 h 110"/>
                  <a:gd name="T4" fmla="*/ 20 w 110"/>
                  <a:gd name="T5" fmla="*/ 20 h 110"/>
                  <a:gd name="T6" fmla="*/ 91 w 110"/>
                  <a:gd name="T7" fmla="*/ 20 h 110"/>
                  <a:gd name="T8" fmla="*/ 91 w 110"/>
                  <a:gd name="T9" fmla="*/ 91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110">
                    <a:moveTo>
                      <a:pt x="91" y="91"/>
                    </a:moveTo>
                    <a:cubicBezTo>
                      <a:pt x="71" y="110"/>
                      <a:pt x="39" y="110"/>
                      <a:pt x="20" y="91"/>
                    </a:cubicBezTo>
                    <a:cubicBezTo>
                      <a:pt x="0" y="71"/>
                      <a:pt x="0" y="39"/>
                      <a:pt x="20" y="20"/>
                    </a:cubicBezTo>
                    <a:cubicBezTo>
                      <a:pt x="39" y="0"/>
                      <a:pt x="71" y="0"/>
                      <a:pt x="91" y="20"/>
                    </a:cubicBezTo>
                    <a:cubicBezTo>
                      <a:pt x="110" y="39"/>
                      <a:pt x="110" y="71"/>
                      <a:pt x="91" y="91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593" name="Freeform 184">
                <a:extLst>
                  <a:ext uri="{FF2B5EF4-FFF2-40B4-BE49-F238E27FC236}">
                    <a16:creationId xmlns:a16="http://schemas.microsoft.com/office/drawing/2014/main" id="{CE129AFC-17F4-40AD-96F0-CE301B4A70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02" y="2042"/>
                <a:ext cx="6" cy="6"/>
              </a:xfrm>
              <a:custGeom>
                <a:avLst/>
                <a:gdLst>
                  <a:gd name="T0" fmla="*/ 90 w 110"/>
                  <a:gd name="T1" fmla="*/ 91 h 110"/>
                  <a:gd name="T2" fmla="*/ 19 w 110"/>
                  <a:gd name="T3" fmla="*/ 91 h 110"/>
                  <a:gd name="T4" fmla="*/ 19 w 110"/>
                  <a:gd name="T5" fmla="*/ 20 h 110"/>
                  <a:gd name="T6" fmla="*/ 90 w 110"/>
                  <a:gd name="T7" fmla="*/ 20 h 110"/>
                  <a:gd name="T8" fmla="*/ 90 w 110"/>
                  <a:gd name="T9" fmla="*/ 91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110">
                    <a:moveTo>
                      <a:pt x="90" y="91"/>
                    </a:moveTo>
                    <a:cubicBezTo>
                      <a:pt x="70" y="110"/>
                      <a:pt x="39" y="110"/>
                      <a:pt x="19" y="91"/>
                    </a:cubicBezTo>
                    <a:cubicBezTo>
                      <a:pt x="0" y="71"/>
                      <a:pt x="0" y="39"/>
                      <a:pt x="19" y="20"/>
                    </a:cubicBezTo>
                    <a:cubicBezTo>
                      <a:pt x="39" y="0"/>
                      <a:pt x="70" y="0"/>
                      <a:pt x="90" y="20"/>
                    </a:cubicBezTo>
                    <a:cubicBezTo>
                      <a:pt x="110" y="39"/>
                      <a:pt x="110" y="71"/>
                      <a:pt x="90" y="91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594" name="Freeform 185">
                <a:extLst>
                  <a:ext uri="{FF2B5EF4-FFF2-40B4-BE49-F238E27FC236}">
                    <a16:creationId xmlns:a16="http://schemas.microsoft.com/office/drawing/2014/main" id="{372E8631-1B01-4EBC-A1AA-D70B9311F3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02" y="2042"/>
                <a:ext cx="6" cy="6"/>
              </a:xfrm>
              <a:custGeom>
                <a:avLst/>
                <a:gdLst>
                  <a:gd name="T0" fmla="*/ 90 w 110"/>
                  <a:gd name="T1" fmla="*/ 91 h 110"/>
                  <a:gd name="T2" fmla="*/ 19 w 110"/>
                  <a:gd name="T3" fmla="*/ 91 h 110"/>
                  <a:gd name="T4" fmla="*/ 19 w 110"/>
                  <a:gd name="T5" fmla="*/ 20 h 110"/>
                  <a:gd name="T6" fmla="*/ 90 w 110"/>
                  <a:gd name="T7" fmla="*/ 20 h 110"/>
                  <a:gd name="T8" fmla="*/ 90 w 110"/>
                  <a:gd name="T9" fmla="*/ 91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110">
                    <a:moveTo>
                      <a:pt x="90" y="91"/>
                    </a:moveTo>
                    <a:cubicBezTo>
                      <a:pt x="70" y="110"/>
                      <a:pt x="39" y="110"/>
                      <a:pt x="19" y="91"/>
                    </a:cubicBezTo>
                    <a:cubicBezTo>
                      <a:pt x="0" y="71"/>
                      <a:pt x="0" y="39"/>
                      <a:pt x="19" y="20"/>
                    </a:cubicBezTo>
                    <a:cubicBezTo>
                      <a:pt x="39" y="0"/>
                      <a:pt x="70" y="0"/>
                      <a:pt x="90" y="20"/>
                    </a:cubicBezTo>
                    <a:cubicBezTo>
                      <a:pt x="110" y="39"/>
                      <a:pt x="110" y="71"/>
                      <a:pt x="90" y="91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595" name="Freeform 186">
                <a:extLst>
                  <a:ext uri="{FF2B5EF4-FFF2-40B4-BE49-F238E27FC236}">
                    <a16:creationId xmlns:a16="http://schemas.microsoft.com/office/drawing/2014/main" id="{7A874D72-735E-445D-B3B8-3875C47FF8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42" y="2042"/>
                <a:ext cx="6" cy="6"/>
              </a:xfrm>
              <a:custGeom>
                <a:avLst/>
                <a:gdLst>
                  <a:gd name="T0" fmla="*/ 91 w 110"/>
                  <a:gd name="T1" fmla="*/ 90 h 110"/>
                  <a:gd name="T2" fmla="*/ 20 w 110"/>
                  <a:gd name="T3" fmla="*/ 90 h 110"/>
                  <a:gd name="T4" fmla="*/ 20 w 110"/>
                  <a:gd name="T5" fmla="*/ 19 h 110"/>
                  <a:gd name="T6" fmla="*/ 91 w 110"/>
                  <a:gd name="T7" fmla="*/ 19 h 110"/>
                  <a:gd name="T8" fmla="*/ 91 w 110"/>
                  <a:gd name="T9" fmla="*/ 9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110">
                    <a:moveTo>
                      <a:pt x="91" y="90"/>
                    </a:moveTo>
                    <a:cubicBezTo>
                      <a:pt x="71" y="110"/>
                      <a:pt x="39" y="110"/>
                      <a:pt x="20" y="90"/>
                    </a:cubicBezTo>
                    <a:cubicBezTo>
                      <a:pt x="0" y="71"/>
                      <a:pt x="0" y="39"/>
                      <a:pt x="20" y="19"/>
                    </a:cubicBezTo>
                    <a:cubicBezTo>
                      <a:pt x="39" y="0"/>
                      <a:pt x="71" y="0"/>
                      <a:pt x="91" y="19"/>
                    </a:cubicBezTo>
                    <a:cubicBezTo>
                      <a:pt x="110" y="39"/>
                      <a:pt x="110" y="71"/>
                      <a:pt x="91" y="90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596" name="Freeform 187">
                <a:extLst>
                  <a:ext uri="{FF2B5EF4-FFF2-40B4-BE49-F238E27FC236}">
                    <a16:creationId xmlns:a16="http://schemas.microsoft.com/office/drawing/2014/main" id="{C183D44B-0F83-42A3-9D10-FEDE26758D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42" y="2042"/>
                <a:ext cx="6" cy="6"/>
              </a:xfrm>
              <a:custGeom>
                <a:avLst/>
                <a:gdLst>
                  <a:gd name="T0" fmla="*/ 91 w 110"/>
                  <a:gd name="T1" fmla="*/ 90 h 110"/>
                  <a:gd name="T2" fmla="*/ 20 w 110"/>
                  <a:gd name="T3" fmla="*/ 90 h 110"/>
                  <a:gd name="T4" fmla="*/ 20 w 110"/>
                  <a:gd name="T5" fmla="*/ 19 h 110"/>
                  <a:gd name="T6" fmla="*/ 91 w 110"/>
                  <a:gd name="T7" fmla="*/ 19 h 110"/>
                  <a:gd name="T8" fmla="*/ 91 w 110"/>
                  <a:gd name="T9" fmla="*/ 9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110">
                    <a:moveTo>
                      <a:pt x="91" y="90"/>
                    </a:moveTo>
                    <a:cubicBezTo>
                      <a:pt x="71" y="110"/>
                      <a:pt x="39" y="110"/>
                      <a:pt x="20" y="90"/>
                    </a:cubicBezTo>
                    <a:cubicBezTo>
                      <a:pt x="0" y="71"/>
                      <a:pt x="0" y="39"/>
                      <a:pt x="20" y="19"/>
                    </a:cubicBezTo>
                    <a:cubicBezTo>
                      <a:pt x="39" y="0"/>
                      <a:pt x="71" y="0"/>
                      <a:pt x="91" y="19"/>
                    </a:cubicBezTo>
                    <a:cubicBezTo>
                      <a:pt x="110" y="39"/>
                      <a:pt x="110" y="71"/>
                      <a:pt x="91" y="90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597" name="Freeform 188">
                <a:extLst>
                  <a:ext uri="{FF2B5EF4-FFF2-40B4-BE49-F238E27FC236}">
                    <a16:creationId xmlns:a16="http://schemas.microsoft.com/office/drawing/2014/main" id="{D9598FF1-EC9C-4DA2-934C-0F35ABC197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82" y="2042"/>
                <a:ext cx="6" cy="6"/>
              </a:xfrm>
              <a:custGeom>
                <a:avLst/>
                <a:gdLst>
                  <a:gd name="T0" fmla="*/ 50 w 101"/>
                  <a:gd name="T1" fmla="*/ 100 h 100"/>
                  <a:gd name="T2" fmla="*/ 0 w 101"/>
                  <a:gd name="T3" fmla="*/ 50 h 100"/>
                  <a:gd name="T4" fmla="*/ 50 w 101"/>
                  <a:gd name="T5" fmla="*/ 0 h 100"/>
                  <a:gd name="T6" fmla="*/ 101 w 101"/>
                  <a:gd name="T7" fmla="*/ 50 h 100"/>
                  <a:gd name="T8" fmla="*/ 50 w 101"/>
                  <a:gd name="T9" fmla="*/ 10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1" h="100">
                    <a:moveTo>
                      <a:pt x="50" y="100"/>
                    </a:moveTo>
                    <a:cubicBezTo>
                      <a:pt x="23" y="100"/>
                      <a:pt x="0" y="77"/>
                      <a:pt x="0" y="50"/>
                    </a:cubicBezTo>
                    <a:cubicBezTo>
                      <a:pt x="0" y="22"/>
                      <a:pt x="23" y="0"/>
                      <a:pt x="50" y="0"/>
                    </a:cubicBezTo>
                    <a:cubicBezTo>
                      <a:pt x="78" y="0"/>
                      <a:pt x="101" y="22"/>
                      <a:pt x="101" y="50"/>
                    </a:cubicBezTo>
                    <a:cubicBezTo>
                      <a:pt x="101" y="78"/>
                      <a:pt x="78" y="100"/>
                      <a:pt x="50" y="100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598" name="Freeform 189">
                <a:extLst>
                  <a:ext uri="{FF2B5EF4-FFF2-40B4-BE49-F238E27FC236}">
                    <a16:creationId xmlns:a16="http://schemas.microsoft.com/office/drawing/2014/main" id="{CD766EB0-74FD-4440-A76E-2E68DEF779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82" y="2042"/>
                <a:ext cx="6" cy="6"/>
              </a:xfrm>
              <a:custGeom>
                <a:avLst/>
                <a:gdLst>
                  <a:gd name="T0" fmla="*/ 50 w 101"/>
                  <a:gd name="T1" fmla="*/ 100 h 100"/>
                  <a:gd name="T2" fmla="*/ 0 w 101"/>
                  <a:gd name="T3" fmla="*/ 50 h 100"/>
                  <a:gd name="T4" fmla="*/ 50 w 101"/>
                  <a:gd name="T5" fmla="*/ 0 h 100"/>
                  <a:gd name="T6" fmla="*/ 101 w 101"/>
                  <a:gd name="T7" fmla="*/ 50 h 100"/>
                  <a:gd name="T8" fmla="*/ 50 w 101"/>
                  <a:gd name="T9" fmla="*/ 10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1" h="100">
                    <a:moveTo>
                      <a:pt x="50" y="100"/>
                    </a:moveTo>
                    <a:cubicBezTo>
                      <a:pt x="23" y="100"/>
                      <a:pt x="0" y="77"/>
                      <a:pt x="0" y="50"/>
                    </a:cubicBezTo>
                    <a:cubicBezTo>
                      <a:pt x="0" y="22"/>
                      <a:pt x="23" y="0"/>
                      <a:pt x="50" y="0"/>
                    </a:cubicBezTo>
                    <a:cubicBezTo>
                      <a:pt x="78" y="0"/>
                      <a:pt x="101" y="22"/>
                      <a:pt x="101" y="50"/>
                    </a:cubicBezTo>
                    <a:cubicBezTo>
                      <a:pt x="101" y="78"/>
                      <a:pt x="78" y="100"/>
                      <a:pt x="50" y="100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599" name="Freeform 190">
                <a:extLst>
                  <a:ext uri="{FF2B5EF4-FFF2-40B4-BE49-F238E27FC236}">
                    <a16:creationId xmlns:a16="http://schemas.microsoft.com/office/drawing/2014/main" id="{DED8CA90-3B54-4719-B322-873B526977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00" y="2002"/>
                <a:ext cx="6" cy="6"/>
              </a:xfrm>
              <a:custGeom>
                <a:avLst/>
                <a:gdLst>
                  <a:gd name="T0" fmla="*/ 50 w 100"/>
                  <a:gd name="T1" fmla="*/ 100 h 100"/>
                  <a:gd name="T2" fmla="*/ 0 w 100"/>
                  <a:gd name="T3" fmla="*/ 50 h 100"/>
                  <a:gd name="T4" fmla="*/ 50 w 100"/>
                  <a:gd name="T5" fmla="*/ 0 h 100"/>
                  <a:gd name="T6" fmla="*/ 100 w 100"/>
                  <a:gd name="T7" fmla="*/ 50 h 100"/>
                  <a:gd name="T8" fmla="*/ 50 w 100"/>
                  <a:gd name="T9" fmla="*/ 10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0" h="100">
                    <a:moveTo>
                      <a:pt x="50" y="100"/>
                    </a:moveTo>
                    <a:cubicBezTo>
                      <a:pt x="22" y="100"/>
                      <a:pt x="0" y="77"/>
                      <a:pt x="0" y="50"/>
                    </a:cubicBezTo>
                    <a:cubicBezTo>
                      <a:pt x="0" y="22"/>
                      <a:pt x="22" y="0"/>
                      <a:pt x="50" y="0"/>
                    </a:cubicBezTo>
                    <a:cubicBezTo>
                      <a:pt x="77" y="0"/>
                      <a:pt x="100" y="22"/>
                      <a:pt x="100" y="50"/>
                    </a:cubicBezTo>
                    <a:cubicBezTo>
                      <a:pt x="100" y="78"/>
                      <a:pt x="78" y="100"/>
                      <a:pt x="50" y="100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600" name="Freeform 191">
                <a:extLst>
                  <a:ext uri="{FF2B5EF4-FFF2-40B4-BE49-F238E27FC236}">
                    <a16:creationId xmlns:a16="http://schemas.microsoft.com/office/drawing/2014/main" id="{2BCE7224-0BF9-42F0-B216-A57FEA9253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00" y="2002"/>
                <a:ext cx="6" cy="6"/>
              </a:xfrm>
              <a:custGeom>
                <a:avLst/>
                <a:gdLst>
                  <a:gd name="T0" fmla="*/ 50 w 100"/>
                  <a:gd name="T1" fmla="*/ 100 h 100"/>
                  <a:gd name="T2" fmla="*/ 0 w 100"/>
                  <a:gd name="T3" fmla="*/ 50 h 100"/>
                  <a:gd name="T4" fmla="*/ 50 w 100"/>
                  <a:gd name="T5" fmla="*/ 0 h 100"/>
                  <a:gd name="T6" fmla="*/ 100 w 100"/>
                  <a:gd name="T7" fmla="*/ 50 h 100"/>
                  <a:gd name="T8" fmla="*/ 50 w 100"/>
                  <a:gd name="T9" fmla="*/ 10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0" h="100">
                    <a:moveTo>
                      <a:pt x="50" y="100"/>
                    </a:moveTo>
                    <a:cubicBezTo>
                      <a:pt x="22" y="100"/>
                      <a:pt x="0" y="77"/>
                      <a:pt x="0" y="50"/>
                    </a:cubicBezTo>
                    <a:cubicBezTo>
                      <a:pt x="0" y="22"/>
                      <a:pt x="22" y="0"/>
                      <a:pt x="50" y="0"/>
                    </a:cubicBezTo>
                    <a:cubicBezTo>
                      <a:pt x="77" y="0"/>
                      <a:pt x="100" y="22"/>
                      <a:pt x="100" y="50"/>
                    </a:cubicBezTo>
                    <a:cubicBezTo>
                      <a:pt x="100" y="78"/>
                      <a:pt x="78" y="100"/>
                      <a:pt x="50" y="100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601" name="Freeform 192">
                <a:extLst>
                  <a:ext uri="{FF2B5EF4-FFF2-40B4-BE49-F238E27FC236}">
                    <a16:creationId xmlns:a16="http://schemas.microsoft.com/office/drawing/2014/main" id="{0E422024-4708-4899-A6D9-6AB7EBC05B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40" y="2002"/>
                <a:ext cx="6" cy="6"/>
              </a:xfrm>
              <a:custGeom>
                <a:avLst/>
                <a:gdLst>
                  <a:gd name="T0" fmla="*/ 50 w 101"/>
                  <a:gd name="T1" fmla="*/ 100 h 100"/>
                  <a:gd name="T2" fmla="*/ 0 w 101"/>
                  <a:gd name="T3" fmla="*/ 50 h 100"/>
                  <a:gd name="T4" fmla="*/ 50 w 101"/>
                  <a:gd name="T5" fmla="*/ 0 h 100"/>
                  <a:gd name="T6" fmla="*/ 100 w 101"/>
                  <a:gd name="T7" fmla="*/ 50 h 100"/>
                  <a:gd name="T8" fmla="*/ 50 w 101"/>
                  <a:gd name="T9" fmla="*/ 10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1" h="100">
                    <a:moveTo>
                      <a:pt x="50" y="100"/>
                    </a:moveTo>
                    <a:cubicBezTo>
                      <a:pt x="23" y="100"/>
                      <a:pt x="0" y="77"/>
                      <a:pt x="0" y="50"/>
                    </a:cubicBezTo>
                    <a:cubicBezTo>
                      <a:pt x="0" y="22"/>
                      <a:pt x="23" y="0"/>
                      <a:pt x="50" y="0"/>
                    </a:cubicBezTo>
                    <a:cubicBezTo>
                      <a:pt x="78" y="0"/>
                      <a:pt x="100" y="22"/>
                      <a:pt x="100" y="50"/>
                    </a:cubicBezTo>
                    <a:cubicBezTo>
                      <a:pt x="101" y="78"/>
                      <a:pt x="78" y="100"/>
                      <a:pt x="50" y="100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602" name="Freeform 193">
                <a:extLst>
                  <a:ext uri="{FF2B5EF4-FFF2-40B4-BE49-F238E27FC236}">
                    <a16:creationId xmlns:a16="http://schemas.microsoft.com/office/drawing/2014/main" id="{4C5278AC-397F-4325-A38B-7BDAC1578A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40" y="2002"/>
                <a:ext cx="6" cy="6"/>
              </a:xfrm>
              <a:custGeom>
                <a:avLst/>
                <a:gdLst>
                  <a:gd name="T0" fmla="*/ 50 w 101"/>
                  <a:gd name="T1" fmla="*/ 100 h 100"/>
                  <a:gd name="T2" fmla="*/ 0 w 101"/>
                  <a:gd name="T3" fmla="*/ 50 h 100"/>
                  <a:gd name="T4" fmla="*/ 50 w 101"/>
                  <a:gd name="T5" fmla="*/ 0 h 100"/>
                  <a:gd name="T6" fmla="*/ 100 w 101"/>
                  <a:gd name="T7" fmla="*/ 50 h 100"/>
                  <a:gd name="T8" fmla="*/ 50 w 101"/>
                  <a:gd name="T9" fmla="*/ 10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1" h="100">
                    <a:moveTo>
                      <a:pt x="50" y="100"/>
                    </a:moveTo>
                    <a:cubicBezTo>
                      <a:pt x="23" y="100"/>
                      <a:pt x="0" y="77"/>
                      <a:pt x="0" y="50"/>
                    </a:cubicBezTo>
                    <a:cubicBezTo>
                      <a:pt x="0" y="22"/>
                      <a:pt x="23" y="0"/>
                      <a:pt x="50" y="0"/>
                    </a:cubicBezTo>
                    <a:cubicBezTo>
                      <a:pt x="78" y="0"/>
                      <a:pt x="100" y="22"/>
                      <a:pt x="100" y="50"/>
                    </a:cubicBezTo>
                    <a:cubicBezTo>
                      <a:pt x="101" y="78"/>
                      <a:pt x="78" y="100"/>
                      <a:pt x="50" y="100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603" name="Oval 194">
                <a:extLst>
                  <a:ext uri="{FF2B5EF4-FFF2-40B4-BE49-F238E27FC236}">
                    <a16:creationId xmlns:a16="http://schemas.microsoft.com/office/drawing/2014/main" id="{25D45875-E380-455E-9EEB-3FC73A09716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81" y="2002"/>
                <a:ext cx="6" cy="6"/>
              </a:xfrm>
              <a:prstGeom prst="ellipse">
                <a:avLst/>
              </a:pr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604" name="Oval 195">
                <a:extLst>
                  <a:ext uri="{FF2B5EF4-FFF2-40B4-BE49-F238E27FC236}">
                    <a16:creationId xmlns:a16="http://schemas.microsoft.com/office/drawing/2014/main" id="{3F4669D0-12FB-495C-AB6B-FA6CDC38931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81" y="2002"/>
                <a:ext cx="6" cy="6"/>
              </a:xfrm>
              <a:prstGeom prst="ellipse">
                <a:avLst/>
              </a:pr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605" name="Freeform 196">
                <a:extLst>
                  <a:ext uri="{FF2B5EF4-FFF2-40B4-BE49-F238E27FC236}">
                    <a16:creationId xmlns:a16="http://schemas.microsoft.com/office/drawing/2014/main" id="{EB764F94-68AB-4A93-860B-287261AD20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20" y="2002"/>
                <a:ext cx="7" cy="6"/>
              </a:xfrm>
              <a:custGeom>
                <a:avLst/>
                <a:gdLst>
                  <a:gd name="T0" fmla="*/ 90 w 110"/>
                  <a:gd name="T1" fmla="*/ 91 h 110"/>
                  <a:gd name="T2" fmla="*/ 20 w 110"/>
                  <a:gd name="T3" fmla="*/ 91 h 110"/>
                  <a:gd name="T4" fmla="*/ 20 w 110"/>
                  <a:gd name="T5" fmla="*/ 20 h 110"/>
                  <a:gd name="T6" fmla="*/ 90 w 110"/>
                  <a:gd name="T7" fmla="*/ 20 h 110"/>
                  <a:gd name="T8" fmla="*/ 90 w 110"/>
                  <a:gd name="T9" fmla="*/ 91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110">
                    <a:moveTo>
                      <a:pt x="90" y="91"/>
                    </a:moveTo>
                    <a:cubicBezTo>
                      <a:pt x="71" y="110"/>
                      <a:pt x="39" y="110"/>
                      <a:pt x="20" y="91"/>
                    </a:cubicBezTo>
                    <a:cubicBezTo>
                      <a:pt x="0" y="71"/>
                      <a:pt x="0" y="39"/>
                      <a:pt x="20" y="20"/>
                    </a:cubicBezTo>
                    <a:cubicBezTo>
                      <a:pt x="39" y="0"/>
                      <a:pt x="71" y="0"/>
                      <a:pt x="90" y="20"/>
                    </a:cubicBezTo>
                    <a:cubicBezTo>
                      <a:pt x="110" y="39"/>
                      <a:pt x="110" y="71"/>
                      <a:pt x="90" y="91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606" name="Freeform 197">
                <a:extLst>
                  <a:ext uri="{FF2B5EF4-FFF2-40B4-BE49-F238E27FC236}">
                    <a16:creationId xmlns:a16="http://schemas.microsoft.com/office/drawing/2014/main" id="{0E234C3B-DBFA-4A37-AECA-86E45C8DC2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20" y="2002"/>
                <a:ext cx="7" cy="6"/>
              </a:xfrm>
              <a:custGeom>
                <a:avLst/>
                <a:gdLst>
                  <a:gd name="T0" fmla="*/ 90 w 110"/>
                  <a:gd name="T1" fmla="*/ 91 h 110"/>
                  <a:gd name="T2" fmla="*/ 20 w 110"/>
                  <a:gd name="T3" fmla="*/ 91 h 110"/>
                  <a:gd name="T4" fmla="*/ 20 w 110"/>
                  <a:gd name="T5" fmla="*/ 20 h 110"/>
                  <a:gd name="T6" fmla="*/ 90 w 110"/>
                  <a:gd name="T7" fmla="*/ 20 h 110"/>
                  <a:gd name="T8" fmla="*/ 90 w 110"/>
                  <a:gd name="T9" fmla="*/ 91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110">
                    <a:moveTo>
                      <a:pt x="90" y="91"/>
                    </a:moveTo>
                    <a:cubicBezTo>
                      <a:pt x="71" y="110"/>
                      <a:pt x="39" y="110"/>
                      <a:pt x="20" y="91"/>
                    </a:cubicBezTo>
                    <a:cubicBezTo>
                      <a:pt x="0" y="71"/>
                      <a:pt x="0" y="39"/>
                      <a:pt x="20" y="20"/>
                    </a:cubicBezTo>
                    <a:cubicBezTo>
                      <a:pt x="39" y="0"/>
                      <a:pt x="71" y="0"/>
                      <a:pt x="90" y="20"/>
                    </a:cubicBezTo>
                    <a:cubicBezTo>
                      <a:pt x="110" y="39"/>
                      <a:pt x="110" y="71"/>
                      <a:pt x="90" y="91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607" name="Oval 198">
                <a:extLst>
                  <a:ext uri="{FF2B5EF4-FFF2-40B4-BE49-F238E27FC236}">
                    <a16:creationId xmlns:a16="http://schemas.microsoft.com/office/drawing/2014/main" id="{837F7F63-1177-4A21-93BA-F7EFE5F29FE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61" y="2002"/>
                <a:ext cx="6" cy="6"/>
              </a:xfrm>
              <a:prstGeom prst="ellipse">
                <a:avLst/>
              </a:pr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608" name="Oval 199">
                <a:extLst>
                  <a:ext uri="{FF2B5EF4-FFF2-40B4-BE49-F238E27FC236}">
                    <a16:creationId xmlns:a16="http://schemas.microsoft.com/office/drawing/2014/main" id="{F83A2957-D59B-4BEE-B29D-B9A98019F0A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61" y="2002"/>
                <a:ext cx="6" cy="6"/>
              </a:xfrm>
              <a:prstGeom prst="ellipse">
                <a:avLst/>
              </a:pr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609" name="Oval 200">
                <a:extLst>
                  <a:ext uri="{FF2B5EF4-FFF2-40B4-BE49-F238E27FC236}">
                    <a16:creationId xmlns:a16="http://schemas.microsoft.com/office/drawing/2014/main" id="{43DF329B-D734-4942-A149-0F64A4D31D1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01" y="2002"/>
                <a:ext cx="6" cy="6"/>
              </a:xfrm>
              <a:prstGeom prst="ellipse">
                <a:avLst/>
              </a:pr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610" name="Oval 201">
                <a:extLst>
                  <a:ext uri="{FF2B5EF4-FFF2-40B4-BE49-F238E27FC236}">
                    <a16:creationId xmlns:a16="http://schemas.microsoft.com/office/drawing/2014/main" id="{736C9BA4-0DA5-498C-8A39-5273404FA63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01" y="2002"/>
                <a:ext cx="6" cy="6"/>
              </a:xfrm>
              <a:prstGeom prst="ellipse">
                <a:avLst/>
              </a:pr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611" name="Freeform 202">
                <a:extLst>
                  <a:ext uri="{FF2B5EF4-FFF2-40B4-BE49-F238E27FC236}">
                    <a16:creationId xmlns:a16="http://schemas.microsoft.com/office/drawing/2014/main" id="{94CB3307-F6C8-4573-94EB-F820B7B01D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41" y="2002"/>
                <a:ext cx="6" cy="6"/>
              </a:xfrm>
              <a:custGeom>
                <a:avLst/>
                <a:gdLst>
                  <a:gd name="T0" fmla="*/ 91 w 110"/>
                  <a:gd name="T1" fmla="*/ 90 h 110"/>
                  <a:gd name="T2" fmla="*/ 20 w 110"/>
                  <a:gd name="T3" fmla="*/ 90 h 110"/>
                  <a:gd name="T4" fmla="*/ 20 w 110"/>
                  <a:gd name="T5" fmla="*/ 19 h 110"/>
                  <a:gd name="T6" fmla="*/ 91 w 110"/>
                  <a:gd name="T7" fmla="*/ 19 h 110"/>
                  <a:gd name="T8" fmla="*/ 91 w 110"/>
                  <a:gd name="T9" fmla="*/ 9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110">
                    <a:moveTo>
                      <a:pt x="91" y="90"/>
                    </a:moveTo>
                    <a:cubicBezTo>
                      <a:pt x="71" y="110"/>
                      <a:pt x="39" y="110"/>
                      <a:pt x="20" y="90"/>
                    </a:cubicBezTo>
                    <a:cubicBezTo>
                      <a:pt x="0" y="71"/>
                      <a:pt x="0" y="39"/>
                      <a:pt x="20" y="19"/>
                    </a:cubicBezTo>
                    <a:cubicBezTo>
                      <a:pt x="39" y="0"/>
                      <a:pt x="71" y="0"/>
                      <a:pt x="91" y="19"/>
                    </a:cubicBezTo>
                    <a:cubicBezTo>
                      <a:pt x="110" y="39"/>
                      <a:pt x="110" y="71"/>
                      <a:pt x="91" y="90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612" name="Freeform 203">
                <a:extLst>
                  <a:ext uri="{FF2B5EF4-FFF2-40B4-BE49-F238E27FC236}">
                    <a16:creationId xmlns:a16="http://schemas.microsoft.com/office/drawing/2014/main" id="{57CC1216-4305-4EAF-8919-5CC09454E3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41" y="2002"/>
                <a:ext cx="6" cy="6"/>
              </a:xfrm>
              <a:custGeom>
                <a:avLst/>
                <a:gdLst>
                  <a:gd name="T0" fmla="*/ 91 w 110"/>
                  <a:gd name="T1" fmla="*/ 90 h 110"/>
                  <a:gd name="T2" fmla="*/ 20 w 110"/>
                  <a:gd name="T3" fmla="*/ 90 h 110"/>
                  <a:gd name="T4" fmla="*/ 20 w 110"/>
                  <a:gd name="T5" fmla="*/ 19 h 110"/>
                  <a:gd name="T6" fmla="*/ 91 w 110"/>
                  <a:gd name="T7" fmla="*/ 19 h 110"/>
                  <a:gd name="T8" fmla="*/ 91 w 110"/>
                  <a:gd name="T9" fmla="*/ 9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110">
                    <a:moveTo>
                      <a:pt x="91" y="90"/>
                    </a:moveTo>
                    <a:cubicBezTo>
                      <a:pt x="71" y="110"/>
                      <a:pt x="39" y="110"/>
                      <a:pt x="20" y="90"/>
                    </a:cubicBezTo>
                    <a:cubicBezTo>
                      <a:pt x="0" y="71"/>
                      <a:pt x="0" y="39"/>
                      <a:pt x="20" y="19"/>
                    </a:cubicBezTo>
                    <a:cubicBezTo>
                      <a:pt x="39" y="0"/>
                      <a:pt x="71" y="0"/>
                      <a:pt x="91" y="19"/>
                    </a:cubicBezTo>
                    <a:cubicBezTo>
                      <a:pt x="110" y="39"/>
                      <a:pt x="110" y="71"/>
                      <a:pt x="91" y="90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613" name="Freeform 204">
                <a:extLst>
                  <a:ext uri="{FF2B5EF4-FFF2-40B4-BE49-F238E27FC236}">
                    <a16:creationId xmlns:a16="http://schemas.microsoft.com/office/drawing/2014/main" id="{F5F30813-D5A3-4530-B12F-CD2739256D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81" y="2002"/>
                <a:ext cx="6" cy="6"/>
              </a:xfrm>
              <a:custGeom>
                <a:avLst/>
                <a:gdLst>
                  <a:gd name="T0" fmla="*/ 91 w 110"/>
                  <a:gd name="T1" fmla="*/ 90 h 110"/>
                  <a:gd name="T2" fmla="*/ 20 w 110"/>
                  <a:gd name="T3" fmla="*/ 90 h 110"/>
                  <a:gd name="T4" fmla="*/ 20 w 110"/>
                  <a:gd name="T5" fmla="*/ 19 h 110"/>
                  <a:gd name="T6" fmla="*/ 91 w 110"/>
                  <a:gd name="T7" fmla="*/ 19 h 110"/>
                  <a:gd name="T8" fmla="*/ 91 w 110"/>
                  <a:gd name="T9" fmla="*/ 9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110">
                    <a:moveTo>
                      <a:pt x="91" y="90"/>
                    </a:moveTo>
                    <a:cubicBezTo>
                      <a:pt x="71" y="110"/>
                      <a:pt x="39" y="110"/>
                      <a:pt x="20" y="90"/>
                    </a:cubicBezTo>
                    <a:cubicBezTo>
                      <a:pt x="0" y="71"/>
                      <a:pt x="0" y="39"/>
                      <a:pt x="20" y="19"/>
                    </a:cubicBezTo>
                    <a:cubicBezTo>
                      <a:pt x="39" y="0"/>
                      <a:pt x="71" y="0"/>
                      <a:pt x="91" y="19"/>
                    </a:cubicBezTo>
                    <a:cubicBezTo>
                      <a:pt x="110" y="39"/>
                      <a:pt x="110" y="71"/>
                      <a:pt x="91" y="90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614" name="Freeform 205">
                <a:extLst>
                  <a:ext uri="{FF2B5EF4-FFF2-40B4-BE49-F238E27FC236}">
                    <a16:creationId xmlns:a16="http://schemas.microsoft.com/office/drawing/2014/main" id="{7B529EC3-8DDB-47F3-8B65-1979789F22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81" y="2002"/>
                <a:ext cx="6" cy="6"/>
              </a:xfrm>
              <a:custGeom>
                <a:avLst/>
                <a:gdLst>
                  <a:gd name="T0" fmla="*/ 91 w 110"/>
                  <a:gd name="T1" fmla="*/ 90 h 110"/>
                  <a:gd name="T2" fmla="*/ 20 w 110"/>
                  <a:gd name="T3" fmla="*/ 90 h 110"/>
                  <a:gd name="T4" fmla="*/ 20 w 110"/>
                  <a:gd name="T5" fmla="*/ 19 h 110"/>
                  <a:gd name="T6" fmla="*/ 91 w 110"/>
                  <a:gd name="T7" fmla="*/ 19 h 110"/>
                  <a:gd name="T8" fmla="*/ 91 w 110"/>
                  <a:gd name="T9" fmla="*/ 9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110">
                    <a:moveTo>
                      <a:pt x="91" y="90"/>
                    </a:moveTo>
                    <a:cubicBezTo>
                      <a:pt x="71" y="110"/>
                      <a:pt x="39" y="110"/>
                      <a:pt x="20" y="90"/>
                    </a:cubicBezTo>
                    <a:cubicBezTo>
                      <a:pt x="0" y="71"/>
                      <a:pt x="0" y="39"/>
                      <a:pt x="20" y="19"/>
                    </a:cubicBezTo>
                    <a:cubicBezTo>
                      <a:pt x="39" y="0"/>
                      <a:pt x="71" y="0"/>
                      <a:pt x="91" y="19"/>
                    </a:cubicBezTo>
                    <a:cubicBezTo>
                      <a:pt x="110" y="39"/>
                      <a:pt x="110" y="71"/>
                      <a:pt x="91" y="90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615" name="Freeform 206">
                <a:extLst>
                  <a:ext uri="{FF2B5EF4-FFF2-40B4-BE49-F238E27FC236}">
                    <a16:creationId xmlns:a16="http://schemas.microsoft.com/office/drawing/2014/main" id="{97DC3A92-317B-4A6D-AA4E-54FADA9AEC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21" y="2002"/>
                <a:ext cx="6" cy="6"/>
              </a:xfrm>
              <a:custGeom>
                <a:avLst/>
                <a:gdLst>
                  <a:gd name="T0" fmla="*/ 90 w 110"/>
                  <a:gd name="T1" fmla="*/ 90 h 110"/>
                  <a:gd name="T2" fmla="*/ 19 w 110"/>
                  <a:gd name="T3" fmla="*/ 90 h 110"/>
                  <a:gd name="T4" fmla="*/ 19 w 110"/>
                  <a:gd name="T5" fmla="*/ 19 h 110"/>
                  <a:gd name="T6" fmla="*/ 90 w 110"/>
                  <a:gd name="T7" fmla="*/ 19 h 110"/>
                  <a:gd name="T8" fmla="*/ 90 w 110"/>
                  <a:gd name="T9" fmla="*/ 9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110">
                    <a:moveTo>
                      <a:pt x="90" y="90"/>
                    </a:moveTo>
                    <a:cubicBezTo>
                      <a:pt x="70" y="110"/>
                      <a:pt x="39" y="110"/>
                      <a:pt x="19" y="90"/>
                    </a:cubicBezTo>
                    <a:cubicBezTo>
                      <a:pt x="0" y="71"/>
                      <a:pt x="0" y="39"/>
                      <a:pt x="19" y="19"/>
                    </a:cubicBezTo>
                    <a:cubicBezTo>
                      <a:pt x="39" y="0"/>
                      <a:pt x="70" y="0"/>
                      <a:pt x="90" y="19"/>
                    </a:cubicBezTo>
                    <a:cubicBezTo>
                      <a:pt x="110" y="39"/>
                      <a:pt x="110" y="71"/>
                      <a:pt x="90" y="90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616" name="Freeform 207">
                <a:extLst>
                  <a:ext uri="{FF2B5EF4-FFF2-40B4-BE49-F238E27FC236}">
                    <a16:creationId xmlns:a16="http://schemas.microsoft.com/office/drawing/2014/main" id="{3DBBC4B7-8840-4610-8412-BADBB563F9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21" y="2002"/>
                <a:ext cx="6" cy="6"/>
              </a:xfrm>
              <a:custGeom>
                <a:avLst/>
                <a:gdLst>
                  <a:gd name="T0" fmla="*/ 90 w 110"/>
                  <a:gd name="T1" fmla="*/ 90 h 110"/>
                  <a:gd name="T2" fmla="*/ 19 w 110"/>
                  <a:gd name="T3" fmla="*/ 90 h 110"/>
                  <a:gd name="T4" fmla="*/ 19 w 110"/>
                  <a:gd name="T5" fmla="*/ 19 h 110"/>
                  <a:gd name="T6" fmla="*/ 90 w 110"/>
                  <a:gd name="T7" fmla="*/ 19 h 110"/>
                  <a:gd name="T8" fmla="*/ 90 w 110"/>
                  <a:gd name="T9" fmla="*/ 9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110">
                    <a:moveTo>
                      <a:pt x="90" y="90"/>
                    </a:moveTo>
                    <a:cubicBezTo>
                      <a:pt x="70" y="110"/>
                      <a:pt x="39" y="110"/>
                      <a:pt x="19" y="90"/>
                    </a:cubicBezTo>
                    <a:cubicBezTo>
                      <a:pt x="0" y="71"/>
                      <a:pt x="0" y="39"/>
                      <a:pt x="19" y="19"/>
                    </a:cubicBezTo>
                    <a:cubicBezTo>
                      <a:pt x="39" y="0"/>
                      <a:pt x="70" y="0"/>
                      <a:pt x="90" y="19"/>
                    </a:cubicBezTo>
                    <a:cubicBezTo>
                      <a:pt x="110" y="39"/>
                      <a:pt x="110" y="71"/>
                      <a:pt x="90" y="90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617" name="Freeform 208">
                <a:extLst>
                  <a:ext uri="{FF2B5EF4-FFF2-40B4-BE49-F238E27FC236}">
                    <a16:creationId xmlns:a16="http://schemas.microsoft.com/office/drawing/2014/main" id="{07CB093C-9029-45E0-803C-B482B7F7CC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61" y="2002"/>
                <a:ext cx="7" cy="6"/>
              </a:xfrm>
              <a:custGeom>
                <a:avLst/>
                <a:gdLst>
                  <a:gd name="T0" fmla="*/ 90 w 110"/>
                  <a:gd name="T1" fmla="*/ 90 h 110"/>
                  <a:gd name="T2" fmla="*/ 19 w 110"/>
                  <a:gd name="T3" fmla="*/ 90 h 110"/>
                  <a:gd name="T4" fmla="*/ 19 w 110"/>
                  <a:gd name="T5" fmla="*/ 19 h 110"/>
                  <a:gd name="T6" fmla="*/ 90 w 110"/>
                  <a:gd name="T7" fmla="*/ 19 h 110"/>
                  <a:gd name="T8" fmla="*/ 90 w 110"/>
                  <a:gd name="T9" fmla="*/ 9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110">
                    <a:moveTo>
                      <a:pt x="90" y="90"/>
                    </a:moveTo>
                    <a:cubicBezTo>
                      <a:pt x="71" y="110"/>
                      <a:pt x="39" y="110"/>
                      <a:pt x="19" y="90"/>
                    </a:cubicBezTo>
                    <a:cubicBezTo>
                      <a:pt x="0" y="71"/>
                      <a:pt x="0" y="39"/>
                      <a:pt x="19" y="19"/>
                    </a:cubicBezTo>
                    <a:cubicBezTo>
                      <a:pt x="39" y="0"/>
                      <a:pt x="71" y="0"/>
                      <a:pt x="90" y="19"/>
                    </a:cubicBezTo>
                    <a:cubicBezTo>
                      <a:pt x="110" y="39"/>
                      <a:pt x="110" y="71"/>
                      <a:pt x="90" y="90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  <p:sp>
            <p:nvSpPr>
              <p:cNvPr id="618" name="Freeform 209">
                <a:extLst>
                  <a:ext uri="{FF2B5EF4-FFF2-40B4-BE49-F238E27FC236}">
                    <a16:creationId xmlns:a16="http://schemas.microsoft.com/office/drawing/2014/main" id="{6E49A17C-31E4-47A6-B810-C40A5C95FA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61" y="2002"/>
                <a:ext cx="7" cy="6"/>
              </a:xfrm>
              <a:custGeom>
                <a:avLst/>
                <a:gdLst>
                  <a:gd name="T0" fmla="*/ 90 w 110"/>
                  <a:gd name="T1" fmla="*/ 90 h 110"/>
                  <a:gd name="T2" fmla="*/ 19 w 110"/>
                  <a:gd name="T3" fmla="*/ 90 h 110"/>
                  <a:gd name="T4" fmla="*/ 19 w 110"/>
                  <a:gd name="T5" fmla="*/ 19 h 110"/>
                  <a:gd name="T6" fmla="*/ 90 w 110"/>
                  <a:gd name="T7" fmla="*/ 19 h 110"/>
                  <a:gd name="T8" fmla="*/ 90 w 110"/>
                  <a:gd name="T9" fmla="*/ 9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110">
                    <a:moveTo>
                      <a:pt x="90" y="90"/>
                    </a:moveTo>
                    <a:cubicBezTo>
                      <a:pt x="71" y="110"/>
                      <a:pt x="39" y="110"/>
                      <a:pt x="19" y="90"/>
                    </a:cubicBezTo>
                    <a:cubicBezTo>
                      <a:pt x="0" y="71"/>
                      <a:pt x="0" y="39"/>
                      <a:pt x="19" y="19"/>
                    </a:cubicBezTo>
                    <a:cubicBezTo>
                      <a:pt x="39" y="0"/>
                      <a:pt x="71" y="0"/>
                      <a:pt x="90" y="19"/>
                    </a:cubicBezTo>
                    <a:cubicBezTo>
                      <a:pt x="110" y="39"/>
                      <a:pt x="110" y="71"/>
                      <a:pt x="90" y="90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2448"/>
              </a:p>
            </p:txBody>
          </p:sp>
        </p:grpSp>
        <p:sp>
          <p:nvSpPr>
            <p:cNvPr id="223" name="Freeform 211">
              <a:extLst>
                <a:ext uri="{FF2B5EF4-FFF2-40B4-BE49-F238E27FC236}">
                  <a16:creationId xmlns:a16="http://schemas.microsoft.com/office/drawing/2014/main" id="{A3EE26B8-B6C5-41BC-80D3-0C5CB16DB419}"/>
                </a:ext>
              </a:extLst>
            </p:cNvPr>
            <p:cNvSpPr>
              <a:spLocks/>
            </p:cNvSpPr>
            <p:nvPr/>
          </p:nvSpPr>
          <p:spPr bwMode="auto">
            <a:xfrm>
              <a:off x="3335338" y="3178175"/>
              <a:ext cx="11113" cy="9525"/>
            </a:xfrm>
            <a:custGeom>
              <a:avLst/>
              <a:gdLst>
                <a:gd name="T0" fmla="*/ 90 w 110"/>
                <a:gd name="T1" fmla="*/ 90 h 110"/>
                <a:gd name="T2" fmla="*/ 20 w 110"/>
                <a:gd name="T3" fmla="*/ 90 h 110"/>
                <a:gd name="T4" fmla="*/ 20 w 110"/>
                <a:gd name="T5" fmla="*/ 19 h 110"/>
                <a:gd name="T6" fmla="*/ 90 w 110"/>
                <a:gd name="T7" fmla="*/ 19 h 110"/>
                <a:gd name="T8" fmla="*/ 90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0"/>
                  </a:moveTo>
                  <a:cubicBezTo>
                    <a:pt x="71" y="110"/>
                    <a:pt x="39" y="110"/>
                    <a:pt x="20" y="90"/>
                  </a:cubicBezTo>
                  <a:cubicBezTo>
                    <a:pt x="0" y="71"/>
                    <a:pt x="0" y="39"/>
                    <a:pt x="20" y="19"/>
                  </a:cubicBezTo>
                  <a:cubicBezTo>
                    <a:pt x="39" y="0"/>
                    <a:pt x="71" y="0"/>
                    <a:pt x="90" y="19"/>
                  </a:cubicBezTo>
                  <a:cubicBezTo>
                    <a:pt x="110" y="39"/>
                    <a:pt x="110" y="71"/>
                    <a:pt x="90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224" name="Freeform 212">
              <a:extLst>
                <a:ext uri="{FF2B5EF4-FFF2-40B4-BE49-F238E27FC236}">
                  <a16:creationId xmlns:a16="http://schemas.microsoft.com/office/drawing/2014/main" id="{600ABF6C-1C76-4CC2-A361-40D32A14EBA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35338" y="3178175"/>
              <a:ext cx="11113" cy="9525"/>
            </a:xfrm>
            <a:custGeom>
              <a:avLst/>
              <a:gdLst>
                <a:gd name="T0" fmla="*/ 90 w 110"/>
                <a:gd name="T1" fmla="*/ 90 h 110"/>
                <a:gd name="T2" fmla="*/ 20 w 110"/>
                <a:gd name="T3" fmla="*/ 90 h 110"/>
                <a:gd name="T4" fmla="*/ 20 w 110"/>
                <a:gd name="T5" fmla="*/ 19 h 110"/>
                <a:gd name="T6" fmla="*/ 90 w 110"/>
                <a:gd name="T7" fmla="*/ 19 h 110"/>
                <a:gd name="T8" fmla="*/ 90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0"/>
                  </a:moveTo>
                  <a:cubicBezTo>
                    <a:pt x="71" y="110"/>
                    <a:pt x="39" y="110"/>
                    <a:pt x="20" y="90"/>
                  </a:cubicBezTo>
                  <a:cubicBezTo>
                    <a:pt x="0" y="71"/>
                    <a:pt x="0" y="39"/>
                    <a:pt x="20" y="19"/>
                  </a:cubicBezTo>
                  <a:cubicBezTo>
                    <a:pt x="39" y="0"/>
                    <a:pt x="71" y="0"/>
                    <a:pt x="90" y="19"/>
                  </a:cubicBezTo>
                  <a:cubicBezTo>
                    <a:pt x="110" y="39"/>
                    <a:pt x="110" y="71"/>
                    <a:pt x="90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225" name="Freeform 213">
              <a:extLst>
                <a:ext uri="{FF2B5EF4-FFF2-40B4-BE49-F238E27FC236}">
                  <a16:creationId xmlns:a16="http://schemas.microsoft.com/office/drawing/2014/main" id="{B09DF1CC-91D2-4045-BA91-EAB48DCF0D3F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8838" y="3178175"/>
              <a:ext cx="11113" cy="9525"/>
            </a:xfrm>
            <a:custGeom>
              <a:avLst/>
              <a:gdLst>
                <a:gd name="T0" fmla="*/ 91 w 110"/>
                <a:gd name="T1" fmla="*/ 90 h 110"/>
                <a:gd name="T2" fmla="*/ 20 w 110"/>
                <a:gd name="T3" fmla="*/ 90 h 110"/>
                <a:gd name="T4" fmla="*/ 20 w 110"/>
                <a:gd name="T5" fmla="*/ 19 h 110"/>
                <a:gd name="T6" fmla="*/ 91 w 110"/>
                <a:gd name="T7" fmla="*/ 19 h 110"/>
                <a:gd name="T8" fmla="*/ 91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1" y="90"/>
                  </a:moveTo>
                  <a:cubicBezTo>
                    <a:pt x="71" y="110"/>
                    <a:pt x="39" y="110"/>
                    <a:pt x="20" y="90"/>
                  </a:cubicBezTo>
                  <a:cubicBezTo>
                    <a:pt x="0" y="70"/>
                    <a:pt x="0" y="39"/>
                    <a:pt x="20" y="19"/>
                  </a:cubicBezTo>
                  <a:cubicBezTo>
                    <a:pt x="39" y="0"/>
                    <a:pt x="71" y="0"/>
                    <a:pt x="91" y="19"/>
                  </a:cubicBezTo>
                  <a:cubicBezTo>
                    <a:pt x="110" y="39"/>
                    <a:pt x="110" y="70"/>
                    <a:pt x="91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226" name="Freeform 214">
              <a:extLst>
                <a:ext uri="{FF2B5EF4-FFF2-40B4-BE49-F238E27FC236}">
                  <a16:creationId xmlns:a16="http://schemas.microsoft.com/office/drawing/2014/main" id="{1A70ADF3-AFBA-42F7-A7FC-1B91277459CF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8838" y="3178175"/>
              <a:ext cx="11113" cy="9525"/>
            </a:xfrm>
            <a:custGeom>
              <a:avLst/>
              <a:gdLst>
                <a:gd name="T0" fmla="*/ 91 w 110"/>
                <a:gd name="T1" fmla="*/ 90 h 110"/>
                <a:gd name="T2" fmla="*/ 20 w 110"/>
                <a:gd name="T3" fmla="*/ 90 h 110"/>
                <a:gd name="T4" fmla="*/ 20 w 110"/>
                <a:gd name="T5" fmla="*/ 19 h 110"/>
                <a:gd name="T6" fmla="*/ 91 w 110"/>
                <a:gd name="T7" fmla="*/ 19 h 110"/>
                <a:gd name="T8" fmla="*/ 91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1" y="90"/>
                  </a:moveTo>
                  <a:cubicBezTo>
                    <a:pt x="71" y="110"/>
                    <a:pt x="39" y="110"/>
                    <a:pt x="20" y="90"/>
                  </a:cubicBezTo>
                  <a:cubicBezTo>
                    <a:pt x="0" y="70"/>
                    <a:pt x="0" y="39"/>
                    <a:pt x="20" y="19"/>
                  </a:cubicBezTo>
                  <a:cubicBezTo>
                    <a:pt x="39" y="0"/>
                    <a:pt x="71" y="0"/>
                    <a:pt x="91" y="19"/>
                  </a:cubicBezTo>
                  <a:cubicBezTo>
                    <a:pt x="110" y="39"/>
                    <a:pt x="110" y="70"/>
                    <a:pt x="91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227" name="Freeform 215">
              <a:extLst>
                <a:ext uri="{FF2B5EF4-FFF2-40B4-BE49-F238E27FC236}">
                  <a16:creationId xmlns:a16="http://schemas.microsoft.com/office/drawing/2014/main" id="{1A1678C7-B3F6-47A2-83FF-C42BB4F6B426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2338" y="3178175"/>
              <a:ext cx="11113" cy="9525"/>
            </a:xfrm>
            <a:custGeom>
              <a:avLst/>
              <a:gdLst>
                <a:gd name="T0" fmla="*/ 90 w 110"/>
                <a:gd name="T1" fmla="*/ 91 h 110"/>
                <a:gd name="T2" fmla="*/ 19 w 110"/>
                <a:gd name="T3" fmla="*/ 91 h 110"/>
                <a:gd name="T4" fmla="*/ 19 w 110"/>
                <a:gd name="T5" fmla="*/ 20 h 110"/>
                <a:gd name="T6" fmla="*/ 90 w 110"/>
                <a:gd name="T7" fmla="*/ 20 h 110"/>
                <a:gd name="T8" fmla="*/ 90 w 110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1"/>
                  </a:moveTo>
                  <a:cubicBezTo>
                    <a:pt x="71" y="110"/>
                    <a:pt x="39" y="110"/>
                    <a:pt x="19" y="91"/>
                  </a:cubicBezTo>
                  <a:cubicBezTo>
                    <a:pt x="0" y="71"/>
                    <a:pt x="0" y="39"/>
                    <a:pt x="19" y="20"/>
                  </a:cubicBezTo>
                  <a:cubicBezTo>
                    <a:pt x="39" y="0"/>
                    <a:pt x="71" y="0"/>
                    <a:pt x="90" y="20"/>
                  </a:cubicBezTo>
                  <a:cubicBezTo>
                    <a:pt x="110" y="39"/>
                    <a:pt x="110" y="71"/>
                    <a:pt x="90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228" name="Freeform 216">
              <a:extLst>
                <a:ext uri="{FF2B5EF4-FFF2-40B4-BE49-F238E27FC236}">
                  <a16:creationId xmlns:a16="http://schemas.microsoft.com/office/drawing/2014/main" id="{84166CBC-3406-4A97-9AF3-EA5CFDD41A43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2338" y="3178175"/>
              <a:ext cx="11113" cy="9525"/>
            </a:xfrm>
            <a:custGeom>
              <a:avLst/>
              <a:gdLst>
                <a:gd name="T0" fmla="*/ 90 w 110"/>
                <a:gd name="T1" fmla="*/ 91 h 110"/>
                <a:gd name="T2" fmla="*/ 19 w 110"/>
                <a:gd name="T3" fmla="*/ 91 h 110"/>
                <a:gd name="T4" fmla="*/ 19 w 110"/>
                <a:gd name="T5" fmla="*/ 20 h 110"/>
                <a:gd name="T6" fmla="*/ 90 w 110"/>
                <a:gd name="T7" fmla="*/ 20 h 110"/>
                <a:gd name="T8" fmla="*/ 90 w 110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1"/>
                  </a:moveTo>
                  <a:cubicBezTo>
                    <a:pt x="71" y="110"/>
                    <a:pt x="39" y="110"/>
                    <a:pt x="19" y="91"/>
                  </a:cubicBezTo>
                  <a:cubicBezTo>
                    <a:pt x="0" y="71"/>
                    <a:pt x="0" y="39"/>
                    <a:pt x="19" y="20"/>
                  </a:cubicBezTo>
                  <a:cubicBezTo>
                    <a:pt x="39" y="0"/>
                    <a:pt x="71" y="0"/>
                    <a:pt x="90" y="20"/>
                  </a:cubicBezTo>
                  <a:cubicBezTo>
                    <a:pt x="110" y="39"/>
                    <a:pt x="110" y="71"/>
                    <a:pt x="90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229" name="Freeform 217">
              <a:extLst>
                <a:ext uri="{FF2B5EF4-FFF2-40B4-BE49-F238E27FC236}">
                  <a16:creationId xmlns:a16="http://schemas.microsoft.com/office/drawing/2014/main" id="{7E2027A4-874C-4608-AF3D-AD7F5C3D46B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5838" y="3178175"/>
              <a:ext cx="11113" cy="9525"/>
            </a:xfrm>
            <a:custGeom>
              <a:avLst/>
              <a:gdLst>
                <a:gd name="T0" fmla="*/ 91 w 110"/>
                <a:gd name="T1" fmla="*/ 91 h 110"/>
                <a:gd name="T2" fmla="*/ 20 w 110"/>
                <a:gd name="T3" fmla="*/ 91 h 110"/>
                <a:gd name="T4" fmla="*/ 20 w 110"/>
                <a:gd name="T5" fmla="*/ 20 h 110"/>
                <a:gd name="T6" fmla="*/ 91 w 110"/>
                <a:gd name="T7" fmla="*/ 20 h 110"/>
                <a:gd name="T8" fmla="*/ 91 w 110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1" y="91"/>
                  </a:moveTo>
                  <a:cubicBezTo>
                    <a:pt x="71" y="110"/>
                    <a:pt x="39" y="110"/>
                    <a:pt x="20" y="91"/>
                  </a:cubicBezTo>
                  <a:cubicBezTo>
                    <a:pt x="0" y="71"/>
                    <a:pt x="0" y="39"/>
                    <a:pt x="20" y="20"/>
                  </a:cubicBezTo>
                  <a:cubicBezTo>
                    <a:pt x="39" y="0"/>
                    <a:pt x="71" y="0"/>
                    <a:pt x="91" y="20"/>
                  </a:cubicBezTo>
                  <a:cubicBezTo>
                    <a:pt x="110" y="39"/>
                    <a:pt x="110" y="71"/>
                    <a:pt x="91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230" name="Freeform 218">
              <a:extLst>
                <a:ext uri="{FF2B5EF4-FFF2-40B4-BE49-F238E27FC236}">
                  <a16:creationId xmlns:a16="http://schemas.microsoft.com/office/drawing/2014/main" id="{02EE5570-FB20-460C-BE4A-11F298A6F0BA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5838" y="3178175"/>
              <a:ext cx="11113" cy="9525"/>
            </a:xfrm>
            <a:custGeom>
              <a:avLst/>
              <a:gdLst>
                <a:gd name="T0" fmla="*/ 91 w 110"/>
                <a:gd name="T1" fmla="*/ 91 h 110"/>
                <a:gd name="T2" fmla="*/ 20 w 110"/>
                <a:gd name="T3" fmla="*/ 91 h 110"/>
                <a:gd name="T4" fmla="*/ 20 w 110"/>
                <a:gd name="T5" fmla="*/ 20 h 110"/>
                <a:gd name="T6" fmla="*/ 91 w 110"/>
                <a:gd name="T7" fmla="*/ 20 h 110"/>
                <a:gd name="T8" fmla="*/ 91 w 110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1" y="91"/>
                  </a:moveTo>
                  <a:cubicBezTo>
                    <a:pt x="71" y="110"/>
                    <a:pt x="39" y="110"/>
                    <a:pt x="20" y="91"/>
                  </a:cubicBezTo>
                  <a:cubicBezTo>
                    <a:pt x="0" y="71"/>
                    <a:pt x="0" y="39"/>
                    <a:pt x="20" y="20"/>
                  </a:cubicBezTo>
                  <a:cubicBezTo>
                    <a:pt x="39" y="0"/>
                    <a:pt x="71" y="0"/>
                    <a:pt x="91" y="20"/>
                  </a:cubicBezTo>
                  <a:cubicBezTo>
                    <a:pt x="110" y="39"/>
                    <a:pt x="110" y="71"/>
                    <a:pt x="91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231" name="Freeform 219">
              <a:extLst>
                <a:ext uri="{FF2B5EF4-FFF2-40B4-BE49-F238E27FC236}">
                  <a16:creationId xmlns:a16="http://schemas.microsoft.com/office/drawing/2014/main" id="{1CC7109A-B7F4-46D6-BB0A-0CE9958A951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89338" y="3178175"/>
              <a:ext cx="11113" cy="9525"/>
            </a:xfrm>
            <a:custGeom>
              <a:avLst/>
              <a:gdLst>
                <a:gd name="T0" fmla="*/ 91 w 110"/>
                <a:gd name="T1" fmla="*/ 91 h 110"/>
                <a:gd name="T2" fmla="*/ 20 w 110"/>
                <a:gd name="T3" fmla="*/ 91 h 110"/>
                <a:gd name="T4" fmla="*/ 20 w 110"/>
                <a:gd name="T5" fmla="*/ 20 h 110"/>
                <a:gd name="T6" fmla="*/ 91 w 110"/>
                <a:gd name="T7" fmla="*/ 20 h 110"/>
                <a:gd name="T8" fmla="*/ 91 w 110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1" y="91"/>
                  </a:moveTo>
                  <a:cubicBezTo>
                    <a:pt x="71" y="110"/>
                    <a:pt x="39" y="110"/>
                    <a:pt x="20" y="91"/>
                  </a:cubicBezTo>
                  <a:cubicBezTo>
                    <a:pt x="0" y="71"/>
                    <a:pt x="0" y="39"/>
                    <a:pt x="20" y="20"/>
                  </a:cubicBezTo>
                  <a:cubicBezTo>
                    <a:pt x="39" y="0"/>
                    <a:pt x="71" y="0"/>
                    <a:pt x="91" y="20"/>
                  </a:cubicBezTo>
                  <a:cubicBezTo>
                    <a:pt x="110" y="39"/>
                    <a:pt x="110" y="71"/>
                    <a:pt x="91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232" name="Freeform 220">
              <a:extLst>
                <a:ext uri="{FF2B5EF4-FFF2-40B4-BE49-F238E27FC236}">
                  <a16:creationId xmlns:a16="http://schemas.microsoft.com/office/drawing/2014/main" id="{13818221-EE76-4343-AD04-4C2722EE59AD}"/>
                </a:ext>
              </a:extLst>
            </p:cNvPr>
            <p:cNvSpPr>
              <a:spLocks/>
            </p:cNvSpPr>
            <p:nvPr/>
          </p:nvSpPr>
          <p:spPr bwMode="auto">
            <a:xfrm>
              <a:off x="3589338" y="3178175"/>
              <a:ext cx="11113" cy="9525"/>
            </a:xfrm>
            <a:custGeom>
              <a:avLst/>
              <a:gdLst>
                <a:gd name="T0" fmla="*/ 91 w 110"/>
                <a:gd name="T1" fmla="*/ 91 h 110"/>
                <a:gd name="T2" fmla="*/ 20 w 110"/>
                <a:gd name="T3" fmla="*/ 91 h 110"/>
                <a:gd name="T4" fmla="*/ 20 w 110"/>
                <a:gd name="T5" fmla="*/ 20 h 110"/>
                <a:gd name="T6" fmla="*/ 91 w 110"/>
                <a:gd name="T7" fmla="*/ 20 h 110"/>
                <a:gd name="T8" fmla="*/ 91 w 110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1" y="91"/>
                  </a:moveTo>
                  <a:cubicBezTo>
                    <a:pt x="71" y="110"/>
                    <a:pt x="39" y="110"/>
                    <a:pt x="20" y="91"/>
                  </a:cubicBezTo>
                  <a:cubicBezTo>
                    <a:pt x="0" y="71"/>
                    <a:pt x="0" y="39"/>
                    <a:pt x="20" y="20"/>
                  </a:cubicBezTo>
                  <a:cubicBezTo>
                    <a:pt x="39" y="0"/>
                    <a:pt x="71" y="0"/>
                    <a:pt x="91" y="20"/>
                  </a:cubicBezTo>
                  <a:cubicBezTo>
                    <a:pt x="110" y="39"/>
                    <a:pt x="110" y="71"/>
                    <a:pt x="91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233" name="Freeform 221">
              <a:extLst>
                <a:ext uri="{FF2B5EF4-FFF2-40B4-BE49-F238E27FC236}">
                  <a16:creationId xmlns:a16="http://schemas.microsoft.com/office/drawing/2014/main" id="{EFABD155-5E57-4FFB-9128-EC71E83C426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5" y="3178175"/>
              <a:ext cx="9525" cy="9525"/>
            </a:xfrm>
            <a:custGeom>
              <a:avLst/>
              <a:gdLst>
                <a:gd name="T0" fmla="*/ 90 w 110"/>
                <a:gd name="T1" fmla="*/ 90 h 110"/>
                <a:gd name="T2" fmla="*/ 20 w 110"/>
                <a:gd name="T3" fmla="*/ 90 h 110"/>
                <a:gd name="T4" fmla="*/ 20 w 110"/>
                <a:gd name="T5" fmla="*/ 19 h 110"/>
                <a:gd name="T6" fmla="*/ 90 w 110"/>
                <a:gd name="T7" fmla="*/ 19 h 110"/>
                <a:gd name="T8" fmla="*/ 90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0"/>
                  </a:moveTo>
                  <a:cubicBezTo>
                    <a:pt x="71" y="110"/>
                    <a:pt x="39" y="110"/>
                    <a:pt x="20" y="90"/>
                  </a:cubicBezTo>
                  <a:cubicBezTo>
                    <a:pt x="0" y="70"/>
                    <a:pt x="0" y="39"/>
                    <a:pt x="20" y="19"/>
                  </a:cubicBezTo>
                  <a:cubicBezTo>
                    <a:pt x="39" y="0"/>
                    <a:pt x="71" y="0"/>
                    <a:pt x="90" y="19"/>
                  </a:cubicBezTo>
                  <a:cubicBezTo>
                    <a:pt x="110" y="39"/>
                    <a:pt x="110" y="70"/>
                    <a:pt x="90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234" name="Freeform 222">
              <a:extLst>
                <a:ext uri="{FF2B5EF4-FFF2-40B4-BE49-F238E27FC236}">
                  <a16:creationId xmlns:a16="http://schemas.microsoft.com/office/drawing/2014/main" id="{69360C08-45F1-4793-B40E-4CA4BD01962D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5" y="3178175"/>
              <a:ext cx="9525" cy="9525"/>
            </a:xfrm>
            <a:custGeom>
              <a:avLst/>
              <a:gdLst>
                <a:gd name="T0" fmla="*/ 90 w 110"/>
                <a:gd name="T1" fmla="*/ 90 h 110"/>
                <a:gd name="T2" fmla="*/ 20 w 110"/>
                <a:gd name="T3" fmla="*/ 90 h 110"/>
                <a:gd name="T4" fmla="*/ 20 w 110"/>
                <a:gd name="T5" fmla="*/ 19 h 110"/>
                <a:gd name="T6" fmla="*/ 90 w 110"/>
                <a:gd name="T7" fmla="*/ 19 h 110"/>
                <a:gd name="T8" fmla="*/ 90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0"/>
                  </a:moveTo>
                  <a:cubicBezTo>
                    <a:pt x="71" y="110"/>
                    <a:pt x="39" y="110"/>
                    <a:pt x="20" y="90"/>
                  </a:cubicBezTo>
                  <a:cubicBezTo>
                    <a:pt x="0" y="70"/>
                    <a:pt x="0" y="39"/>
                    <a:pt x="20" y="19"/>
                  </a:cubicBezTo>
                  <a:cubicBezTo>
                    <a:pt x="39" y="0"/>
                    <a:pt x="71" y="0"/>
                    <a:pt x="90" y="19"/>
                  </a:cubicBezTo>
                  <a:cubicBezTo>
                    <a:pt x="110" y="39"/>
                    <a:pt x="110" y="70"/>
                    <a:pt x="90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235" name="Freeform 223">
              <a:extLst>
                <a:ext uri="{FF2B5EF4-FFF2-40B4-BE49-F238E27FC236}">
                  <a16:creationId xmlns:a16="http://schemas.microsoft.com/office/drawing/2014/main" id="{40788832-34F1-4AA2-812F-972359C3B866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7925" y="3178175"/>
              <a:ext cx="9525" cy="9525"/>
            </a:xfrm>
            <a:custGeom>
              <a:avLst/>
              <a:gdLst>
                <a:gd name="T0" fmla="*/ 91 w 110"/>
                <a:gd name="T1" fmla="*/ 90 h 110"/>
                <a:gd name="T2" fmla="*/ 20 w 110"/>
                <a:gd name="T3" fmla="*/ 90 h 110"/>
                <a:gd name="T4" fmla="*/ 20 w 110"/>
                <a:gd name="T5" fmla="*/ 19 h 110"/>
                <a:gd name="T6" fmla="*/ 91 w 110"/>
                <a:gd name="T7" fmla="*/ 19 h 110"/>
                <a:gd name="T8" fmla="*/ 91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1" y="90"/>
                  </a:moveTo>
                  <a:cubicBezTo>
                    <a:pt x="71" y="110"/>
                    <a:pt x="39" y="110"/>
                    <a:pt x="20" y="90"/>
                  </a:cubicBezTo>
                  <a:cubicBezTo>
                    <a:pt x="0" y="70"/>
                    <a:pt x="0" y="39"/>
                    <a:pt x="20" y="19"/>
                  </a:cubicBezTo>
                  <a:cubicBezTo>
                    <a:pt x="39" y="0"/>
                    <a:pt x="71" y="0"/>
                    <a:pt x="91" y="19"/>
                  </a:cubicBezTo>
                  <a:cubicBezTo>
                    <a:pt x="110" y="39"/>
                    <a:pt x="110" y="70"/>
                    <a:pt x="91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236" name="Freeform 224">
              <a:extLst>
                <a:ext uri="{FF2B5EF4-FFF2-40B4-BE49-F238E27FC236}">
                  <a16:creationId xmlns:a16="http://schemas.microsoft.com/office/drawing/2014/main" id="{23D4BA61-E7D9-4A87-955C-3DF91C8353DF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7925" y="3178175"/>
              <a:ext cx="9525" cy="9525"/>
            </a:xfrm>
            <a:custGeom>
              <a:avLst/>
              <a:gdLst>
                <a:gd name="T0" fmla="*/ 91 w 110"/>
                <a:gd name="T1" fmla="*/ 90 h 110"/>
                <a:gd name="T2" fmla="*/ 20 w 110"/>
                <a:gd name="T3" fmla="*/ 90 h 110"/>
                <a:gd name="T4" fmla="*/ 20 w 110"/>
                <a:gd name="T5" fmla="*/ 19 h 110"/>
                <a:gd name="T6" fmla="*/ 91 w 110"/>
                <a:gd name="T7" fmla="*/ 19 h 110"/>
                <a:gd name="T8" fmla="*/ 91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1" y="90"/>
                  </a:moveTo>
                  <a:cubicBezTo>
                    <a:pt x="71" y="110"/>
                    <a:pt x="39" y="110"/>
                    <a:pt x="20" y="90"/>
                  </a:cubicBezTo>
                  <a:cubicBezTo>
                    <a:pt x="0" y="70"/>
                    <a:pt x="0" y="39"/>
                    <a:pt x="20" y="19"/>
                  </a:cubicBezTo>
                  <a:cubicBezTo>
                    <a:pt x="39" y="0"/>
                    <a:pt x="71" y="0"/>
                    <a:pt x="91" y="19"/>
                  </a:cubicBezTo>
                  <a:cubicBezTo>
                    <a:pt x="110" y="39"/>
                    <a:pt x="110" y="70"/>
                    <a:pt x="91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237" name="Freeform 225">
              <a:extLst>
                <a:ext uri="{FF2B5EF4-FFF2-40B4-BE49-F238E27FC236}">
                  <a16:creationId xmlns:a16="http://schemas.microsoft.com/office/drawing/2014/main" id="{1BB6FEF9-65BA-487C-882B-B2A9543DAA5C}"/>
                </a:ext>
              </a:extLst>
            </p:cNvPr>
            <p:cNvSpPr>
              <a:spLocks/>
            </p:cNvSpPr>
            <p:nvPr/>
          </p:nvSpPr>
          <p:spPr bwMode="auto">
            <a:xfrm>
              <a:off x="3781425" y="3178175"/>
              <a:ext cx="9525" cy="9525"/>
            </a:xfrm>
            <a:custGeom>
              <a:avLst/>
              <a:gdLst>
                <a:gd name="T0" fmla="*/ 91 w 110"/>
                <a:gd name="T1" fmla="*/ 90 h 110"/>
                <a:gd name="T2" fmla="*/ 20 w 110"/>
                <a:gd name="T3" fmla="*/ 90 h 110"/>
                <a:gd name="T4" fmla="*/ 20 w 110"/>
                <a:gd name="T5" fmla="*/ 19 h 110"/>
                <a:gd name="T6" fmla="*/ 91 w 110"/>
                <a:gd name="T7" fmla="*/ 19 h 110"/>
                <a:gd name="T8" fmla="*/ 91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1" y="90"/>
                  </a:moveTo>
                  <a:cubicBezTo>
                    <a:pt x="71" y="110"/>
                    <a:pt x="40" y="110"/>
                    <a:pt x="20" y="90"/>
                  </a:cubicBezTo>
                  <a:cubicBezTo>
                    <a:pt x="0" y="70"/>
                    <a:pt x="0" y="39"/>
                    <a:pt x="20" y="19"/>
                  </a:cubicBezTo>
                  <a:cubicBezTo>
                    <a:pt x="40" y="0"/>
                    <a:pt x="71" y="0"/>
                    <a:pt x="91" y="19"/>
                  </a:cubicBezTo>
                  <a:cubicBezTo>
                    <a:pt x="110" y="39"/>
                    <a:pt x="110" y="70"/>
                    <a:pt x="91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238" name="Freeform 226">
              <a:extLst>
                <a:ext uri="{FF2B5EF4-FFF2-40B4-BE49-F238E27FC236}">
                  <a16:creationId xmlns:a16="http://schemas.microsoft.com/office/drawing/2014/main" id="{3C17D91E-0B9D-4989-A867-DC0CD20FDEDD}"/>
                </a:ext>
              </a:extLst>
            </p:cNvPr>
            <p:cNvSpPr>
              <a:spLocks/>
            </p:cNvSpPr>
            <p:nvPr/>
          </p:nvSpPr>
          <p:spPr bwMode="auto">
            <a:xfrm>
              <a:off x="3781425" y="3178175"/>
              <a:ext cx="9525" cy="9525"/>
            </a:xfrm>
            <a:custGeom>
              <a:avLst/>
              <a:gdLst>
                <a:gd name="T0" fmla="*/ 91 w 110"/>
                <a:gd name="T1" fmla="*/ 90 h 110"/>
                <a:gd name="T2" fmla="*/ 20 w 110"/>
                <a:gd name="T3" fmla="*/ 90 h 110"/>
                <a:gd name="T4" fmla="*/ 20 w 110"/>
                <a:gd name="T5" fmla="*/ 19 h 110"/>
                <a:gd name="T6" fmla="*/ 91 w 110"/>
                <a:gd name="T7" fmla="*/ 19 h 110"/>
                <a:gd name="T8" fmla="*/ 91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1" y="90"/>
                  </a:moveTo>
                  <a:cubicBezTo>
                    <a:pt x="71" y="110"/>
                    <a:pt x="40" y="110"/>
                    <a:pt x="20" y="90"/>
                  </a:cubicBezTo>
                  <a:cubicBezTo>
                    <a:pt x="0" y="70"/>
                    <a:pt x="0" y="39"/>
                    <a:pt x="20" y="19"/>
                  </a:cubicBezTo>
                  <a:cubicBezTo>
                    <a:pt x="40" y="0"/>
                    <a:pt x="71" y="0"/>
                    <a:pt x="91" y="19"/>
                  </a:cubicBezTo>
                  <a:cubicBezTo>
                    <a:pt x="110" y="39"/>
                    <a:pt x="110" y="70"/>
                    <a:pt x="91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239" name="Freeform 227">
              <a:extLst>
                <a:ext uri="{FF2B5EF4-FFF2-40B4-BE49-F238E27FC236}">
                  <a16:creationId xmlns:a16="http://schemas.microsoft.com/office/drawing/2014/main" id="{D2C9D4E6-5364-450B-A4D5-527E344A45F4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8750" y="3114675"/>
              <a:ext cx="11113" cy="9525"/>
            </a:xfrm>
            <a:custGeom>
              <a:avLst/>
              <a:gdLst>
                <a:gd name="T0" fmla="*/ 90 w 110"/>
                <a:gd name="T1" fmla="*/ 90 h 110"/>
                <a:gd name="T2" fmla="*/ 19 w 110"/>
                <a:gd name="T3" fmla="*/ 90 h 110"/>
                <a:gd name="T4" fmla="*/ 19 w 110"/>
                <a:gd name="T5" fmla="*/ 19 h 110"/>
                <a:gd name="T6" fmla="*/ 90 w 110"/>
                <a:gd name="T7" fmla="*/ 19 h 110"/>
                <a:gd name="T8" fmla="*/ 90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0"/>
                  </a:moveTo>
                  <a:cubicBezTo>
                    <a:pt x="71" y="110"/>
                    <a:pt x="39" y="110"/>
                    <a:pt x="19" y="90"/>
                  </a:cubicBezTo>
                  <a:cubicBezTo>
                    <a:pt x="0" y="70"/>
                    <a:pt x="0" y="39"/>
                    <a:pt x="19" y="19"/>
                  </a:cubicBezTo>
                  <a:cubicBezTo>
                    <a:pt x="39" y="0"/>
                    <a:pt x="71" y="0"/>
                    <a:pt x="90" y="19"/>
                  </a:cubicBezTo>
                  <a:cubicBezTo>
                    <a:pt x="110" y="39"/>
                    <a:pt x="110" y="70"/>
                    <a:pt x="90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240" name="Freeform 228">
              <a:extLst>
                <a:ext uri="{FF2B5EF4-FFF2-40B4-BE49-F238E27FC236}">
                  <a16:creationId xmlns:a16="http://schemas.microsoft.com/office/drawing/2014/main" id="{1F1AC422-171C-41A1-A57F-E43D91435B12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8750" y="3114675"/>
              <a:ext cx="11113" cy="9525"/>
            </a:xfrm>
            <a:custGeom>
              <a:avLst/>
              <a:gdLst>
                <a:gd name="T0" fmla="*/ 90 w 110"/>
                <a:gd name="T1" fmla="*/ 90 h 110"/>
                <a:gd name="T2" fmla="*/ 19 w 110"/>
                <a:gd name="T3" fmla="*/ 90 h 110"/>
                <a:gd name="T4" fmla="*/ 19 w 110"/>
                <a:gd name="T5" fmla="*/ 19 h 110"/>
                <a:gd name="T6" fmla="*/ 90 w 110"/>
                <a:gd name="T7" fmla="*/ 19 h 110"/>
                <a:gd name="T8" fmla="*/ 90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0"/>
                  </a:moveTo>
                  <a:cubicBezTo>
                    <a:pt x="71" y="110"/>
                    <a:pt x="39" y="110"/>
                    <a:pt x="19" y="90"/>
                  </a:cubicBezTo>
                  <a:cubicBezTo>
                    <a:pt x="0" y="70"/>
                    <a:pt x="0" y="39"/>
                    <a:pt x="19" y="19"/>
                  </a:cubicBezTo>
                  <a:cubicBezTo>
                    <a:pt x="39" y="0"/>
                    <a:pt x="71" y="0"/>
                    <a:pt x="90" y="19"/>
                  </a:cubicBezTo>
                  <a:cubicBezTo>
                    <a:pt x="110" y="39"/>
                    <a:pt x="110" y="70"/>
                    <a:pt x="90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241" name="Freeform 229">
              <a:extLst>
                <a:ext uri="{FF2B5EF4-FFF2-40B4-BE49-F238E27FC236}">
                  <a16:creationId xmlns:a16="http://schemas.microsoft.com/office/drawing/2014/main" id="{EE1BAC56-DD66-40CC-8461-A914865B8D2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2250" y="3114675"/>
              <a:ext cx="9525" cy="9525"/>
            </a:xfrm>
            <a:custGeom>
              <a:avLst/>
              <a:gdLst>
                <a:gd name="T0" fmla="*/ 50 w 101"/>
                <a:gd name="T1" fmla="*/ 101 h 101"/>
                <a:gd name="T2" fmla="*/ 0 w 101"/>
                <a:gd name="T3" fmla="*/ 51 h 101"/>
                <a:gd name="T4" fmla="*/ 50 w 101"/>
                <a:gd name="T5" fmla="*/ 0 h 101"/>
                <a:gd name="T6" fmla="*/ 100 w 101"/>
                <a:gd name="T7" fmla="*/ 51 h 101"/>
                <a:gd name="T8" fmla="*/ 50 w 101"/>
                <a:gd name="T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" h="101">
                  <a:moveTo>
                    <a:pt x="50" y="101"/>
                  </a:moveTo>
                  <a:cubicBezTo>
                    <a:pt x="23" y="101"/>
                    <a:pt x="0" y="78"/>
                    <a:pt x="0" y="51"/>
                  </a:cubicBezTo>
                  <a:cubicBezTo>
                    <a:pt x="0" y="23"/>
                    <a:pt x="23" y="0"/>
                    <a:pt x="50" y="0"/>
                  </a:cubicBezTo>
                  <a:cubicBezTo>
                    <a:pt x="78" y="0"/>
                    <a:pt x="100" y="23"/>
                    <a:pt x="100" y="51"/>
                  </a:cubicBezTo>
                  <a:cubicBezTo>
                    <a:pt x="101" y="78"/>
                    <a:pt x="78" y="101"/>
                    <a:pt x="50" y="10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242" name="Freeform 230">
              <a:extLst>
                <a:ext uri="{FF2B5EF4-FFF2-40B4-BE49-F238E27FC236}">
                  <a16:creationId xmlns:a16="http://schemas.microsoft.com/office/drawing/2014/main" id="{EA898D4E-3966-458B-A32B-EBB2BFA896D6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2250" y="3114675"/>
              <a:ext cx="9525" cy="9525"/>
            </a:xfrm>
            <a:custGeom>
              <a:avLst/>
              <a:gdLst>
                <a:gd name="T0" fmla="*/ 50 w 101"/>
                <a:gd name="T1" fmla="*/ 101 h 101"/>
                <a:gd name="T2" fmla="*/ 0 w 101"/>
                <a:gd name="T3" fmla="*/ 51 h 101"/>
                <a:gd name="T4" fmla="*/ 50 w 101"/>
                <a:gd name="T5" fmla="*/ 0 h 101"/>
                <a:gd name="T6" fmla="*/ 100 w 101"/>
                <a:gd name="T7" fmla="*/ 51 h 101"/>
                <a:gd name="T8" fmla="*/ 50 w 101"/>
                <a:gd name="T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" h="101">
                  <a:moveTo>
                    <a:pt x="50" y="101"/>
                  </a:moveTo>
                  <a:cubicBezTo>
                    <a:pt x="23" y="101"/>
                    <a:pt x="0" y="78"/>
                    <a:pt x="0" y="51"/>
                  </a:cubicBezTo>
                  <a:cubicBezTo>
                    <a:pt x="0" y="23"/>
                    <a:pt x="23" y="0"/>
                    <a:pt x="50" y="0"/>
                  </a:cubicBezTo>
                  <a:cubicBezTo>
                    <a:pt x="78" y="0"/>
                    <a:pt x="100" y="23"/>
                    <a:pt x="100" y="51"/>
                  </a:cubicBezTo>
                  <a:cubicBezTo>
                    <a:pt x="101" y="78"/>
                    <a:pt x="78" y="101"/>
                    <a:pt x="50" y="10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243" name="Freeform 231">
              <a:extLst>
                <a:ext uri="{FF2B5EF4-FFF2-40B4-BE49-F238E27FC236}">
                  <a16:creationId xmlns:a16="http://schemas.microsoft.com/office/drawing/2014/main" id="{3113BF81-C1B7-4F33-A599-EAC8A4D64EF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25750" y="3114675"/>
              <a:ext cx="11113" cy="9525"/>
            </a:xfrm>
            <a:custGeom>
              <a:avLst/>
              <a:gdLst>
                <a:gd name="T0" fmla="*/ 50 w 101"/>
                <a:gd name="T1" fmla="*/ 101 h 101"/>
                <a:gd name="T2" fmla="*/ 0 w 101"/>
                <a:gd name="T3" fmla="*/ 51 h 101"/>
                <a:gd name="T4" fmla="*/ 50 w 101"/>
                <a:gd name="T5" fmla="*/ 0 h 101"/>
                <a:gd name="T6" fmla="*/ 100 w 101"/>
                <a:gd name="T7" fmla="*/ 51 h 101"/>
                <a:gd name="T8" fmla="*/ 50 w 101"/>
                <a:gd name="T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" h="101">
                  <a:moveTo>
                    <a:pt x="50" y="101"/>
                  </a:moveTo>
                  <a:cubicBezTo>
                    <a:pt x="23" y="101"/>
                    <a:pt x="0" y="78"/>
                    <a:pt x="0" y="51"/>
                  </a:cubicBezTo>
                  <a:cubicBezTo>
                    <a:pt x="0" y="23"/>
                    <a:pt x="23" y="0"/>
                    <a:pt x="50" y="0"/>
                  </a:cubicBezTo>
                  <a:cubicBezTo>
                    <a:pt x="78" y="0"/>
                    <a:pt x="100" y="23"/>
                    <a:pt x="100" y="51"/>
                  </a:cubicBezTo>
                  <a:cubicBezTo>
                    <a:pt x="101" y="78"/>
                    <a:pt x="78" y="101"/>
                    <a:pt x="50" y="10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244" name="Freeform 232">
              <a:extLst>
                <a:ext uri="{FF2B5EF4-FFF2-40B4-BE49-F238E27FC236}">
                  <a16:creationId xmlns:a16="http://schemas.microsoft.com/office/drawing/2014/main" id="{3EC9A585-8A13-49E8-BFF8-F6D92745437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25750" y="3114675"/>
              <a:ext cx="11113" cy="9525"/>
            </a:xfrm>
            <a:custGeom>
              <a:avLst/>
              <a:gdLst>
                <a:gd name="T0" fmla="*/ 50 w 101"/>
                <a:gd name="T1" fmla="*/ 101 h 101"/>
                <a:gd name="T2" fmla="*/ 0 w 101"/>
                <a:gd name="T3" fmla="*/ 51 h 101"/>
                <a:gd name="T4" fmla="*/ 50 w 101"/>
                <a:gd name="T5" fmla="*/ 0 h 101"/>
                <a:gd name="T6" fmla="*/ 100 w 101"/>
                <a:gd name="T7" fmla="*/ 51 h 101"/>
                <a:gd name="T8" fmla="*/ 50 w 101"/>
                <a:gd name="T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" h="101">
                  <a:moveTo>
                    <a:pt x="50" y="101"/>
                  </a:moveTo>
                  <a:cubicBezTo>
                    <a:pt x="23" y="101"/>
                    <a:pt x="0" y="78"/>
                    <a:pt x="0" y="51"/>
                  </a:cubicBezTo>
                  <a:cubicBezTo>
                    <a:pt x="0" y="23"/>
                    <a:pt x="23" y="0"/>
                    <a:pt x="50" y="0"/>
                  </a:cubicBezTo>
                  <a:cubicBezTo>
                    <a:pt x="78" y="0"/>
                    <a:pt x="100" y="23"/>
                    <a:pt x="100" y="51"/>
                  </a:cubicBezTo>
                  <a:cubicBezTo>
                    <a:pt x="101" y="78"/>
                    <a:pt x="78" y="101"/>
                    <a:pt x="50" y="10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245" name="Freeform 233">
              <a:extLst>
                <a:ext uri="{FF2B5EF4-FFF2-40B4-BE49-F238E27FC236}">
                  <a16:creationId xmlns:a16="http://schemas.microsoft.com/office/drawing/2014/main" id="{4C4B571C-6063-4CDA-B2FB-F50E08C25A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9250" y="3114675"/>
              <a:ext cx="11113" cy="9525"/>
            </a:xfrm>
            <a:custGeom>
              <a:avLst/>
              <a:gdLst>
                <a:gd name="T0" fmla="*/ 90 w 110"/>
                <a:gd name="T1" fmla="*/ 91 h 111"/>
                <a:gd name="T2" fmla="*/ 19 w 110"/>
                <a:gd name="T3" fmla="*/ 91 h 111"/>
                <a:gd name="T4" fmla="*/ 19 w 110"/>
                <a:gd name="T5" fmla="*/ 20 h 111"/>
                <a:gd name="T6" fmla="*/ 90 w 110"/>
                <a:gd name="T7" fmla="*/ 20 h 111"/>
                <a:gd name="T8" fmla="*/ 90 w 110"/>
                <a:gd name="T9" fmla="*/ 9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1">
                  <a:moveTo>
                    <a:pt x="90" y="91"/>
                  </a:moveTo>
                  <a:cubicBezTo>
                    <a:pt x="70" y="111"/>
                    <a:pt x="39" y="111"/>
                    <a:pt x="19" y="91"/>
                  </a:cubicBezTo>
                  <a:cubicBezTo>
                    <a:pt x="0" y="71"/>
                    <a:pt x="0" y="40"/>
                    <a:pt x="19" y="20"/>
                  </a:cubicBezTo>
                  <a:cubicBezTo>
                    <a:pt x="39" y="1"/>
                    <a:pt x="70" y="0"/>
                    <a:pt x="90" y="20"/>
                  </a:cubicBezTo>
                  <a:cubicBezTo>
                    <a:pt x="110" y="40"/>
                    <a:pt x="110" y="71"/>
                    <a:pt x="90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246" name="Freeform 234">
              <a:extLst>
                <a:ext uri="{FF2B5EF4-FFF2-40B4-BE49-F238E27FC236}">
                  <a16:creationId xmlns:a16="http://schemas.microsoft.com/office/drawing/2014/main" id="{6A2D605C-C1A6-4A8D-92E4-F316BB29DEE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9250" y="3114675"/>
              <a:ext cx="11113" cy="9525"/>
            </a:xfrm>
            <a:custGeom>
              <a:avLst/>
              <a:gdLst>
                <a:gd name="T0" fmla="*/ 90 w 110"/>
                <a:gd name="T1" fmla="*/ 91 h 111"/>
                <a:gd name="T2" fmla="*/ 19 w 110"/>
                <a:gd name="T3" fmla="*/ 91 h 111"/>
                <a:gd name="T4" fmla="*/ 19 w 110"/>
                <a:gd name="T5" fmla="*/ 20 h 111"/>
                <a:gd name="T6" fmla="*/ 90 w 110"/>
                <a:gd name="T7" fmla="*/ 20 h 111"/>
                <a:gd name="T8" fmla="*/ 90 w 110"/>
                <a:gd name="T9" fmla="*/ 9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1">
                  <a:moveTo>
                    <a:pt x="90" y="91"/>
                  </a:moveTo>
                  <a:cubicBezTo>
                    <a:pt x="70" y="111"/>
                    <a:pt x="39" y="111"/>
                    <a:pt x="19" y="91"/>
                  </a:cubicBezTo>
                  <a:cubicBezTo>
                    <a:pt x="0" y="71"/>
                    <a:pt x="0" y="40"/>
                    <a:pt x="19" y="20"/>
                  </a:cubicBezTo>
                  <a:cubicBezTo>
                    <a:pt x="39" y="1"/>
                    <a:pt x="70" y="0"/>
                    <a:pt x="90" y="20"/>
                  </a:cubicBezTo>
                  <a:cubicBezTo>
                    <a:pt x="110" y="40"/>
                    <a:pt x="110" y="71"/>
                    <a:pt x="90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247" name="Oval 235">
              <a:extLst>
                <a:ext uri="{FF2B5EF4-FFF2-40B4-BE49-F238E27FC236}">
                  <a16:creationId xmlns:a16="http://schemas.microsoft.com/office/drawing/2014/main" id="{5B19988E-4C47-4DA2-B7ED-ADCB4A471E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54338" y="3114675"/>
              <a:ext cx="9525" cy="9525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248" name="Oval 236">
              <a:extLst>
                <a:ext uri="{FF2B5EF4-FFF2-40B4-BE49-F238E27FC236}">
                  <a16:creationId xmlns:a16="http://schemas.microsoft.com/office/drawing/2014/main" id="{BCAFAC8C-B1D0-4106-9DBA-5051CACB51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54338" y="3114675"/>
              <a:ext cx="9525" cy="9525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249" name="Oval 237">
              <a:extLst>
                <a:ext uri="{FF2B5EF4-FFF2-40B4-BE49-F238E27FC236}">
                  <a16:creationId xmlns:a16="http://schemas.microsoft.com/office/drawing/2014/main" id="{06DABEBB-6F06-4726-9FD7-23972ED59A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17838" y="3114675"/>
              <a:ext cx="9525" cy="9525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250" name="Oval 238">
              <a:extLst>
                <a:ext uri="{FF2B5EF4-FFF2-40B4-BE49-F238E27FC236}">
                  <a16:creationId xmlns:a16="http://schemas.microsoft.com/office/drawing/2014/main" id="{90E835AC-C2DD-46CE-A7AD-C533EBFDCC7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17838" y="3114675"/>
              <a:ext cx="9525" cy="9525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251" name="Freeform 239">
              <a:extLst>
                <a:ext uri="{FF2B5EF4-FFF2-40B4-BE49-F238E27FC236}">
                  <a16:creationId xmlns:a16="http://schemas.microsoft.com/office/drawing/2014/main" id="{F1841245-211B-426D-B746-ED48A53BDA1D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1338" y="3114675"/>
              <a:ext cx="9525" cy="9525"/>
            </a:xfrm>
            <a:custGeom>
              <a:avLst/>
              <a:gdLst>
                <a:gd name="T0" fmla="*/ 91 w 110"/>
                <a:gd name="T1" fmla="*/ 91 h 110"/>
                <a:gd name="T2" fmla="*/ 20 w 110"/>
                <a:gd name="T3" fmla="*/ 91 h 110"/>
                <a:gd name="T4" fmla="*/ 20 w 110"/>
                <a:gd name="T5" fmla="*/ 20 h 110"/>
                <a:gd name="T6" fmla="*/ 91 w 110"/>
                <a:gd name="T7" fmla="*/ 20 h 110"/>
                <a:gd name="T8" fmla="*/ 91 w 110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1" y="91"/>
                  </a:moveTo>
                  <a:cubicBezTo>
                    <a:pt x="71" y="110"/>
                    <a:pt x="39" y="110"/>
                    <a:pt x="20" y="91"/>
                  </a:cubicBezTo>
                  <a:cubicBezTo>
                    <a:pt x="0" y="71"/>
                    <a:pt x="0" y="40"/>
                    <a:pt x="20" y="20"/>
                  </a:cubicBezTo>
                  <a:cubicBezTo>
                    <a:pt x="39" y="0"/>
                    <a:pt x="71" y="0"/>
                    <a:pt x="91" y="20"/>
                  </a:cubicBezTo>
                  <a:cubicBezTo>
                    <a:pt x="110" y="40"/>
                    <a:pt x="110" y="71"/>
                    <a:pt x="91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252" name="Freeform 240">
              <a:extLst>
                <a:ext uri="{FF2B5EF4-FFF2-40B4-BE49-F238E27FC236}">
                  <a16:creationId xmlns:a16="http://schemas.microsoft.com/office/drawing/2014/main" id="{79CC6C08-EEBA-498A-9CDF-3ED02D5C4F0E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1338" y="3114675"/>
              <a:ext cx="9525" cy="9525"/>
            </a:xfrm>
            <a:custGeom>
              <a:avLst/>
              <a:gdLst>
                <a:gd name="T0" fmla="*/ 91 w 110"/>
                <a:gd name="T1" fmla="*/ 91 h 110"/>
                <a:gd name="T2" fmla="*/ 20 w 110"/>
                <a:gd name="T3" fmla="*/ 91 h 110"/>
                <a:gd name="T4" fmla="*/ 20 w 110"/>
                <a:gd name="T5" fmla="*/ 20 h 110"/>
                <a:gd name="T6" fmla="*/ 91 w 110"/>
                <a:gd name="T7" fmla="*/ 20 h 110"/>
                <a:gd name="T8" fmla="*/ 91 w 110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1" y="91"/>
                  </a:moveTo>
                  <a:cubicBezTo>
                    <a:pt x="71" y="110"/>
                    <a:pt x="39" y="110"/>
                    <a:pt x="20" y="91"/>
                  </a:cubicBezTo>
                  <a:cubicBezTo>
                    <a:pt x="0" y="71"/>
                    <a:pt x="0" y="40"/>
                    <a:pt x="20" y="20"/>
                  </a:cubicBezTo>
                  <a:cubicBezTo>
                    <a:pt x="39" y="0"/>
                    <a:pt x="71" y="0"/>
                    <a:pt x="91" y="20"/>
                  </a:cubicBezTo>
                  <a:cubicBezTo>
                    <a:pt x="110" y="40"/>
                    <a:pt x="110" y="71"/>
                    <a:pt x="91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253" name="Freeform 241">
              <a:extLst>
                <a:ext uri="{FF2B5EF4-FFF2-40B4-BE49-F238E27FC236}">
                  <a16:creationId xmlns:a16="http://schemas.microsoft.com/office/drawing/2014/main" id="{DDEDE022-F01E-4938-A91F-6B2474125CC5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4838" y="3114675"/>
              <a:ext cx="9525" cy="9525"/>
            </a:xfrm>
            <a:custGeom>
              <a:avLst/>
              <a:gdLst>
                <a:gd name="T0" fmla="*/ 91 w 110"/>
                <a:gd name="T1" fmla="*/ 91 h 110"/>
                <a:gd name="T2" fmla="*/ 20 w 110"/>
                <a:gd name="T3" fmla="*/ 91 h 110"/>
                <a:gd name="T4" fmla="*/ 20 w 110"/>
                <a:gd name="T5" fmla="*/ 20 h 110"/>
                <a:gd name="T6" fmla="*/ 91 w 110"/>
                <a:gd name="T7" fmla="*/ 20 h 110"/>
                <a:gd name="T8" fmla="*/ 91 w 110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1" y="91"/>
                  </a:moveTo>
                  <a:cubicBezTo>
                    <a:pt x="71" y="110"/>
                    <a:pt x="39" y="110"/>
                    <a:pt x="20" y="91"/>
                  </a:cubicBezTo>
                  <a:cubicBezTo>
                    <a:pt x="0" y="71"/>
                    <a:pt x="0" y="40"/>
                    <a:pt x="20" y="20"/>
                  </a:cubicBezTo>
                  <a:cubicBezTo>
                    <a:pt x="40" y="0"/>
                    <a:pt x="71" y="0"/>
                    <a:pt x="91" y="20"/>
                  </a:cubicBezTo>
                  <a:cubicBezTo>
                    <a:pt x="110" y="40"/>
                    <a:pt x="110" y="71"/>
                    <a:pt x="91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254" name="Freeform 242">
              <a:extLst>
                <a:ext uri="{FF2B5EF4-FFF2-40B4-BE49-F238E27FC236}">
                  <a16:creationId xmlns:a16="http://schemas.microsoft.com/office/drawing/2014/main" id="{DE2E4DED-9EB2-41E3-AEAC-DE6E67C8B231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4838" y="3114675"/>
              <a:ext cx="9525" cy="9525"/>
            </a:xfrm>
            <a:custGeom>
              <a:avLst/>
              <a:gdLst>
                <a:gd name="T0" fmla="*/ 91 w 110"/>
                <a:gd name="T1" fmla="*/ 91 h 110"/>
                <a:gd name="T2" fmla="*/ 20 w 110"/>
                <a:gd name="T3" fmla="*/ 91 h 110"/>
                <a:gd name="T4" fmla="*/ 20 w 110"/>
                <a:gd name="T5" fmla="*/ 20 h 110"/>
                <a:gd name="T6" fmla="*/ 91 w 110"/>
                <a:gd name="T7" fmla="*/ 20 h 110"/>
                <a:gd name="T8" fmla="*/ 91 w 110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1" y="91"/>
                  </a:moveTo>
                  <a:cubicBezTo>
                    <a:pt x="71" y="110"/>
                    <a:pt x="39" y="110"/>
                    <a:pt x="20" y="91"/>
                  </a:cubicBezTo>
                  <a:cubicBezTo>
                    <a:pt x="0" y="71"/>
                    <a:pt x="0" y="40"/>
                    <a:pt x="20" y="20"/>
                  </a:cubicBezTo>
                  <a:cubicBezTo>
                    <a:pt x="40" y="0"/>
                    <a:pt x="71" y="0"/>
                    <a:pt x="91" y="20"/>
                  </a:cubicBezTo>
                  <a:cubicBezTo>
                    <a:pt x="110" y="40"/>
                    <a:pt x="110" y="71"/>
                    <a:pt x="91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255" name="Freeform 243">
              <a:extLst>
                <a:ext uri="{FF2B5EF4-FFF2-40B4-BE49-F238E27FC236}">
                  <a16:creationId xmlns:a16="http://schemas.microsoft.com/office/drawing/2014/main" id="{EF1DF0AC-E4FB-4BA1-A9EB-9EE0ADF62CD8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8338" y="3114675"/>
              <a:ext cx="9525" cy="9525"/>
            </a:xfrm>
            <a:custGeom>
              <a:avLst/>
              <a:gdLst>
                <a:gd name="T0" fmla="*/ 90 w 110"/>
                <a:gd name="T1" fmla="*/ 91 h 110"/>
                <a:gd name="T2" fmla="*/ 19 w 110"/>
                <a:gd name="T3" fmla="*/ 91 h 110"/>
                <a:gd name="T4" fmla="*/ 19 w 110"/>
                <a:gd name="T5" fmla="*/ 20 h 110"/>
                <a:gd name="T6" fmla="*/ 90 w 110"/>
                <a:gd name="T7" fmla="*/ 20 h 110"/>
                <a:gd name="T8" fmla="*/ 90 w 110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1"/>
                  </a:moveTo>
                  <a:cubicBezTo>
                    <a:pt x="70" y="110"/>
                    <a:pt x="39" y="110"/>
                    <a:pt x="19" y="91"/>
                  </a:cubicBezTo>
                  <a:cubicBezTo>
                    <a:pt x="0" y="71"/>
                    <a:pt x="0" y="40"/>
                    <a:pt x="19" y="20"/>
                  </a:cubicBezTo>
                  <a:cubicBezTo>
                    <a:pt x="39" y="0"/>
                    <a:pt x="70" y="0"/>
                    <a:pt x="90" y="20"/>
                  </a:cubicBezTo>
                  <a:cubicBezTo>
                    <a:pt x="110" y="40"/>
                    <a:pt x="110" y="71"/>
                    <a:pt x="90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256" name="Freeform 244">
              <a:extLst>
                <a:ext uri="{FF2B5EF4-FFF2-40B4-BE49-F238E27FC236}">
                  <a16:creationId xmlns:a16="http://schemas.microsoft.com/office/drawing/2014/main" id="{8A2AC78D-E559-408A-916B-07B41ADC2F0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8338" y="3114675"/>
              <a:ext cx="9525" cy="9525"/>
            </a:xfrm>
            <a:custGeom>
              <a:avLst/>
              <a:gdLst>
                <a:gd name="T0" fmla="*/ 90 w 110"/>
                <a:gd name="T1" fmla="*/ 91 h 110"/>
                <a:gd name="T2" fmla="*/ 19 w 110"/>
                <a:gd name="T3" fmla="*/ 91 h 110"/>
                <a:gd name="T4" fmla="*/ 19 w 110"/>
                <a:gd name="T5" fmla="*/ 20 h 110"/>
                <a:gd name="T6" fmla="*/ 90 w 110"/>
                <a:gd name="T7" fmla="*/ 20 h 110"/>
                <a:gd name="T8" fmla="*/ 90 w 110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1"/>
                  </a:moveTo>
                  <a:cubicBezTo>
                    <a:pt x="70" y="110"/>
                    <a:pt x="39" y="110"/>
                    <a:pt x="19" y="91"/>
                  </a:cubicBezTo>
                  <a:cubicBezTo>
                    <a:pt x="0" y="71"/>
                    <a:pt x="0" y="40"/>
                    <a:pt x="19" y="20"/>
                  </a:cubicBezTo>
                  <a:cubicBezTo>
                    <a:pt x="39" y="0"/>
                    <a:pt x="70" y="0"/>
                    <a:pt x="90" y="20"/>
                  </a:cubicBezTo>
                  <a:cubicBezTo>
                    <a:pt x="110" y="40"/>
                    <a:pt x="110" y="71"/>
                    <a:pt x="90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257" name="Freeform 245">
              <a:extLst>
                <a:ext uri="{FF2B5EF4-FFF2-40B4-BE49-F238E27FC236}">
                  <a16:creationId xmlns:a16="http://schemas.microsoft.com/office/drawing/2014/main" id="{F82BD892-C790-40C2-AAE2-A6763535BB5B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1838" y="3114675"/>
              <a:ext cx="11113" cy="9525"/>
            </a:xfrm>
            <a:custGeom>
              <a:avLst/>
              <a:gdLst>
                <a:gd name="T0" fmla="*/ 90 w 110"/>
                <a:gd name="T1" fmla="*/ 91 h 110"/>
                <a:gd name="T2" fmla="*/ 19 w 110"/>
                <a:gd name="T3" fmla="*/ 91 h 110"/>
                <a:gd name="T4" fmla="*/ 19 w 110"/>
                <a:gd name="T5" fmla="*/ 20 h 110"/>
                <a:gd name="T6" fmla="*/ 90 w 110"/>
                <a:gd name="T7" fmla="*/ 20 h 110"/>
                <a:gd name="T8" fmla="*/ 90 w 110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1"/>
                  </a:moveTo>
                  <a:cubicBezTo>
                    <a:pt x="71" y="110"/>
                    <a:pt x="39" y="110"/>
                    <a:pt x="19" y="91"/>
                  </a:cubicBezTo>
                  <a:cubicBezTo>
                    <a:pt x="0" y="71"/>
                    <a:pt x="0" y="40"/>
                    <a:pt x="19" y="20"/>
                  </a:cubicBezTo>
                  <a:cubicBezTo>
                    <a:pt x="39" y="0"/>
                    <a:pt x="71" y="0"/>
                    <a:pt x="90" y="20"/>
                  </a:cubicBezTo>
                  <a:cubicBezTo>
                    <a:pt x="110" y="40"/>
                    <a:pt x="110" y="71"/>
                    <a:pt x="90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258" name="Freeform 246">
              <a:extLst>
                <a:ext uri="{FF2B5EF4-FFF2-40B4-BE49-F238E27FC236}">
                  <a16:creationId xmlns:a16="http://schemas.microsoft.com/office/drawing/2014/main" id="{F7E0477D-75CC-4E28-A19E-2792A3FDB789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1838" y="3114675"/>
              <a:ext cx="11113" cy="9525"/>
            </a:xfrm>
            <a:custGeom>
              <a:avLst/>
              <a:gdLst>
                <a:gd name="T0" fmla="*/ 90 w 110"/>
                <a:gd name="T1" fmla="*/ 91 h 110"/>
                <a:gd name="T2" fmla="*/ 19 w 110"/>
                <a:gd name="T3" fmla="*/ 91 h 110"/>
                <a:gd name="T4" fmla="*/ 19 w 110"/>
                <a:gd name="T5" fmla="*/ 20 h 110"/>
                <a:gd name="T6" fmla="*/ 90 w 110"/>
                <a:gd name="T7" fmla="*/ 20 h 110"/>
                <a:gd name="T8" fmla="*/ 90 w 110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1"/>
                  </a:moveTo>
                  <a:cubicBezTo>
                    <a:pt x="71" y="110"/>
                    <a:pt x="39" y="110"/>
                    <a:pt x="19" y="91"/>
                  </a:cubicBezTo>
                  <a:cubicBezTo>
                    <a:pt x="0" y="71"/>
                    <a:pt x="0" y="40"/>
                    <a:pt x="19" y="20"/>
                  </a:cubicBezTo>
                  <a:cubicBezTo>
                    <a:pt x="39" y="0"/>
                    <a:pt x="71" y="0"/>
                    <a:pt x="90" y="20"/>
                  </a:cubicBezTo>
                  <a:cubicBezTo>
                    <a:pt x="110" y="40"/>
                    <a:pt x="110" y="71"/>
                    <a:pt x="90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259" name="Freeform 247">
              <a:extLst>
                <a:ext uri="{FF2B5EF4-FFF2-40B4-BE49-F238E27FC236}">
                  <a16:creationId xmlns:a16="http://schemas.microsoft.com/office/drawing/2014/main" id="{4167D673-DFC3-4EDF-94B5-DCAB74DEE573}"/>
                </a:ext>
              </a:extLst>
            </p:cNvPr>
            <p:cNvSpPr>
              <a:spLocks/>
            </p:cNvSpPr>
            <p:nvPr/>
          </p:nvSpPr>
          <p:spPr bwMode="auto">
            <a:xfrm>
              <a:off x="3335338" y="3114675"/>
              <a:ext cx="11113" cy="9525"/>
            </a:xfrm>
            <a:custGeom>
              <a:avLst/>
              <a:gdLst>
                <a:gd name="T0" fmla="*/ 90 w 110"/>
                <a:gd name="T1" fmla="*/ 91 h 110"/>
                <a:gd name="T2" fmla="*/ 20 w 110"/>
                <a:gd name="T3" fmla="*/ 91 h 110"/>
                <a:gd name="T4" fmla="*/ 20 w 110"/>
                <a:gd name="T5" fmla="*/ 20 h 110"/>
                <a:gd name="T6" fmla="*/ 90 w 110"/>
                <a:gd name="T7" fmla="*/ 20 h 110"/>
                <a:gd name="T8" fmla="*/ 90 w 110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1"/>
                  </a:moveTo>
                  <a:cubicBezTo>
                    <a:pt x="71" y="110"/>
                    <a:pt x="39" y="110"/>
                    <a:pt x="20" y="91"/>
                  </a:cubicBezTo>
                  <a:cubicBezTo>
                    <a:pt x="0" y="71"/>
                    <a:pt x="0" y="40"/>
                    <a:pt x="20" y="20"/>
                  </a:cubicBezTo>
                  <a:cubicBezTo>
                    <a:pt x="39" y="0"/>
                    <a:pt x="71" y="0"/>
                    <a:pt x="90" y="20"/>
                  </a:cubicBezTo>
                  <a:cubicBezTo>
                    <a:pt x="110" y="40"/>
                    <a:pt x="110" y="71"/>
                    <a:pt x="90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260" name="Freeform 248">
              <a:extLst>
                <a:ext uri="{FF2B5EF4-FFF2-40B4-BE49-F238E27FC236}">
                  <a16:creationId xmlns:a16="http://schemas.microsoft.com/office/drawing/2014/main" id="{1049338C-1CA7-48D4-B33A-152C047A3CEA}"/>
                </a:ext>
              </a:extLst>
            </p:cNvPr>
            <p:cNvSpPr>
              <a:spLocks/>
            </p:cNvSpPr>
            <p:nvPr/>
          </p:nvSpPr>
          <p:spPr bwMode="auto">
            <a:xfrm>
              <a:off x="3335338" y="3114675"/>
              <a:ext cx="11113" cy="9525"/>
            </a:xfrm>
            <a:custGeom>
              <a:avLst/>
              <a:gdLst>
                <a:gd name="T0" fmla="*/ 90 w 110"/>
                <a:gd name="T1" fmla="*/ 91 h 110"/>
                <a:gd name="T2" fmla="*/ 20 w 110"/>
                <a:gd name="T3" fmla="*/ 91 h 110"/>
                <a:gd name="T4" fmla="*/ 20 w 110"/>
                <a:gd name="T5" fmla="*/ 20 h 110"/>
                <a:gd name="T6" fmla="*/ 90 w 110"/>
                <a:gd name="T7" fmla="*/ 20 h 110"/>
                <a:gd name="T8" fmla="*/ 90 w 110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1"/>
                  </a:moveTo>
                  <a:cubicBezTo>
                    <a:pt x="71" y="110"/>
                    <a:pt x="39" y="110"/>
                    <a:pt x="20" y="91"/>
                  </a:cubicBezTo>
                  <a:cubicBezTo>
                    <a:pt x="0" y="71"/>
                    <a:pt x="0" y="40"/>
                    <a:pt x="20" y="20"/>
                  </a:cubicBezTo>
                  <a:cubicBezTo>
                    <a:pt x="39" y="0"/>
                    <a:pt x="71" y="0"/>
                    <a:pt x="90" y="20"/>
                  </a:cubicBezTo>
                  <a:cubicBezTo>
                    <a:pt x="110" y="40"/>
                    <a:pt x="110" y="71"/>
                    <a:pt x="90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261" name="Freeform 249">
              <a:extLst>
                <a:ext uri="{FF2B5EF4-FFF2-40B4-BE49-F238E27FC236}">
                  <a16:creationId xmlns:a16="http://schemas.microsoft.com/office/drawing/2014/main" id="{68AEF942-62A7-400E-8ED3-41586D25451E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8838" y="3114675"/>
              <a:ext cx="11113" cy="9525"/>
            </a:xfrm>
            <a:custGeom>
              <a:avLst/>
              <a:gdLst>
                <a:gd name="T0" fmla="*/ 91 w 110"/>
                <a:gd name="T1" fmla="*/ 91 h 110"/>
                <a:gd name="T2" fmla="*/ 20 w 110"/>
                <a:gd name="T3" fmla="*/ 91 h 110"/>
                <a:gd name="T4" fmla="*/ 20 w 110"/>
                <a:gd name="T5" fmla="*/ 20 h 110"/>
                <a:gd name="T6" fmla="*/ 91 w 110"/>
                <a:gd name="T7" fmla="*/ 20 h 110"/>
                <a:gd name="T8" fmla="*/ 91 w 110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1" y="91"/>
                  </a:moveTo>
                  <a:cubicBezTo>
                    <a:pt x="71" y="110"/>
                    <a:pt x="39" y="110"/>
                    <a:pt x="20" y="91"/>
                  </a:cubicBezTo>
                  <a:cubicBezTo>
                    <a:pt x="0" y="71"/>
                    <a:pt x="0" y="40"/>
                    <a:pt x="20" y="20"/>
                  </a:cubicBezTo>
                  <a:cubicBezTo>
                    <a:pt x="39" y="0"/>
                    <a:pt x="71" y="0"/>
                    <a:pt x="91" y="20"/>
                  </a:cubicBezTo>
                  <a:cubicBezTo>
                    <a:pt x="110" y="40"/>
                    <a:pt x="110" y="71"/>
                    <a:pt x="91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262" name="Freeform 250">
              <a:extLst>
                <a:ext uri="{FF2B5EF4-FFF2-40B4-BE49-F238E27FC236}">
                  <a16:creationId xmlns:a16="http://schemas.microsoft.com/office/drawing/2014/main" id="{C87A177B-F36A-40BA-A610-074C225479B4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8838" y="3114675"/>
              <a:ext cx="11113" cy="9525"/>
            </a:xfrm>
            <a:custGeom>
              <a:avLst/>
              <a:gdLst>
                <a:gd name="T0" fmla="*/ 91 w 110"/>
                <a:gd name="T1" fmla="*/ 91 h 110"/>
                <a:gd name="T2" fmla="*/ 20 w 110"/>
                <a:gd name="T3" fmla="*/ 91 h 110"/>
                <a:gd name="T4" fmla="*/ 20 w 110"/>
                <a:gd name="T5" fmla="*/ 20 h 110"/>
                <a:gd name="T6" fmla="*/ 91 w 110"/>
                <a:gd name="T7" fmla="*/ 20 h 110"/>
                <a:gd name="T8" fmla="*/ 91 w 110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1" y="91"/>
                  </a:moveTo>
                  <a:cubicBezTo>
                    <a:pt x="71" y="110"/>
                    <a:pt x="39" y="110"/>
                    <a:pt x="20" y="91"/>
                  </a:cubicBezTo>
                  <a:cubicBezTo>
                    <a:pt x="0" y="71"/>
                    <a:pt x="0" y="40"/>
                    <a:pt x="20" y="20"/>
                  </a:cubicBezTo>
                  <a:cubicBezTo>
                    <a:pt x="39" y="0"/>
                    <a:pt x="71" y="0"/>
                    <a:pt x="91" y="20"/>
                  </a:cubicBezTo>
                  <a:cubicBezTo>
                    <a:pt x="110" y="40"/>
                    <a:pt x="110" y="71"/>
                    <a:pt x="91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263" name="Freeform 251">
              <a:extLst>
                <a:ext uri="{FF2B5EF4-FFF2-40B4-BE49-F238E27FC236}">
                  <a16:creationId xmlns:a16="http://schemas.microsoft.com/office/drawing/2014/main" id="{3251E296-B017-41C9-B81E-45BFEE2C0F69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2338" y="3114675"/>
              <a:ext cx="11113" cy="9525"/>
            </a:xfrm>
            <a:custGeom>
              <a:avLst/>
              <a:gdLst>
                <a:gd name="T0" fmla="*/ 91 w 110"/>
                <a:gd name="T1" fmla="*/ 91 h 110"/>
                <a:gd name="T2" fmla="*/ 20 w 110"/>
                <a:gd name="T3" fmla="*/ 91 h 110"/>
                <a:gd name="T4" fmla="*/ 20 w 110"/>
                <a:gd name="T5" fmla="*/ 20 h 110"/>
                <a:gd name="T6" fmla="*/ 91 w 110"/>
                <a:gd name="T7" fmla="*/ 20 h 110"/>
                <a:gd name="T8" fmla="*/ 91 w 110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1" y="91"/>
                  </a:moveTo>
                  <a:cubicBezTo>
                    <a:pt x="71" y="110"/>
                    <a:pt x="40" y="110"/>
                    <a:pt x="20" y="91"/>
                  </a:cubicBezTo>
                  <a:cubicBezTo>
                    <a:pt x="0" y="71"/>
                    <a:pt x="0" y="40"/>
                    <a:pt x="20" y="20"/>
                  </a:cubicBezTo>
                  <a:cubicBezTo>
                    <a:pt x="40" y="0"/>
                    <a:pt x="71" y="0"/>
                    <a:pt x="91" y="20"/>
                  </a:cubicBezTo>
                  <a:cubicBezTo>
                    <a:pt x="110" y="40"/>
                    <a:pt x="110" y="71"/>
                    <a:pt x="91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264" name="Freeform 252">
              <a:extLst>
                <a:ext uri="{FF2B5EF4-FFF2-40B4-BE49-F238E27FC236}">
                  <a16:creationId xmlns:a16="http://schemas.microsoft.com/office/drawing/2014/main" id="{1730DB9B-A69F-43C9-BC9D-2DA238186CC4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2338" y="3114675"/>
              <a:ext cx="11113" cy="9525"/>
            </a:xfrm>
            <a:custGeom>
              <a:avLst/>
              <a:gdLst>
                <a:gd name="T0" fmla="*/ 91 w 110"/>
                <a:gd name="T1" fmla="*/ 91 h 110"/>
                <a:gd name="T2" fmla="*/ 20 w 110"/>
                <a:gd name="T3" fmla="*/ 91 h 110"/>
                <a:gd name="T4" fmla="*/ 20 w 110"/>
                <a:gd name="T5" fmla="*/ 20 h 110"/>
                <a:gd name="T6" fmla="*/ 91 w 110"/>
                <a:gd name="T7" fmla="*/ 20 h 110"/>
                <a:gd name="T8" fmla="*/ 91 w 110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1" y="91"/>
                  </a:moveTo>
                  <a:cubicBezTo>
                    <a:pt x="71" y="110"/>
                    <a:pt x="40" y="110"/>
                    <a:pt x="20" y="91"/>
                  </a:cubicBezTo>
                  <a:cubicBezTo>
                    <a:pt x="0" y="71"/>
                    <a:pt x="0" y="40"/>
                    <a:pt x="20" y="20"/>
                  </a:cubicBezTo>
                  <a:cubicBezTo>
                    <a:pt x="40" y="0"/>
                    <a:pt x="71" y="0"/>
                    <a:pt x="91" y="20"/>
                  </a:cubicBezTo>
                  <a:cubicBezTo>
                    <a:pt x="110" y="40"/>
                    <a:pt x="110" y="71"/>
                    <a:pt x="91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265" name="Freeform 253">
              <a:extLst>
                <a:ext uri="{FF2B5EF4-FFF2-40B4-BE49-F238E27FC236}">
                  <a16:creationId xmlns:a16="http://schemas.microsoft.com/office/drawing/2014/main" id="{2763C955-BF20-4A95-BA7D-BE4C24ED88B7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5838" y="3114675"/>
              <a:ext cx="11113" cy="9525"/>
            </a:xfrm>
            <a:custGeom>
              <a:avLst/>
              <a:gdLst>
                <a:gd name="T0" fmla="*/ 91 w 110"/>
                <a:gd name="T1" fmla="*/ 90 h 110"/>
                <a:gd name="T2" fmla="*/ 20 w 110"/>
                <a:gd name="T3" fmla="*/ 90 h 110"/>
                <a:gd name="T4" fmla="*/ 20 w 110"/>
                <a:gd name="T5" fmla="*/ 19 h 110"/>
                <a:gd name="T6" fmla="*/ 91 w 110"/>
                <a:gd name="T7" fmla="*/ 19 h 110"/>
                <a:gd name="T8" fmla="*/ 91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1" y="90"/>
                  </a:moveTo>
                  <a:cubicBezTo>
                    <a:pt x="71" y="110"/>
                    <a:pt x="39" y="110"/>
                    <a:pt x="20" y="90"/>
                  </a:cubicBezTo>
                  <a:cubicBezTo>
                    <a:pt x="0" y="71"/>
                    <a:pt x="0" y="39"/>
                    <a:pt x="20" y="19"/>
                  </a:cubicBezTo>
                  <a:cubicBezTo>
                    <a:pt x="39" y="0"/>
                    <a:pt x="71" y="0"/>
                    <a:pt x="91" y="19"/>
                  </a:cubicBezTo>
                  <a:cubicBezTo>
                    <a:pt x="110" y="39"/>
                    <a:pt x="110" y="71"/>
                    <a:pt x="91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266" name="Freeform 254">
              <a:extLst>
                <a:ext uri="{FF2B5EF4-FFF2-40B4-BE49-F238E27FC236}">
                  <a16:creationId xmlns:a16="http://schemas.microsoft.com/office/drawing/2014/main" id="{28387EBB-F40A-48D4-91F1-606F2A4E5DB3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5838" y="3114675"/>
              <a:ext cx="11113" cy="9525"/>
            </a:xfrm>
            <a:custGeom>
              <a:avLst/>
              <a:gdLst>
                <a:gd name="T0" fmla="*/ 91 w 110"/>
                <a:gd name="T1" fmla="*/ 90 h 110"/>
                <a:gd name="T2" fmla="*/ 20 w 110"/>
                <a:gd name="T3" fmla="*/ 90 h 110"/>
                <a:gd name="T4" fmla="*/ 20 w 110"/>
                <a:gd name="T5" fmla="*/ 19 h 110"/>
                <a:gd name="T6" fmla="*/ 91 w 110"/>
                <a:gd name="T7" fmla="*/ 19 h 110"/>
                <a:gd name="T8" fmla="*/ 91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1" y="90"/>
                  </a:moveTo>
                  <a:cubicBezTo>
                    <a:pt x="71" y="110"/>
                    <a:pt x="39" y="110"/>
                    <a:pt x="20" y="90"/>
                  </a:cubicBezTo>
                  <a:cubicBezTo>
                    <a:pt x="0" y="71"/>
                    <a:pt x="0" y="39"/>
                    <a:pt x="20" y="19"/>
                  </a:cubicBezTo>
                  <a:cubicBezTo>
                    <a:pt x="39" y="0"/>
                    <a:pt x="71" y="0"/>
                    <a:pt x="91" y="19"/>
                  </a:cubicBezTo>
                  <a:cubicBezTo>
                    <a:pt x="110" y="39"/>
                    <a:pt x="110" y="71"/>
                    <a:pt x="91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267" name="Freeform 255">
              <a:extLst>
                <a:ext uri="{FF2B5EF4-FFF2-40B4-BE49-F238E27FC236}">
                  <a16:creationId xmlns:a16="http://schemas.microsoft.com/office/drawing/2014/main" id="{028B60D5-58BA-40E0-B40D-DC1889C7B2A3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0925" y="3114675"/>
              <a:ext cx="9525" cy="9525"/>
            </a:xfrm>
            <a:custGeom>
              <a:avLst/>
              <a:gdLst>
                <a:gd name="T0" fmla="*/ 90 w 110"/>
                <a:gd name="T1" fmla="*/ 91 h 110"/>
                <a:gd name="T2" fmla="*/ 19 w 110"/>
                <a:gd name="T3" fmla="*/ 91 h 110"/>
                <a:gd name="T4" fmla="*/ 19 w 110"/>
                <a:gd name="T5" fmla="*/ 20 h 110"/>
                <a:gd name="T6" fmla="*/ 90 w 110"/>
                <a:gd name="T7" fmla="*/ 20 h 110"/>
                <a:gd name="T8" fmla="*/ 90 w 110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1"/>
                  </a:moveTo>
                  <a:cubicBezTo>
                    <a:pt x="71" y="110"/>
                    <a:pt x="39" y="110"/>
                    <a:pt x="19" y="91"/>
                  </a:cubicBezTo>
                  <a:cubicBezTo>
                    <a:pt x="0" y="71"/>
                    <a:pt x="0" y="40"/>
                    <a:pt x="19" y="20"/>
                  </a:cubicBezTo>
                  <a:cubicBezTo>
                    <a:pt x="39" y="0"/>
                    <a:pt x="71" y="0"/>
                    <a:pt x="90" y="20"/>
                  </a:cubicBezTo>
                  <a:cubicBezTo>
                    <a:pt x="110" y="40"/>
                    <a:pt x="110" y="71"/>
                    <a:pt x="90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268" name="Freeform 256">
              <a:extLst>
                <a:ext uri="{FF2B5EF4-FFF2-40B4-BE49-F238E27FC236}">
                  <a16:creationId xmlns:a16="http://schemas.microsoft.com/office/drawing/2014/main" id="{1EDE6E4A-67BC-4973-9574-7615D9B448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0925" y="3114675"/>
              <a:ext cx="9525" cy="9525"/>
            </a:xfrm>
            <a:custGeom>
              <a:avLst/>
              <a:gdLst>
                <a:gd name="T0" fmla="*/ 90 w 110"/>
                <a:gd name="T1" fmla="*/ 91 h 110"/>
                <a:gd name="T2" fmla="*/ 19 w 110"/>
                <a:gd name="T3" fmla="*/ 91 h 110"/>
                <a:gd name="T4" fmla="*/ 19 w 110"/>
                <a:gd name="T5" fmla="*/ 20 h 110"/>
                <a:gd name="T6" fmla="*/ 90 w 110"/>
                <a:gd name="T7" fmla="*/ 20 h 110"/>
                <a:gd name="T8" fmla="*/ 90 w 110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1"/>
                  </a:moveTo>
                  <a:cubicBezTo>
                    <a:pt x="71" y="110"/>
                    <a:pt x="39" y="110"/>
                    <a:pt x="19" y="91"/>
                  </a:cubicBezTo>
                  <a:cubicBezTo>
                    <a:pt x="0" y="71"/>
                    <a:pt x="0" y="40"/>
                    <a:pt x="19" y="20"/>
                  </a:cubicBezTo>
                  <a:cubicBezTo>
                    <a:pt x="39" y="0"/>
                    <a:pt x="71" y="0"/>
                    <a:pt x="90" y="20"/>
                  </a:cubicBezTo>
                  <a:cubicBezTo>
                    <a:pt x="110" y="40"/>
                    <a:pt x="110" y="71"/>
                    <a:pt x="90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269" name="Freeform 257">
              <a:extLst>
                <a:ext uri="{FF2B5EF4-FFF2-40B4-BE49-F238E27FC236}">
                  <a16:creationId xmlns:a16="http://schemas.microsoft.com/office/drawing/2014/main" id="{FE48717A-4011-4883-98FD-6373567AE3D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5" y="3114675"/>
              <a:ext cx="9525" cy="9525"/>
            </a:xfrm>
            <a:custGeom>
              <a:avLst/>
              <a:gdLst>
                <a:gd name="T0" fmla="*/ 90 w 110"/>
                <a:gd name="T1" fmla="*/ 91 h 110"/>
                <a:gd name="T2" fmla="*/ 20 w 110"/>
                <a:gd name="T3" fmla="*/ 91 h 110"/>
                <a:gd name="T4" fmla="*/ 20 w 110"/>
                <a:gd name="T5" fmla="*/ 20 h 110"/>
                <a:gd name="T6" fmla="*/ 90 w 110"/>
                <a:gd name="T7" fmla="*/ 20 h 110"/>
                <a:gd name="T8" fmla="*/ 90 w 110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1"/>
                  </a:moveTo>
                  <a:cubicBezTo>
                    <a:pt x="71" y="110"/>
                    <a:pt x="39" y="110"/>
                    <a:pt x="20" y="91"/>
                  </a:cubicBezTo>
                  <a:cubicBezTo>
                    <a:pt x="0" y="71"/>
                    <a:pt x="0" y="39"/>
                    <a:pt x="20" y="20"/>
                  </a:cubicBezTo>
                  <a:cubicBezTo>
                    <a:pt x="39" y="0"/>
                    <a:pt x="71" y="0"/>
                    <a:pt x="90" y="20"/>
                  </a:cubicBezTo>
                  <a:cubicBezTo>
                    <a:pt x="110" y="39"/>
                    <a:pt x="110" y="71"/>
                    <a:pt x="90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270" name="Freeform 258">
              <a:extLst>
                <a:ext uri="{FF2B5EF4-FFF2-40B4-BE49-F238E27FC236}">
                  <a16:creationId xmlns:a16="http://schemas.microsoft.com/office/drawing/2014/main" id="{364C2ACE-8046-4ECB-A29C-8395AF1C2B0F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5" y="3114675"/>
              <a:ext cx="9525" cy="9525"/>
            </a:xfrm>
            <a:custGeom>
              <a:avLst/>
              <a:gdLst>
                <a:gd name="T0" fmla="*/ 90 w 110"/>
                <a:gd name="T1" fmla="*/ 91 h 110"/>
                <a:gd name="T2" fmla="*/ 20 w 110"/>
                <a:gd name="T3" fmla="*/ 91 h 110"/>
                <a:gd name="T4" fmla="*/ 20 w 110"/>
                <a:gd name="T5" fmla="*/ 20 h 110"/>
                <a:gd name="T6" fmla="*/ 90 w 110"/>
                <a:gd name="T7" fmla="*/ 20 h 110"/>
                <a:gd name="T8" fmla="*/ 90 w 110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1"/>
                  </a:moveTo>
                  <a:cubicBezTo>
                    <a:pt x="71" y="110"/>
                    <a:pt x="39" y="110"/>
                    <a:pt x="20" y="91"/>
                  </a:cubicBezTo>
                  <a:cubicBezTo>
                    <a:pt x="0" y="71"/>
                    <a:pt x="0" y="39"/>
                    <a:pt x="20" y="20"/>
                  </a:cubicBezTo>
                  <a:cubicBezTo>
                    <a:pt x="39" y="0"/>
                    <a:pt x="71" y="0"/>
                    <a:pt x="90" y="20"/>
                  </a:cubicBezTo>
                  <a:cubicBezTo>
                    <a:pt x="110" y="39"/>
                    <a:pt x="110" y="71"/>
                    <a:pt x="90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271" name="Freeform 259">
              <a:extLst>
                <a:ext uri="{FF2B5EF4-FFF2-40B4-BE49-F238E27FC236}">
                  <a16:creationId xmlns:a16="http://schemas.microsoft.com/office/drawing/2014/main" id="{3C7DD734-8B7B-4B14-9A3C-426231AA9D86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7925" y="3114675"/>
              <a:ext cx="9525" cy="9525"/>
            </a:xfrm>
            <a:custGeom>
              <a:avLst/>
              <a:gdLst>
                <a:gd name="T0" fmla="*/ 91 w 110"/>
                <a:gd name="T1" fmla="*/ 91 h 110"/>
                <a:gd name="T2" fmla="*/ 20 w 110"/>
                <a:gd name="T3" fmla="*/ 91 h 110"/>
                <a:gd name="T4" fmla="*/ 20 w 110"/>
                <a:gd name="T5" fmla="*/ 20 h 110"/>
                <a:gd name="T6" fmla="*/ 91 w 110"/>
                <a:gd name="T7" fmla="*/ 20 h 110"/>
                <a:gd name="T8" fmla="*/ 91 w 110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1" y="91"/>
                  </a:moveTo>
                  <a:cubicBezTo>
                    <a:pt x="71" y="110"/>
                    <a:pt x="39" y="110"/>
                    <a:pt x="20" y="91"/>
                  </a:cubicBezTo>
                  <a:cubicBezTo>
                    <a:pt x="0" y="71"/>
                    <a:pt x="0" y="39"/>
                    <a:pt x="20" y="20"/>
                  </a:cubicBezTo>
                  <a:cubicBezTo>
                    <a:pt x="39" y="0"/>
                    <a:pt x="71" y="0"/>
                    <a:pt x="91" y="20"/>
                  </a:cubicBezTo>
                  <a:cubicBezTo>
                    <a:pt x="110" y="39"/>
                    <a:pt x="110" y="71"/>
                    <a:pt x="91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272" name="Freeform 260">
              <a:extLst>
                <a:ext uri="{FF2B5EF4-FFF2-40B4-BE49-F238E27FC236}">
                  <a16:creationId xmlns:a16="http://schemas.microsoft.com/office/drawing/2014/main" id="{86605DBF-564B-490A-B79C-5B3EA40C7750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7925" y="3114675"/>
              <a:ext cx="9525" cy="9525"/>
            </a:xfrm>
            <a:custGeom>
              <a:avLst/>
              <a:gdLst>
                <a:gd name="T0" fmla="*/ 91 w 110"/>
                <a:gd name="T1" fmla="*/ 91 h 110"/>
                <a:gd name="T2" fmla="*/ 20 w 110"/>
                <a:gd name="T3" fmla="*/ 91 h 110"/>
                <a:gd name="T4" fmla="*/ 20 w 110"/>
                <a:gd name="T5" fmla="*/ 20 h 110"/>
                <a:gd name="T6" fmla="*/ 91 w 110"/>
                <a:gd name="T7" fmla="*/ 20 h 110"/>
                <a:gd name="T8" fmla="*/ 91 w 110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1" y="91"/>
                  </a:moveTo>
                  <a:cubicBezTo>
                    <a:pt x="71" y="110"/>
                    <a:pt x="39" y="110"/>
                    <a:pt x="20" y="91"/>
                  </a:cubicBezTo>
                  <a:cubicBezTo>
                    <a:pt x="0" y="71"/>
                    <a:pt x="0" y="39"/>
                    <a:pt x="20" y="20"/>
                  </a:cubicBezTo>
                  <a:cubicBezTo>
                    <a:pt x="39" y="0"/>
                    <a:pt x="71" y="0"/>
                    <a:pt x="91" y="20"/>
                  </a:cubicBezTo>
                  <a:cubicBezTo>
                    <a:pt x="110" y="39"/>
                    <a:pt x="110" y="71"/>
                    <a:pt x="91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273" name="Freeform 261">
              <a:extLst>
                <a:ext uri="{FF2B5EF4-FFF2-40B4-BE49-F238E27FC236}">
                  <a16:creationId xmlns:a16="http://schemas.microsoft.com/office/drawing/2014/main" id="{966A3AB0-1747-4B47-A39B-95D4C7CA14EA}"/>
                </a:ext>
              </a:extLst>
            </p:cNvPr>
            <p:cNvSpPr>
              <a:spLocks/>
            </p:cNvSpPr>
            <p:nvPr/>
          </p:nvSpPr>
          <p:spPr bwMode="auto">
            <a:xfrm>
              <a:off x="3781425" y="3114675"/>
              <a:ext cx="9525" cy="9525"/>
            </a:xfrm>
            <a:custGeom>
              <a:avLst/>
              <a:gdLst>
                <a:gd name="T0" fmla="*/ 91 w 110"/>
                <a:gd name="T1" fmla="*/ 91 h 110"/>
                <a:gd name="T2" fmla="*/ 20 w 110"/>
                <a:gd name="T3" fmla="*/ 91 h 110"/>
                <a:gd name="T4" fmla="*/ 20 w 110"/>
                <a:gd name="T5" fmla="*/ 20 h 110"/>
                <a:gd name="T6" fmla="*/ 91 w 110"/>
                <a:gd name="T7" fmla="*/ 20 h 110"/>
                <a:gd name="T8" fmla="*/ 91 w 110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1" y="91"/>
                  </a:moveTo>
                  <a:cubicBezTo>
                    <a:pt x="71" y="110"/>
                    <a:pt x="40" y="110"/>
                    <a:pt x="20" y="91"/>
                  </a:cubicBezTo>
                  <a:cubicBezTo>
                    <a:pt x="0" y="71"/>
                    <a:pt x="0" y="39"/>
                    <a:pt x="20" y="20"/>
                  </a:cubicBezTo>
                  <a:cubicBezTo>
                    <a:pt x="40" y="0"/>
                    <a:pt x="71" y="0"/>
                    <a:pt x="91" y="20"/>
                  </a:cubicBezTo>
                  <a:cubicBezTo>
                    <a:pt x="110" y="39"/>
                    <a:pt x="110" y="71"/>
                    <a:pt x="91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274" name="Freeform 262">
              <a:extLst>
                <a:ext uri="{FF2B5EF4-FFF2-40B4-BE49-F238E27FC236}">
                  <a16:creationId xmlns:a16="http://schemas.microsoft.com/office/drawing/2014/main" id="{C926CD92-DB1F-4CB2-8CF5-9220D1BAFC2E}"/>
                </a:ext>
              </a:extLst>
            </p:cNvPr>
            <p:cNvSpPr>
              <a:spLocks/>
            </p:cNvSpPr>
            <p:nvPr/>
          </p:nvSpPr>
          <p:spPr bwMode="auto">
            <a:xfrm>
              <a:off x="3781425" y="3114675"/>
              <a:ext cx="9525" cy="9525"/>
            </a:xfrm>
            <a:custGeom>
              <a:avLst/>
              <a:gdLst>
                <a:gd name="T0" fmla="*/ 91 w 110"/>
                <a:gd name="T1" fmla="*/ 91 h 110"/>
                <a:gd name="T2" fmla="*/ 20 w 110"/>
                <a:gd name="T3" fmla="*/ 91 h 110"/>
                <a:gd name="T4" fmla="*/ 20 w 110"/>
                <a:gd name="T5" fmla="*/ 20 h 110"/>
                <a:gd name="T6" fmla="*/ 91 w 110"/>
                <a:gd name="T7" fmla="*/ 20 h 110"/>
                <a:gd name="T8" fmla="*/ 91 w 110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1" y="91"/>
                  </a:moveTo>
                  <a:cubicBezTo>
                    <a:pt x="71" y="110"/>
                    <a:pt x="40" y="110"/>
                    <a:pt x="20" y="91"/>
                  </a:cubicBezTo>
                  <a:cubicBezTo>
                    <a:pt x="0" y="71"/>
                    <a:pt x="0" y="39"/>
                    <a:pt x="20" y="20"/>
                  </a:cubicBezTo>
                  <a:cubicBezTo>
                    <a:pt x="40" y="0"/>
                    <a:pt x="71" y="0"/>
                    <a:pt x="91" y="20"/>
                  </a:cubicBezTo>
                  <a:cubicBezTo>
                    <a:pt x="110" y="39"/>
                    <a:pt x="110" y="71"/>
                    <a:pt x="91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275" name="Oval 263">
              <a:extLst>
                <a:ext uri="{FF2B5EF4-FFF2-40B4-BE49-F238E27FC236}">
                  <a16:creationId xmlns:a16="http://schemas.microsoft.com/office/drawing/2014/main" id="{3172C91C-3111-446E-A111-A87E9BBE4D4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8750" y="3051175"/>
              <a:ext cx="9525" cy="9525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276" name="Oval 264">
              <a:extLst>
                <a:ext uri="{FF2B5EF4-FFF2-40B4-BE49-F238E27FC236}">
                  <a16:creationId xmlns:a16="http://schemas.microsoft.com/office/drawing/2014/main" id="{723C29CF-0271-4C4C-8174-2437E3CE85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8750" y="3051175"/>
              <a:ext cx="9525" cy="9525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277" name="Freeform 265">
              <a:extLst>
                <a:ext uri="{FF2B5EF4-FFF2-40B4-BE49-F238E27FC236}">
                  <a16:creationId xmlns:a16="http://schemas.microsoft.com/office/drawing/2014/main" id="{D0F30924-853B-45B6-92B1-30930461BA4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2250" y="3049588"/>
              <a:ext cx="11113" cy="11112"/>
            </a:xfrm>
            <a:custGeom>
              <a:avLst/>
              <a:gdLst>
                <a:gd name="T0" fmla="*/ 91 w 110"/>
                <a:gd name="T1" fmla="*/ 91 h 110"/>
                <a:gd name="T2" fmla="*/ 20 w 110"/>
                <a:gd name="T3" fmla="*/ 91 h 110"/>
                <a:gd name="T4" fmla="*/ 20 w 110"/>
                <a:gd name="T5" fmla="*/ 20 h 110"/>
                <a:gd name="T6" fmla="*/ 91 w 110"/>
                <a:gd name="T7" fmla="*/ 20 h 110"/>
                <a:gd name="T8" fmla="*/ 91 w 110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1" y="91"/>
                  </a:moveTo>
                  <a:cubicBezTo>
                    <a:pt x="71" y="110"/>
                    <a:pt x="39" y="110"/>
                    <a:pt x="20" y="91"/>
                  </a:cubicBezTo>
                  <a:cubicBezTo>
                    <a:pt x="0" y="71"/>
                    <a:pt x="0" y="39"/>
                    <a:pt x="20" y="20"/>
                  </a:cubicBezTo>
                  <a:cubicBezTo>
                    <a:pt x="39" y="0"/>
                    <a:pt x="71" y="0"/>
                    <a:pt x="91" y="20"/>
                  </a:cubicBezTo>
                  <a:cubicBezTo>
                    <a:pt x="110" y="39"/>
                    <a:pt x="110" y="71"/>
                    <a:pt x="91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278" name="Freeform 266">
              <a:extLst>
                <a:ext uri="{FF2B5EF4-FFF2-40B4-BE49-F238E27FC236}">
                  <a16:creationId xmlns:a16="http://schemas.microsoft.com/office/drawing/2014/main" id="{485C0AB6-F488-471F-A2A3-A46E51D38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2250" y="3049588"/>
              <a:ext cx="11113" cy="11112"/>
            </a:xfrm>
            <a:custGeom>
              <a:avLst/>
              <a:gdLst>
                <a:gd name="T0" fmla="*/ 91 w 110"/>
                <a:gd name="T1" fmla="*/ 91 h 110"/>
                <a:gd name="T2" fmla="*/ 20 w 110"/>
                <a:gd name="T3" fmla="*/ 91 h 110"/>
                <a:gd name="T4" fmla="*/ 20 w 110"/>
                <a:gd name="T5" fmla="*/ 20 h 110"/>
                <a:gd name="T6" fmla="*/ 91 w 110"/>
                <a:gd name="T7" fmla="*/ 20 h 110"/>
                <a:gd name="T8" fmla="*/ 91 w 110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1" y="91"/>
                  </a:moveTo>
                  <a:cubicBezTo>
                    <a:pt x="71" y="110"/>
                    <a:pt x="39" y="110"/>
                    <a:pt x="20" y="91"/>
                  </a:cubicBezTo>
                  <a:cubicBezTo>
                    <a:pt x="0" y="71"/>
                    <a:pt x="0" y="39"/>
                    <a:pt x="20" y="20"/>
                  </a:cubicBezTo>
                  <a:cubicBezTo>
                    <a:pt x="39" y="0"/>
                    <a:pt x="71" y="0"/>
                    <a:pt x="91" y="20"/>
                  </a:cubicBezTo>
                  <a:cubicBezTo>
                    <a:pt x="110" y="39"/>
                    <a:pt x="110" y="71"/>
                    <a:pt x="91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279" name="Freeform 267">
              <a:extLst>
                <a:ext uri="{FF2B5EF4-FFF2-40B4-BE49-F238E27FC236}">
                  <a16:creationId xmlns:a16="http://schemas.microsoft.com/office/drawing/2014/main" id="{AC4B7B01-AE79-49CE-AC43-3962974EA2C1}"/>
                </a:ext>
              </a:extLst>
            </p:cNvPr>
            <p:cNvSpPr>
              <a:spLocks/>
            </p:cNvSpPr>
            <p:nvPr/>
          </p:nvSpPr>
          <p:spPr bwMode="auto">
            <a:xfrm>
              <a:off x="2825750" y="3049588"/>
              <a:ext cx="11113" cy="11112"/>
            </a:xfrm>
            <a:custGeom>
              <a:avLst/>
              <a:gdLst>
                <a:gd name="T0" fmla="*/ 91 w 110"/>
                <a:gd name="T1" fmla="*/ 91 h 110"/>
                <a:gd name="T2" fmla="*/ 20 w 110"/>
                <a:gd name="T3" fmla="*/ 91 h 110"/>
                <a:gd name="T4" fmla="*/ 20 w 110"/>
                <a:gd name="T5" fmla="*/ 20 h 110"/>
                <a:gd name="T6" fmla="*/ 91 w 110"/>
                <a:gd name="T7" fmla="*/ 20 h 110"/>
                <a:gd name="T8" fmla="*/ 91 w 110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1" y="91"/>
                  </a:moveTo>
                  <a:cubicBezTo>
                    <a:pt x="71" y="110"/>
                    <a:pt x="39" y="110"/>
                    <a:pt x="20" y="91"/>
                  </a:cubicBezTo>
                  <a:cubicBezTo>
                    <a:pt x="0" y="71"/>
                    <a:pt x="0" y="39"/>
                    <a:pt x="20" y="20"/>
                  </a:cubicBezTo>
                  <a:cubicBezTo>
                    <a:pt x="39" y="0"/>
                    <a:pt x="71" y="0"/>
                    <a:pt x="91" y="20"/>
                  </a:cubicBezTo>
                  <a:cubicBezTo>
                    <a:pt x="110" y="39"/>
                    <a:pt x="110" y="71"/>
                    <a:pt x="91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280" name="Freeform 268">
              <a:extLst>
                <a:ext uri="{FF2B5EF4-FFF2-40B4-BE49-F238E27FC236}">
                  <a16:creationId xmlns:a16="http://schemas.microsoft.com/office/drawing/2014/main" id="{B3808FC8-847D-4DB1-B160-F15DD2B19870}"/>
                </a:ext>
              </a:extLst>
            </p:cNvPr>
            <p:cNvSpPr>
              <a:spLocks/>
            </p:cNvSpPr>
            <p:nvPr/>
          </p:nvSpPr>
          <p:spPr bwMode="auto">
            <a:xfrm>
              <a:off x="2825750" y="3049588"/>
              <a:ext cx="11113" cy="11112"/>
            </a:xfrm>
            <a:custGeom>
              <a:avLst/>
              <a:gdLst>
                <a:gd name="T0" fmla="*/ 91 w 110"/>
                <a:gd name="T1" fmla="*/ 91 h 110"/>
                <a:gd name="T2" fmla="*/ 20 w 110"/>
                <a:gd name="T3" fmla="*/ 91 h 110"/>
                <a:gd name="T4" fmla="*/ 20 w 110"/>
                <a:gd name="T5" fmla="*/ 20 h 110"/>
                <a:gd name="T6" fmla="*/ 91 w 110"/>
                <a:gd name="T7" fmla="*/ 20 h 110"/>
                <a:gd name="T8" fmla="*/ 91 w 110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1" y="91"/>
                  </a:moveTo>
                  <a:cubicBezTo>
                    <a:pt x="71" y="110"/>
                    <a:pt x="39" y="110"/>
                    <a:pt x="20" y="91"/>
                  </a:cubicBezTo>
                  <a:cubicBezTo>
                    <a:pt x="0" y="71"/>
                    <a:pt x="0" y="39"/>
                    <a:pt x="20" y="20"/>
                  </a:cubicBezTo>
                  <a:cubicBezTo>
                    <a:pt x="39" y="0"/>
                    <a:pt x="71" y="0"/>
                    <a:pt x="91" y="20"/>
                  </a:cubicBezTo>
                  <a:cubicBezTo>
                    <a:pt x="110" y="39"/>
                    <a:pt x="110" y="71"/>
                    <a:pt x="91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281" name="Freeform 269">
              <a:extLst>
                <a:ext uri="{FF2B5EF4-FFF2-40B4-BE49-F238E27FC236}">
                  <a16:creationId xmlns:a16="http://schemas.microsoft.com/office/drawing/2014/main" id="{F3C3B106-7C53-42CD-8FC3-15E81B339B66}"/>
                </a:ext>
              </a:extLst>
            </p:cNvPr>
            <p:cNvSpPr>
              <a:spLocks/>
            </p:cNvSpPr>
            <p:nvPr/>
          </p:nvSpPr>
          <p:spPr bwMode="auto">
            <a:xfrm>
              <a:off x="2890838" y="3051175"/>
              <a:ext cx="9525" cy="9525"/>
            </a:xfrm>
            <a:custGeom>
              <a:avLst/>
              <a:gdLst>
                <a:gd name="T0" fmla="*/ 51 w 101"/>
                <a:gd name="T1" fmla="*/ 100 h 100"/>
                <a:gd name="T2" fmla="*/ 0 w 101"/>
                <a:gd name="T3" fmla="*/ 50 h 100"/>
                <a:gd name="T4" fmla="*/ 51 w 101"/>
                <a:gd name="T5" fmla="*/ 0 h 100"/>
                <a:gd name="T6" fmla="*/ 101 w 101"/>
                <a:gd name="T7" fmla="*/ 50 h 100"/>
                <a:gd name="T8" fmla="*/ 51 w 101"/>
                <a:gd name="T9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" h="100">
                  <a:moveTo>
                    <a:pt x="51" y="100"/>
                  </a:moveTo>
                  <a:cubicBezTo>
                    <a:pt x="23" y="100"/>
                    <a:pt x="0" y="78"/>
                    <a:pt x="0" y="50"/>
                  </a:cubicBezTo>
                  <a:cubicBezTo>
                    <a:pt x="0" y="23"/>
                    <a:pt x="23" y="0"/>
                    <a:pt x="51" y="0"/>
                  </a:cubicBezTo>
                  <a:cubicBezTo>
                    <a:pt x="78" y="0"/>
                    <a:pt x="101" y="23"/>
                    <a:pt x="101" y="50"/>
                  </a:cubicBezTo>
                  <a:cubicBezTo>
                    <a:pt x="101" y="78"/>
                    <a:pt x="79" y="100"/>
                    <a:pt x="51" y="10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282" name="Freeform 270">
              <a:extLst>
                <a:ext uri="{FF2B5EF4-FFF2-40B4-BE49-F238E27FC236}">
                  <a16:creationId xmlns:a16="http://schemas.microsoft.com/office/drawing/2014/main" id="{8160A24C-469F-43B0-8D12-689B21B1BFB8}"/>
                </a:ext>
              </a:extLst>
            </p:cNvPr>
            <p:cNvSpPr>
              <a:spLocks/>
            </p:cNvSpPr>
            <p:nvPr/>
          </p:nvSpPr>
          <p:spPr bwMode="auto">
            <a:xfrm>
              <a:off x="2890838" y="3051175"/>
              <a:ext cx="9525" cy="9525"/>
            </a:xfrm>
            <a:custGeom>
              <a:avLst/>
              <a:gdLst>
                <a:gd name="T0" fmla="*/ 51 w 101"/>
                <a:gd name="T1" fmla="*/ 100 h 100"/>
                <a:gd name="T2" fmla="*/ 0 w 101"/>
                <a:gd name="T3" fmla="*/ 50 h 100"/>
                <a:gd name="T4" fmla="*/ 51 w 101"/>
                <a:gd name="T5" fmla="*/ 0 h 100"/>
                <a:gd name="T6" fmla="*/ 101 w 101"/>
                <a:gd name="T7" fmla="*/ 50 h 100"/>
                <a:gd name="T8" fmla="*/ 51 w 101"/>
                <a:gd name="T9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" h="100">
                  <a:moveTo>
                    <a:pt x="51" y="100"/>
                  </a:moveTo>
                  <a:cubicBezTo>
                    <a:pt x="23" y="100"/>
                    <a:pt x="0" y="78"/>
                    <a:pt x="0" y="50"/>
                  </a:cubicBezTo>
                  <a:cubicBezTo>
                    <a:pt x="0" y="23"/>
                    <a:pt x="23" y="0"/>
                    <a:pt x="51" y="0"/>
                  </a:cubicBezTo>
                  <a:cubicBezTo>
                    <a:pt x="78" y="0"/>
                    <a:pt x="101" y="23"/>
                    <a:pt x="101" y="50"/>
                  </a:cubicBezTo>
                  <a:cubicBezTo>
                    <a:pt x="101" y="78"/>
                    <a:pt x="79" y="100"/>
                    <a:pt x="51" y="10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283" name="Freeform 271">
              <a:extLst>
                <a:ext uri="{FF2B5EF4-FFF2-40B4-BE49-F238E27FC236}">
                  <a16:creationId xmlns:a16="http://schemas.microsoft.com/office/drawing/2014/main" id="{20A872D4-1ADE-4D9D-981E-1A9625D26977}"/>
                </a:ext>
              </a:extLst>
            </p:cNvPr>
            <p:cNvSpPr>
              <a:spLocks/>
            </p:cNvSpPr>
            <p:nvPr/>
          </p:nvSpPr>
          <p:spPr bwMode="auto">
            <a:xfrm>
              <a:off x="2952750" y="3049588"/>
              <a:ext cx="11113" cy="11112"/>
            </a:xfrm>
            <a:custGeom>
              <a:avLst/>
              <a:gdLst>
                <a:gd name="T0" fmla="*/ 91 w 110"/>
                <a:gd name="T1" fmla="*/ 90 h 110"/>
                <a:gd name="T2" fmla="*/ 20 w 110"/>
                <a:gd name="T3" fmla="*/ 90 h 110"/>
                <a:gd name="T4" fmla="*/ 20 w 110"/>
                <a:gd name="T5" fmla="*/ 19 h 110"/>
                <a:gd name="T6" fmla="*/ 91 w 110"/>
                <a:gd name="T7" fmla="*/ 19 h 110"/>
                <a:gd name="T8" fmla="*/ 91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1" y="90"/>
                  </a:moveTo>
                  <a:cubicBezTo>
                    <a:pt x="71" y="110"/>
                    <a:pt x="39" y="110"/>
                    <a:pt x="20" y="90"/>
                  </a:cubicBezTo>
                  <a:cubicBezTo>
                    <a:pt x="0" y="71"/>
                    <a:pt x="0" y="39"/>
                    <a:pt x="20" y="19"/>
                  </a:cubicBezTo>
                  <a:cubicBezTo>
                    <a:pt x="39" y="0"/>
                    <a:pt x="71" y="0"/>
                    <a:pt x="91" y="19"/>
                  </a:cubicBezTo>
                  <a:cubicBezTo>
                    <a:pt x="110" y="39"/>
                    <a:pt x="110" y="71"/>
                    <a:pt x="91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284" name="Freeform 272">
              <a:extLst>
                <a:ext uri="{FF2B5EF4-FFF2-40B4-BE49-F238E27FC236}">
                  <a16:creationId xmlns:a16="http://schemas.microsoft.com/office/drawing/2014/main" id="{58093552-2A9B-477C-AC6E-20C399A8A211}"/>
                </a:ext>
              </a:extLst>
            </p:cNvPr>
            <p:cNvSpPr>
              <a:spLocks/>
            </p:cNvSpPr>
            <p:nvPr/>
          </p:nvSpPr>
          <p:spPr bwMode="auto">
            <a:xfrm>
              <a:off x="2952750" y="3049588"/>
              <a:ext cx="11113" cy="11112"/>
            </a:xfrm>
            <a:custGeom>
              <a:avLst/>
              <a:gdLst>
                <a:gd name="T0" fmla="*/ 91 w 110"/>
                <a:gd name="T1" fmla="*/ 90 h 110"/>
                <a:gd name="T2" fmla="*/ 20 w 110"/>
                <a:gd name="T3" fmla="*/ 90 h 110"/>
                <a:gd name="T4" fmla="*/ 20 w 110"/>
                <a:gd name="T5" fmla="*/ 19 h 110"/>
                <a:gd name="T6" fmla="*/ 91 w 110"/>
                <a:gd name="T7" fmla="*/ 19 h 110"/>
                <a:gd name="T8" fmla="*/ 91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1" y="90"/>
                  </a:moveTo>
                  <a:cubicBezTo>
                    <a:pt x="71" y="110"/>
                    <a:pt x="39" y="110"/>
                    <a:pt x="20" y="90"/>
                  </a:cubicBezTo>
                  <a:cubicBezTo>
                    <a:pt x="0" y="71"/>
                    <a:pt x="0" y="39"/>
                    <a:pt x="20" y="19"/>
                  </a:cubicBezTo>
                  <a:cubicBezTo>
                    <a:pt x="39" y="0"/>
                    <a:pt x="71" y="0"/>
                    <a:pt x="91" y="19"/>
                  </a:cubicBezTo>
                  <a:cubicBezTo>
                    <a:pt x="110" y="39"/>
                    <a:pt x="110" y="71"/>
                    <a:pt x="91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285" name="Freeform 273">
              <a:extLst>
                <a:ext uri="{FF2B5EF4-FFF2-40B4-BE49-F238E27FC236}">
                  <a16:creationId xmlns:a16="http://schemas.microsoft.com/office/drawing/2014/main" id="{609E536A-BD29-4E99-87F8-69317A56336D}"/>
                </a:ext>
              </a:extLst>
            </p:cNvPr>
            <p:cNvSpPr>
              <a:spLocks/>
            </p:cNvSpPr>
            <p:nvPr/>
          </p:nvSpPr>
          <p:spPr bwMode="auto">
            <a:xfrm>
              <a:off x="3017838" y="3049588"/>
              <a:ext cx="9525" cy="11112"/>
            </a:xfrm>
            <a:custGeom>
              <a:avLst/>
              <a:gdLst>
                <a:gd name="T0" fmla="*/ 90 w 110"/>
                <a:gd name="T1" fmla="*/ 91 h 110"/>
                <a:gd name="T2" fmla="*/ 20 w 110"/>
                <a:gd name="T3" fmla="*/ 91 h 110"/>
                <a:gd name="T4" fmla="*/ 20 w 110"/>
                <a:gd name="T5" fmla="*/ 20 h 110"/>
                <a:gd name="T6" fmla="*/ 90 w 110"/>
                <a:gd name="T7" fmla="*/ 20 h 110"/>
                <a:gd name="T8" fmla="*/ 90 w 110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1"/>
                  </a:moveTo>
                  <a:cubicBezTo>
                    <a:pt x="71" y="110"/>
                    <a:pt x="39" y="110"/>
                    <a:pt x="20" y="91"/>
                  </a:cubicBezTo>
                  <a:cubicBezTo>
                    <a:pt x="0" y="71"/>
                    <a:pt x="0" y="39"/>
                    <a:pt x="20" y="20"/>
                  </a:cubicBezTo>
                  <a:cubicBezTo>
                    <a:pt x="39" y="0"/>
                    <a:pt x="71" y="0"/>
                    <a:pt x="90" y="20"/>
                  </a:cubicBezTo>
                  <a:cubicBezTo>
                    <a:pt x="110" y="39"/>
                    <a:pt x="110" y="71"/>
                    <a:pt x="90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286" name="Freeform 274">
              <a:extLst>
                <a:ext uri="{FF2B5EF4-FFF2-40B4-BE49-F238E27FC236}">
                  <a16:creationId xmlns:a16="http://schemas.microsoft.com/office/drawing/2014/main" id="{CD703C7D-1BB8-4D9C-87FB-2464A477E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3017838" y="3049588"/>
              <a:ext cx="9525" cy="11112"/>
            </a:xfrm>
            <a:custGeom>
              <a:avLst/>
              <a:gdLst>
                <a:gd name="T0" fmla="*/ 90 w 110"/>
                <a:gd name="T1" fmla="*/ 91 h 110"/>
                <a:gd name="T2" fmla="*/ 20 w 110"/>
                <a:gd name="T3" fmla="*/ 91 h 110"/>
                <a:gd name="T4" fmla="*/ 20 w 110"/>
                <a:gd name="T5" fmla="*/ 20 h 110"/>
                <a:gd name="T6" fmla="*/ 90 w 110"/>
                <a:gd name="T7" fmla="*/ 20 h 110"/>
                <a:gd name="T8" fmla="*/ 90 w 110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1"/>
                  </a:moveTo>
                  <a:cubicBezTo>
                    <a:pt x="71" y="110"/>
                    <a:pt x="39" y="110"/>
                    <a:pt x="20" y="91"/>
                  </a:cubicBezTo>
                  <a:cubicBezTo>
                    <a:pt x="0" y="71"/>
                    <a:pt x="0" y="39"/>
                    <a:pt x="20" y="20"/>
                  </a:cubicBezTo>
                  <a:cubicBezTo>
                    <a:pt x="39" y="0"/>
                    <a:pt x="71" y="0"/>
                    <a:pt x="90" y="20"/>
                  </a:cubicBezTo>
                  <a:cubicBezTo>
                    <a:pt x="110" y="39"/>
                    <a:pt x="110" y="71"/>
                    <a:pt x="90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287" name="Oval 275">
              <a:extLst>
                <a:ext uri="{FF2B5EF4-FFF2-40B4-BE49-F238E27FC236}">
                  <a16:creationId xmlns:a16="http://schemas.microsoft.com/office/drawing/2014/main" id="{B74D203B-C55E-4213-AB39-BB0C88C5B7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81338" y="3051175"/>
              <a:ext cx="9525" cy="9525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288" name="Oval 276">
              <a:extLst>
                <a:ext uri="{FF2B5EF4-FFF2-40B4-BE49-F238E27FC236}">
                  <a16:creationId xmlns:a16="http://schemas.microsoft.com/office/drawing/2014/main" id="{CB9D04FF-8DCF-4401-BF4D-1BC3BE9CF2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81338" y="3051175"/>
              <a:ext cx="9525" cy="9525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289" name="Freeform 277">
              <a:extLst>
                <a:ext uri="{FF2B5EF4-FFF2-40B4-BE49-F238E27FC236}">
                  <a16:creationId xmlns:a16="http://schemas.microsoft.com/office/drawing/2014/main" id="{35534E57-7270-4147-89C3-4ABB7F974D78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4838" y="3049588"/>
              <a:ext cx="9525" cy="11112"/>
            </a:xfrm>
            <a:custGeom>
              <a:avLst/>
              <a:gdLst>
                <a:gd name="T0" fmla="*/ 91 w 110"/>
                <a:gd name="T1" fmla="*/ 91 h 110"/>
                <a:gd name="T2" fmla="*/ 20 w 110"/>
                <a:gd name="T3" fmla="*/ 91 h 110"/>
                <a:gd name="T4" fmla="*/ 20 w 110"/>
                <a:gd name="T5" fmla="*/ 20 h 110"/>
                <a:gd name="T6" fmla="*/ 91 w 110"/>
                <a:gd name="T7" fmla="*/ 20 h 110"/>
                <a:gd name="T8" fmla="*/ 91 w 110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1" y="91"/>
                  </a:moveTo>
                  <a:cubicBezTo>
                    <a:pt x="71" y="110"/>
                    <a:pt x="40" y="110"/>
                    <a:pt x="20" y="91"/>
                  </a:cubicBezTo>
                  <a:cubicBezTo>
                    <a:pt x="0" y="71"/>
                    <a:pt x="0" y="39"/>
                    <a:pt x="20" y="20"/>
                  </a:cubicBezTo>
                  <a:cubicBezTo>
                    <a:pt x="40" y="0"/>
                    <a:pt x="71" y="0"/>
                    <a:pt x="91" y="20"/>
                  </a:cubicBezTo>
                  <a:cubicBezTo>
                    <a:pt x="110" y="39"/>
                    <a:pt x="110" y="71"/>
                    <a:pt x="91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290" name="Freeform 278">
              <a:extLst>
                <a:ext uri="{FF2B5EF4-FFF2-40B4-BE49-F238E27FC236}">
                  <a16:creationId xmlns:a16="http://schemas.microsoft.com/office/drawing/2014/main" id="{637714F5-20C3-4D49-9F3D-BE886F060A39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4838" y="3049588"/>
              <a:ext cx="9525" cy="11112"/>
            </a:xfrm>
            <a:custGeom>
              <a:avLst/>
              <a:gdLst>
                <a:gd name="T0" fmla="*/ 91 w 110"/>
                <a:gd name="T1" fmla="*/ 91 h 110"/>
                <a:gd name="T2" fmla="*/ 20 w 110"/>
                <a:gd name="T3" fmla="*/ 91 h 110"/>
                <a:gd name="T4" fmla="*/ 20 w 110"/>
                <a:gd name="T5" fmla="*/ 20 h 110"/>
                <a:gd name="T6" fmla="*/ 91 w 110"/>
                <a:gd name="T7" fmla="*/ 20 h 110"/>
                <a:gd name="T8" fmla="*/ 91 w 110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1" y="91"/>
                  </a:moveTo>
                  <a:cubicBezTo>
                    <a:pt x="71" y="110"/>
                    <a:pt x="40" y="110"/>
                    <a:pt x="20" y="91"/>
                  </a:cubicBezTo>
                  <a:cubicBezTo>
                    <a:pt x="0" y="71"/>
                    <a:pt x="0" y="39"/>
                    <a:pt x="20" y="20"/>
                  </a:cubicBezTo>
                  <a:cubicBezTo>
                    <a:pt x="40" y="0"/>
                    <a:pt x="71" y="0"/>
                    <a:pt x="91" y="20"/>
                  </a:cubicBezTo>
                  <a:cubicBezTo>
                    <a:pt x="110" y="39"/>
                    <a:pt x="110" y="71"/>
                    <a:pt x="91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291" name="Freeform 279">
              <a:extLst>
                <a:ext uri="{FF2B5EF4-FFF2-40B4-BE49-F238E27FC236}">
                  <a16:creationId xmlns:a16="http://schemas.microsoft.com/office/drawing/2014/main" id="{4EB5E203-B05E-4FF8-B05E-8DA7C94FCD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8338" y="3049588"/>
              <a:ext cx="9525" cy="11112"/>
            </a:xfrm>
            <a:custGeom>
              <a:avLst/>
              <a:gdLst>
                <a:gd name="T0" fmla="*/ 90 w 110"/>
                <a:gd name="T1" fmla="*/ 91 h 110"/>
                <a:gd name="T2" fmla="*/ 19 w 110"/>
                <a:gd name="T3" fmla="*/ 91 h 110"/>
                <a:gd name="T4" fmla="*/ 19 w 110"/>
                <a:gd name="T5" fmla="*/ 20 h 110"/>
                <a:gd name="T6" fmla="*/ 90 w 110"/>
                <a:gd name="T7" fmla="*/ 20 h 110"/>
                <a:gd name="T8" fmla="*/ 90 w 110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1"/>
                  </a:moveTo>
                  <a:cubicBezTo>
                    <a:pt x="70" y="110"/>
                    <a:pt x="39" y="110"/>
                    <a:pt x="19" y="91"/>
                  </a:cubicBezTo>
                  <a:cubicBezTo>
                    <a:pt x="0" y="71"/>
                    <a:pt x="0" y="39"/>
                    <a:pt x="19" y="20"/>
                  </a:cubicBezTo>
                  <a:cubicBezTo>
                    <a:pt x="39" y="0"/>
                    <a:pt x="70" y="0"/>
                    <a:pt x="90" y="20"/>
                  </a:cubicBezTo>
                  <a:cubicBezTo>
                    <a:pt x="110" y="39"/>
                    <a:pt x="110" y="71"/>
                    <a:pt x="90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292" name="Freeform 280">
              <a:extLst>
                <a:ext uri="{FF2B5EF4-FFF2-40B4-BE49-F238E27FC236}">
                  <a16:creationId xmlns:a16="http://schemas.microsoft.com/office/drawing/2014/main" id="{D3913FF1-7FD5-499B-A75A-6EE369A67A32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8338" y="3049588"/>
              <a:ext cx="9525" cy="11112"/>
            </a:xfrm>
            <a:custGeom>
              <a:avLst/>
              <a:gdLst>
                <a:gd name="T0" fmla="*/ 90 w 110"/>
                <a:gd name="T1" fmla="*/ 91 h 110"/>
                <a:gd name="T2" fmla="*/ 19 w 110"/>
                <a:gd name="T3" fmla="*/ 91 h 110"/>
                <a:gd name="T4" fmla="*/ 19 w 110"/>
                <a:gd name="T5" fmla="*/ 20 h 110"/>
                <a:gd name="T6" fmla="*/ 90 w 110"/>
                <a:gd name="T7" fmla="*/ 20 h 110"/>
                <a:gd name="T8" fmla="*/ 90 w 110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1"/>
                  </a:moveTo>
                  <a:cubicBezTo>
                    <a:pt x="70" y="110"/>
                    <a:pt x="39" y="110"/>
                    <a:pt x="19" y="91"/>
                  </a:cubicBezTo>
                  <a:cubicBezTo>
                    <a:pt x="0" y="71"/>
                    <a:pt x="0" y="39"/>
                    <a:pt x="19" y="20"/>
                  </a:cubicBezTo>
                  <a:cubicBezTo>
                    <a:pt x="39" y="0"/>
                    <a:pt x="70" y="0"/>
                    <a:pt x="90" y="20"/>
                  </a:cubicBezTo>
                  <a:cubicBezTo>
                    <a:pt x="110" y="39"/>
                    <a:pt x="110" y="71"/>
                    <a:pt x="90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293" name="Freeform 281">
              <a:extLst>
                <a:ext uri="{FF2B5EF4-FFF2-40B4-BE49-F238E27FC236}">
                  <a16:creationId xmlns:a16="http://schemas.microsoft.com/office/drawing/2014/main" id="{5CE635DA-2EDB-407E-BEB3-59B6AD4AA0A6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1838" y="3049588"/>
              <a:ext cx="11113" cy="11112"/>
            </a:xfrm>
            <a:custGeom>
              <a:avLst/>
              <a:gdLst>
                <a:gd name="T0" fmla="*/ 90 w 110"/>
                <a:gd name="T1" fmla="*/ 91 h 110"/>
                <a:gd name="T2" fmla="*/ 19 w 110"/>
                <a:gd name="T3" fmla="*/ 91 h 110"/>
                <a:gd name="T4" fmla="*/ 19 w 110"/>
                <a:gd name="T5" fmla="*/ 20 h 110"/>
                <a:gd name="T6" fmla="*/ 90 w 110"/>
                <a:gd name="T7" fmla="*/ 20 h 110"/>
                <a:gd name="T8" fmla="*/ 90 w 110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1"/>
                  </a:moveTo>
                  <a:cubicBezTo>
                    <a:pt x="71" y="110"/>
                    <a:pt x="39" y="110"/>
                    <a:pt x="19" y="91"/>
                  </a:cubicBezTo>
                  <a:cubicBezTo>
                    <a:pt x="0" y="71"/>
                    <a:pt x="0" y="39"/>
                    <a:pt x="19" y="20"/>
                  </a:cubicBezTo>
                  <a:cubicBezTo>
                    <a:pt x="39" y="0"/>
                    <a:pt x="71" y="0"/>
                    <a:pt x="90" y="20"/>
                  </a:cubicBezTo>
                  <a:cubicBezTo>
                    <a:pt x="110" y="39"/>
                    <a:pt x="110" y="71"/>
                    <a:pt x="90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294" name="Freeform 282">
              <a:extLst>
                <a:ext uri="{FF2B5EF4-FFF2-40B4-BE49-F238E27FC236}">
                  <a16:creationId xmlns:a16="http://schemas.microsoft.com/office/drawing/2014/main" id="{B17153BF-E7AF-4829-906B-277F2FBC55BE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1838" y="3049588"/>
              <a:ext cx="11113" cy="11112"/>
            </a:xfrm>
            <a:custGeom>
              <a:avLst/>
              <a:gdLst>
                <a:gd name="T0" fmla="*/ 90 w 110"/>
                <a:gd name="T1" fmla="*/ 91 h 110"/>
                <a:gd name="T2" fmla="*/ 19 w 110"/>
                <a:gd name="T3" fmla="*/ 91 h 110"/>
                <a:gd name="T4" fmla="*/ 19 w 110"/>
                <a:gd name="T5" fmla="*/ 20 h 110"/>
                <a:gd name="T6" fmla="*/ 90 w 110"/>
                <a:gd name="T7" fmla="*/ 20 h 110"/>
                <a:gd name="T8" fmla="*/ 90 w 110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1"/>
                  </a:moveTo>
                  <a:cubicBezTo>
                    <a:pt x="71" y="110"/>
                    <a:pt x="39" y="110"/>
                    <a:pt x="19" y="91"/>
                  </a:cubicBezTo>
                  <a:cubicBezTo>
                    <a:pt x="0" y="71"/>
                    <a:pt x="0" y="39"/>
                    <a:pt x="19" y="20"/>
                  </a:cubicBezTo>
                  <a:cubicBezTo>
                    <a:pt x="39" y="0"/>
                    <a:pt x="71" y="0"/>
                    <a:pt x="90" y="20"/>
                  </a:cubicBezTo>
                  <a:cubicBezTo>
                    <a:pt x="110" y="39"/>
                    <a:pt x="110" y="71"/>
                    <a:pt x="90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295" name="Freeform 283">
              <a:extLst>
                <a:ext uri="{FF2B5EF4-FFF2-40B4-BE49-F238E27FC236}">
                  <a16:creationId xmlns:a16="http://schemas.microsoft.com/office/drawing/2014/main" id="{BCA82CC5-3B6D-4BC2-A11E-ED045BBA9EAD}"/>
                </a:ext>
              </a:extLst>
            </p:cNvPr>
            <p:cNvSpPr>
              <a:spLocks/>
            </p:cNvSpPr>
            <p:nvPr/>
          </p:nvSpPr>
          <p:spPr bwMode="auto">
            <a:xfrm>
              <a:off x="3335338" y="3049588"/>
              <a:ext cx="11113" cy="11112"/>
            </a:xfrm>
            <a:custGeom>
              <a:avLst/>
              <a:gdLst>
                <a:gd name="T0" fmla="*/ 90 w 110"/>
                <a:gd name="T1" fmla="*/ 91 h 110"/>
                <a:gd name="T2" fmla="*/ 20 w 110"/>
                <a:gd name="T3" fmla="*/ 91 h 110"/>
                <a:gd name="T4" fmla="*/ 20 w 110"/>
                <a:gd name="T5" fmla="*/ 20 h 110"/>
                <a:gd name="T6" fmla="*/ 90 w 110"/>
                <a:gd name="T7" fmla="*/ 20 h 110"/>
                <a:gd name="T8" fmla="*/ 90 w 110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1"/>
                  </a:moveTo>
                  <a:cubicBezTo>
                    <a:pt x="71" y="110"/>
                    <a:pt x="39" y="110"/>
                    <a:pt x="20" y="91"/>
                  </a:cubicBezTo>
                  <a:cubicBezTo>
                    <a:pt x="0" y="71"/>
                    <a:pt x="0" y="39"/>
                    <a:pt x="20" y="20"/>
                  </a:cubicBezTo>
                  <a:cubicBezTo>
                    <a:pt x="39" y="0"/>
                    <a:pt x="71" y="0"/>
                    <a:pt x="90" y="20"/>
                  </a:cubicBezTo>
                  <a:cubicBezTo>
                    <a:pt x="110" y="39"/>
                    <a:pt x="110" y="71"/>
                    <a:pt x="90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296" name="Freeform 284">
              <a:extLst>
                <a:ext uri="{FF2B5EF4-FFF2-40B4-BE49-F238E27FC236}">
                  <a16:creationId xmlns:a16="http://schemas.microsoft.com/office/drawing/2014/main" id="{7792740F-5E5A-4EC5-BAF4-99EBF731C78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35338" y="3049588"/>
              <a:ext cx="11113" cy="11112"/>
            </a:xfrm>
            <a:custGeom>
              <a:avLst/>
              <a:gdLst>
                <a:gd name="T0" fmla="*/ 90 w 110"/>
                <a:gd name="T1" fmla="*/ 91 h 110"/>
                <a:gd name="T2" fmla="*/ 20 w 110"/>
                <a:gd name="T3" fmla="*/ 91 h 110"/>
                <a:gd name="T4" fmla="*/ 20 w 110"/>
                <a:gd name="T5" fmla="*/ 20 h 110"/>
                <a:gd name="T6" fmla="*/ 90 w 110"/>
                <a:gd name="T7" fmla="*/ 20 h 110"/>
                <a:gd name="T8" fmla="*/ 90 w 110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1"/>
                  </a:moveTo>
                  <a:cubicBezTo>
                    <a:pt x="71" y="110"/>
                    <a:pt x="39" y="110"/>
                    <a:pt x="20" y="91"/>
                  </a:cubicBezTo>
                  <a:cubicBezTo>
                    <a:pt x="0" y="71"/>
                    <a:pt x="0" y="39"/>
                    <a:pt x="20" y="20"/>
                  </a:cubicBezTo>
                  <a:cubicBezTo>
                    <a:pt x="39" y="0"/>
                    <a:pt x="71" y="0"/>
                    <a:pt x="90" y="20"/>
                  </a:cubicBezTo>
                  <a:cubicBezTo>
                    <a:pt x="110" y="39"/>
                    <a:pt x="110" y="71"/>
                    <a:pt x="90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297" name="Freeform 285">
              <a:extLst>
                <a:ext uri="{FF2B5EF4-FFF2-40B4-BE49-F238E27FC236}">
                  <a16:creationId xmlns:a16="http://schemas.microsoft.com/office/drawing/2014/main" id="{892E3481-876C-4C39-96F4-4791C50D708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8838" y="3049588"/>
              <a:ext cx="11113" cy="11112"/>
            </a:xfrm>
            <a:custGeom>
              <a:avLst/>
              <a:gdLst>
                <a:gd name="T0" fmla="*/ 91 w 110"/>
                <a:gd name="T1" fmla="*/ 91 h 110"/>
                <a:gd name="T2" fmla="*/ 20 w 110"/>
                <a:gd name="T3" fmla="*/ 91 h 110"/>
                <a:gd name="T4" fmla="*/ 20 w 110"/>
                <a:gd name="T5" fmla="*/ 20 h 110"/>
                <a:gd name="T6" fmla="*/ 91 w 110"/>
                <a:gd name="T7" fmla="*/ 20 h 110"/>
                <a:gd name="T8" fmla="*/ 91 w 110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1" y="91"/>
                  </a:moveTo>
                  <a:cubicBezTo>
                    <a:pt x="71" y="110"/>
                    <a:pt x="39" y="110"/>
                    <a:pt x="20" y="91"/>
                  </a:cubicBezTo>
                  <a:cubicBezTo>
                    <a:pt x="0" y="71"/>
                    <a:pt x="0" y="39"/>
                    <a:pt x="20" y="20"/>
                  </a:cubicBezTo>
                  <a:cubicBezTo>
                    <a:pt x="39" y="0"/>
                    <a:pt x="71" y="0"/>
                    <a:pt x="91" y="20"/>
                  </a:cubicBezTo>
                  <a:cubicBezTo>
                    <a:pt x="110" y="39"/>
                    <a:pt x="110" y="71"/>
                    <a:pt x="91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298" name="Freeform 286">
              <a:extLst>
                <a:ext uri="{FF2B5EF4-FFF2-40B4-BE49-F238E27FC236}">
                  <a16:creationId xmlns:a16="http://schemas.microsoft.com/office/drawing/2014/main" id="{A63CC6B6-9F84-4169-B1DA-5918F20D9BE3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8838" y="3049588"/>
              <a:ext cx="11113" cy="11112"/>
            </a:xfrm>
            <a:custGeom>
              <a:avLst/>
              <a:gdLst>
                <a:gd name="T0" fmla="*/ 91 w 110"/>
                <a:gd name="T1" fmla="*/ 91 h 110"/>
                <a:gd name="T2" fmla="*/ 20 w 110"/>
                <a:gd name="T3" fmla="*/ 91 h 110"/>
                <a:gd name="T4" fmla="*/ 20 w 110"/>
                <a:gd name="T5" fmla="*/ 20 h 110"/>
                <a:gd name="T6" fmla="*/ 91 w 110"/>
                <a:gd name="T7" fmla="*/ 20 h 110"/>
                <a:gd name="T8" fmla="*/ 91 w 110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1" y="91"/>
                  </a:moveTo>
                  <a:cubicBezTo>
                    <a:pt x="71" y="110"/>
                    <a:pt x="39" y="110"/>
                    <a:pt x="20" y="91"/>
                  </a:cubicBezTo>
                  <a:cubicBezTo>
                    <a:pt x="0" y="71"/>
                    <a:pt x="0" y="39"/>
                    <a:pt x="20" y="20"/>
                  </a:cubicBezTo>
                  <a:cubicBezTo>
                    <a:pt x="39" y="0"/>
                    <a:pt x="71" y="0"/>
                    <a:pt x="91" y="20"/>
                  </a:cubicBezTo>
                  <a:cubicBezTo>
                    <a:pt x="110" y="39"/>
                    <a:pt x="110" y="71"/>
                    <a:pt x="91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299" name="Freeform 287">
              <a:extLst>
                <a:ext uri="{FF2B5EF4-FFF2-40B4-BE49-F238E27FC236}">
                  <a16:creationId xmlns:a16="http://schemas.microsoft.com/office/drawing/2014/main" id="{6C830D3A-0206-41D4-8D77-03D94348A0C1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2338" y="3049588"/>
              <a:ext cx="11113" cy="11112"/>
            </a:xfrm>
            <a:custGeom>
              <a:avLst/>
              <a:gdLst>
                <a:gd name="T0" fmla="*/ 91 w 110"/>
                <a:gd name="T1" fmla="*/ 91 h 110"/>
                <a:gd name="T2" fmla="*/ 20 w 110"/>
                <a:gd name="T3" fmla="*/ 91 h 110"/>
                <a:gd name="T4" fmla="*/ 20 w 110"/>
                <a:gd name="T5" fmla="*/ 20 h 110"/>
                <a:gd name="T6" fmla="*/ 91 w 110"/>
                <a:gd name="T7" fmla="*/ 20 h 110"/>
                <a:gd name="T8" fmla="*/ 91 w 110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1" y="91"/>
                  </a:moveTo>
                  <a:cubicBezTo>
                    <a:pt x="71" y="110"/>
                    <a:pt x="40" y="110"/>
                    <a:pt x="20" y="91"/>
                  </a:cubicBezTo>
                  <a:cubicBezTo>
                    <a:pt x="0" y="71"/>
                    <a:pt x="0" y="39"/>
                    <a:pt x="20" y="20"/>
                  </a:cubicBezTo>
                  <a:cubicBezTo>
                    <a:pt x="40" y="0"/>
                    <a:pt x="71" y="0"/>
                    <a:pt x="91" y="20"/>
                  </a:cubicBezTo>
                  <a:cubicBezTo>
                    <a:pt x="110" y="39"/>
                    <a:pt x="110" y="71"/>
                    <a:pt x="91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300" name="Freeform 288">
              <a:extLst>
                <a:ext uri="{FF2B5EF4-FFF2-40B4-BE49-F238E27FC236}">
                  <a16:creationId xmlns:a16="http://schemas.microsoft.com/office/drawing/2014/main" id="{4B958274-7EF4-44EA-8349-5D38F7165807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2338" y="3049588"/>
              <a:ext cx="11113" cy="11112"/>
            </a:xfrm>
            <a:custGeom>
              <a:avLst/>
              <a:gdLst>
                <a:gd name="T0" fmla="*/ 91 w 110"/>
                <a:gd name="T1" fmla="*/ 91 h 110"/>
                <a:gd name="T2" fmla="*/ 20 w 110"/>
                <a:gd name="T3" fmla="*/ 91 h 110"/>
                <a:gd name="T4" fmla="*/ 20 w 110"/>
                <a:gd name="T5" fmla="*/ 20 h 110"/>
                <a:gd name="T6" fmla="*/ 91 w 110"/>
                <a:gd name="T7" fmla="*/ 20 h 110"/>
                <a:gd name="T8" fmla="*/ 91 w 110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1" y="91"/>
                  </a:moveTo>
                  <a:cubicBezTo>
                    <a:pt x="71" y="110"/>
                    <a:pt x="40" y="110"/>
                    <a:pt x="20" y="91"/>
                  </a:cubicBezTo>
                  <a:cubicBezTo>
                    <a:pt x="0" y="71"/>
                    <a:pt x="0" y="39"/>
                    <a:pt x="20" y="20"/>
                  </a:cubicBezTo>
                  <a:cubicBezTo>
                    <a:pt x="40" y="0"/>
                    <a:pt x="71" y="0"/>
                    <a:pt x="91" y="20"/>
                  </a:cubicBezTo>
                  <a:cubicBezTo>
                    <a:pt x="110" y="39"/>
                    <a:pt x="110" y="71"/>
                    <a:pt x="91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301" name="Freeform 289">
              <a:extLst>
                <a:ext uri="{FF2B5EF4-FFF2-40B4-BE49-F238E27FC236}">
                  <a16:creationId xmlns:a16="http://schemas.microsoft.com/office/drawing/2014/main" id="{3C0AB639-337F-4E2D-B065-7DC77E9CDDB4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5838" y="3049588"/>
              <a:ext cx="11113" cy="11112"/>
            </a:xfrm>
            <a:custGeom>
              <a:avLst/>
              <a:gdLst>
                <a:gd name="T0" fmla="*/ 91 w 110"/>
                <a:gd name="T1" fmla="*/ 90 h 110"/>
                <a:gd name="T2" fmla="*/ 20 w 110"/>
                <a:gd name="T3" fmla="*/ 90 h 110"/>
                <a:gd name="T4" fmla="*/ 20 w 110"/>
                <a:gd name="T5" fmla="*/ 19 h 110"/>
                <a:gd name="T6" fmla="*/ 91 w 110"/>
                <a:gd name="T7" fmla="*/ 19 h 110"/>
                <a:gd name="T8" fmla="*/ 91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1" y="90"/>
                  </a:moveTo>
                  <a:cubicBezTo>
                    <a:pt x="71" y="110"/>
                    <a:pt x="39" y="110"/>
                    <a:pt x="20" y="90"/>
                  </a:cubicBezTo>
                  <a:cubicBezTo>
                    <a:pt x="0" y="71"/>
                    <a:pt x="0" y="39"/>
                    <a:pt x="20" y="19"/>
                  </a:cubicBezTo>
                  <a:cubicBezTo>
                    <a:pt x="39" y="0"/>
                    <a:pt x="71" y="0"/>
                    <a:pt x="91" y="19"/>
                  </a:cubicBezTo>
                  <a:cubicBezTo>
                    <a:pt x="110" y="39"/>
                    <a:pt x="110" y="71"/>
                    <a:pt x="91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302" name="Freeform 290">
              <a:extLst>
                <a:ext uri="{FF2B5EF4-FFF2-40B4-BE49-F238E27FC236}">
                  <a16:creationId xmlns:a16="http://schemas.microsoft.com/office/drawing/2014/main" id="{6D0A3919-7C5C-4B8A-9E82-B81B41541DFA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5838" y="3049588"/>
              <a:ext cx="11113" cy="11112"/>
            </a:xfrm>
            <a:custGeom>
              <a:avLst/>
              <a:gdLst>
                <a:gd name="T0" fmla="*/ 91 w 110"/>
                <a:gd name="T1" fmla="*/ 90 h 110"/>
                <a:gd name="T2" fmla="*/ 20 w 110"/>
                <a:gd name="T3" fmla="*/ 90 h 110"/>
                <a:gd name="T4" fmla="*/ 20 w 110"/>
                <a:gd name="T5" fmla="*/ 19 h 110"/>
                <a:gd name="T6" fmla="*/ 91 w 110"/>
                <a:gd name="T7" fmla="*/ 19 h 110"/>
                <a:gd name="T8" fmla="*/ 91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1" y="90"/>
                  </a:moveTo>
                  <a:cubicBezTo>
                    <a:pt x="71" y="110"/>
                    <a:pt x="39" y="110"/>
                    <a:pt x="20" y="90"/>
                  </a:cubicBezTo>
                  <a:cubicBezTo>
                    <a:pt x="0" y="71"/>
                    <a:pt x="0" y="39"/>
                    <a:pt x="20" y="19"/>
                  </a:cubicBezTo>
                  <a:cubicBezTo>
                    <a:pt x="39" y="0"/>
                    <a:pt x="71" y="0"/>
                    <a:pt x="91" y="19"/>
                  </a:cubicBezTo>
                  <a:cubicBezTo>
                    <a:pt x="110" y="39"/>
                    <a:pt x="110" y="71"/>
                    <a:pt x="91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303" name="Freeform 291">
              <a:extLst>
                <a:ext uri="{FF2B5EF4-FFF2-40B4-BE49-F238E27FC236}">
                  <a16:creationId xmlns:a16="http://schemas.microsoft.com/office/drawing/2014/main" id="{6A639087-46B8-42B0-A2F5-12E5594DFEF4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0925" y="3049588"/>
              <a:ext cx="9525" cy="11112"/>
            </a:xfrm>
            <a:custGeom>
              <a:avLst/>
              <a:gdLst>
                <a:gd name="T0" fmla="*/ 90 w 110"/>
                <a:gd name="T1" fmla="*/ 91 h 110"/>
                <a:gd name="T2" fmla="*/ 19 w 110"/>
                <a:gd name="T3" fmla="*/ 91 h 110"/>
                <a:gd name="T4" fmla="*/ 19 w 110"/>
                <a:gd name="T5" fmla="*/ 20 h 110"/>
                <a:gd name="T6" fmla="*/ 90 w 110"/>
                <a:gd name="T7" fmla="*/ 20 h 110"/>
                <a:gd name="T8" fmla="*/ 90 w 110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1"/>
                  </a:moveTo>
                  <a:cubicBezTo>
                    <a:pt x="71" y="110"/>
                    <a:pt x="39" y="110"/>
                    <a:pt x="19" y="91"/>
                  </a:cubicBezTo>
                  <a:cubicBezTo>
                    <a:pt x="0" y="71"/>
                    <a:pt x="0" y="39"/>
                    <a:pt x="19" y="20"/>
                  </a:cubicBezTo>
                  <a:cubicBezTo>
                    <a:pt x="39" y="0"/>
                    <a:pt x="71" y="0"/>
                    <a:pt x="90" y="20"/>
                  </a:cubicBezTo>
                  <a:cubicBezTo>
                    <a:pt x="110" y="39"/>
                    <a:pt x="110" y="71"/>
                    <a:pt x="90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304" name="Freeform 292">
              <a:extLst>
                <a:ext uri="{FF2B5EF4-FFF2-40B4-BE49-F238E27FC236}">
                  <a16:creationId xmlns:a16="http://schemas.microsoft.com/office/drawing/2014/main" id="{3DBAB21C-053B-470D-9DED-28222B78509F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0925" y="3049588"/>
              <a:ext cx="9525" cy="11112"/>
            </a:xfrm>
            <a:custGeom>
              <a:avLst/>
              <a:gdLst>
                <a:gd name="T0" fmla="*/ 90 w 110"/>
                <a:gd name="T1" fmla="*/ 91 h 110"/>
                <a:gd name="T2" fmla="*/ 19 w 110"/>
                <a:gd name="T3" fmla="*/ 91 h 110"/>
                <a:gd name="T4" fmla="*/ 19 w 110"/>
                <a:gd name="T5" fmla="*/ 20 h 110"/>
                <a:gd name="T6" fmla="*/ 90 w 110"/>
                <a:gd name="T7" fmla="*/ 20 h 110"/>
                <a:gd name="T8" fmla="*/ 90 w 110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1"/>
                  </a:moveTo>
                  <a:cubicBezTo>
                    <a:pt x="71" y="110"/>
                    <a:pt x="39" y="110"/>
                    <a:pt x="19" y="91"/>
                  </a:cubicBezTo>
                  <a:cubicBezTo>
                    <a:pt x="0" y="71"/>
                    <a:pt x="0" y="39"/>
                    <a:pt x="19" y="20"/>
                  </a:cubicBezTo>
                  <a:cubicBezTo>
                    <a:pt x="39" y="0"/>
                    <a:pt x="71" y="0"/>
                    <a:pt x="90" y="20"/>
                  </a:cubicBezTo>
                  <a:cubicBezTo>
                    <a:pt x="110" y="39"/>
                    <a:pt x="110" y="71"/>
                    <a:pt x="90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305" name="Freeform 293">
              <a:extLst>
                <a:ext uri="{FF2B5EF4-FFF2-40B4-BE49-F238E27FC236}">
                  <a16:creationId xmlns:a16="http://schemas.microsoft.com/office/drawing/2014/main" id="{2C86DA9A-0BEC-4861-871B-5E0FE4EFD0ED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5" y="3049588"/>
              <a:ext cx="9525" cy="11112"/>
            </a:xfrm>
            <a:custGeom>
              <a:avLst/>
              <a:gdLst>
                <a:gd name="T0" fmla="*/ 90 w 110"/>
                <a:gd name="T1" fmla="*/ 91 h 110"/>
                <a:gd name="T2" fmla="*/ 20 w 110"/>
                <a:gd name="T3" fmla="*/ 91 h 110"/>
                <a:gd name="T4" fmla="*/ 20 w 110"/>
                <a:gd name="T5" fmla="*/ 20 h 110"/>
                <a:gd name="T6" fmla="*/ 90 w 110"/>
                <a:gd name="T7" fmla="*/ 20 h 110"/>
                <a:gd name="T8" fmla="*/ 90 w 110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1"/>
                  </a:moveTo>
                  <a:cubicBezTo>
                    <a:pt x="71" y="110"/>
                    <a:pt x="39" y="110"/>
                    <a:pt x="20" y="91"/>
                  </a:cubicBezTo>
                  <a:cubicBezTo>
                    <a:pt x="0" y="71"/>
                    <a:pt x="0" y="39"/>
                    <a:pt x="20" y="20"/>
                  </a:cubicBezTo>
                  <a:cubicBezTo>
                    <a:pt x="39" y="0"/>
                    <a:pt x="71" y="0"/>
                    <a:pt x="90" y="20"/>
                  </a:cubicBezTo>
                  <a:cubicBezTo>
                    <a:pt x="110" y="39"/>
                    <a:pt x="110" y="71"/>
                    <a:pt x="90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306" name="Freeform 294">
              <a:extLst>
                <a:ext uri="{FF2B5EF4-FFF2-40B4-BE49-F238E27FC236}">
                  <a16:creationId xmlns:a16="http://schemas.microsoft.com/office/drawing/2014/main" id="{29360912-B9CF-475F-914F-7A01CD08C1E6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5" y="3049588"/>
              <a:ext cx="9525" cy="11112"/>
            </a:xfrm>
            <a:custGeom>
              <a:avLst/>
              <a:gdLst>
                <a:gd name="T0" fmla="*/ 90 w 110"/>
                <a:gd name="T1" fmla="*/ 91 h 110"/>
                <a:gd name="T2" fmla="*/ 20 w 110"/>
                <a:gd name="T3" fmla="*/ 91 h 110"/>
                <a:gd name="T4" fmla="*/ 20 w 110"/>
                <a:gd name="T5" fmla="*/ 20 h 110"/>
                <a:gd name="T6" fmla="*/ 90 w 110"/>
                <a:gd name="T7" fmla="*/ 20 h 110"/>
                <a:gd name="T8" fmla="*/ 90 w 110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1"/>
                  </a:moveTo>
                  <a:cubicBezTo>
                    <a:pt x="71" y="110"/>
                    <a:pt x="39" y="110"/>
                    <a:pt x="20" y="91"/>
                  </a:cubicBezTo>
                  <a:cubicBezTo>
                    <a:pt x="0" y="71"/>
                    <a:pt x="0" y="39"/>
                    <a:pt x="20" y="20"/>
                  </a:cubicBezTo>
                  <a:cubicBezTo>
                    <a:pt x="39" y="0"/>
                    <a:pt x="71" y="0"/>
                    <a:pt x="90" y="20"/>
                  </a:cubicBezTo>
                  <a:cubicBezTo>
                    <a:pt x="110" y="39"/>
                    <a:pt x="110" y="71"/>
                    <a:pt x="90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307" name="Freeform 295">
              <a:extLst>
                <a:ext uri="{FF2B5EF4-FFF2-40B4-BE49-F238E27FC236}">
                  <a16:creationId xmlns:a16="http://schemas.microsoft.com/office/drawing/2014/main" id="{D60F7BF9-118C-4978-9DF7-33C2DF992E89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7925" y="3049588"/>
              <a:ext cx="9525" cy="11112"/>
            </a:xfrm>
            <a:custGeom>
              <a:avLst/>
              <a:gdLst>
                <a:gd name="T0" fmla="*/ 91 w 110"/>
                <a:gd name="T1" fmla="*/ 91 h 110"/>
                <a:gd name="T2" fmla="*/ 20 w 110"/>
                <a:gd name="T3" fmla="*/ 91 h 110"/>
                <a:gd name="T4" fmla="*/ 20 w 110"/>
                <a:gd name="T5" fmla="*/ 20 h 110"/>
                <a:gd name="T6" fmla="*/ 91 w 110"/>
                <a:gd name="T7" fmla="*/ 20 h 110"/>
                <a:gd name="T8" fmla="*/ 91 w 110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1" y="91"/>
                  </a:moveTo>
                  <a:cubicBezTo>
                    <a:pt x="71" y="110"/>
                    <a:pt x="39" y="110"/>
                    <a:pt x="20" y="91"/>
                  </a:cubicBezTo>
                  <a:cubicBezTo>
                    <a:pt x="0" y="71"/>
                    <a:pt x="0" y="39"/>
                    <a:pt x="20" y="20"/>
                  </a:cubicBezTo>
                  <a:cubicBezTo>
                    <a:pt x="39" y="0"/>
                    <a:pt x="71" y="0"/>
                    <a:pt x="91" y="20"/>
                  </a:cubicBezTo>
                  <a:cubicBezTo>
                    <a:pt x="110" y="39"/>
                    <a:pt x="110" y="71"/>
                    <a:pt x="91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308" name="Freeform 296">
              <a:extLst>
                <a:ext uri="{FF2B5EF4-FFF2-40B4-BE49-F238E27FC236}">
                  <a16:creationId xmlns:a16="http://schemas.microsoft.com/office/drawing/2014/main" id="{688BC59B-5E0C-4688-9730-0E6C2F0D9FEF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7925" y="3049588"/>
              <a:ext cx="9525" cy="11112"/>
            </a:xfrm>
            <a:custGeom>
              <a:avLst/>
              <a:gdLst>
                <a:gd name="T0" fmla="*/ 91 w 110"/>
                <a:gd name="T1" fmla="*/ 91 h 110"/>
                <a:gd name="T2" fmla="*/ 20 w 110"/>
                <a:gd name="T3" fmla="*/ 91 h 110"/>
                <a:gd name="T4" fmla="*/ 20 w 110"/>
                <a:gd name="T5" fmla="*/ 20 h 110"/>
                <a:gd name="T6" fmla="*/ 91 w 110"/>
                <a:gd name="T7" fmla="*/ 20 h 110"/>
                <a:gd name="T8" fmla="*/ 91 w 110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1" y="91"/>
                  </a:moveTo>
                  <a:cubicBezTo>
                    <a:pt x="71" y="110"/>
                    <a:pt x="39" y="110"/>
                    <a:pt x="20" y="91"/>
                  </a:cubicBezTo>
                  <a:cubicBezTo>
                    <a:pt x="0" y="71"/>
                    <a:pt x="0" y="39"/>
                    <a:pt x="20" y="20"/>
                  </a:cubicBezTo>
                  <a:cubicBezTo>
                    <a:pt x="39" y="0"/>
                    <a:pt x="71" y="0"/>
                    <a:pt x="91" y="20"/>
                  </a:cubicBezTo>
                  <a:cubicBezTo>
                    <a:pt x="110" y="39"/>
                    <a:pt x="110" y="71"/>
                    <a:pt x="91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309" name="Oval 297">
              <a:extLst>
                <a:ext uri="{FF2B5EF4-FFF2-40B4-BE49-F238E27FC236}">
                  <a16:creationId xmlns:a16="http://schemas.microsoft.com/office/drawing/2014/main" id="{417969EE-CAB6-436E-9B28-D39FC9E89C6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81425" y="3051175"/>
              <a:ext cx="9525" cy="9525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310" name="Oval 298">
              <a:extLst>
                <a:ext uri="{FF2B5EF4-FFF2-40B4-BE49-F238E27FC236}">
                  <a16:creationId xmlns:a16="http://schemas.microsoft.com/office/drawing/2014/main" id="{8D9F2D67-1C28-4FD3-B6E8-EEB00EA0CC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81425" y="3051175"/>
              <a:ext cx="9525" cy="9525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311" name="Freeform 299">
              <a:extLst>
                <a:ext uri="{FF2B5EF4-FFF2-40B4-BE49-F238E27FC236}">
                  <a16:creationId xmlns:a16="http://schemas.microsoft.com/office/drawing/2014/main" id="{6D8BBC93-14D1-4B53-9EDC-B9D68DC4EBDA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8750" y="2986088"/>
              <a:ext cx="11113" cy="11112"/>
            </a:xfrm>
            <a:custGeom>
              <a:avLst/>
              <a:gdLst>
                <a:gd name="T0" fmla="*/ 90 w 110"/>
                <a:gd name="T1" fmla="*/ 91 h 110"/>
                <a:gd name="T2" fmla="*/ 19 w 110"/>
                <a:gd name="T3" fmla="*/ 91 h 110"/>
                <a:gd name="T4" fmla="*/ 19 w 110"/>
                <a:gd name="T5" fmla="*/ 20 h 110"/>
                <a:gd name="T6" fmla="*/ 90 w 110"/>
                <a:gd name="T7" fmla="*/ 20 h 110"/>
                <a:gd name="T8" fmla="*/ 90 w 110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1"/>
                  </a:moveTo>
                  <a:cubicBezTo>
                    <a:pt x="71" y="110"/>
                    <a:pt x="39" y="110"/>
                    <a:pt x="19" y="91"/>
                  </a:cubicBezTo>
                  <a:cubicBezTo>
                    <a:pt x="0" y="71"/>
                    <a:pt x="0" y="39"/>
                    <a:pt x="19" y="20"/>
                  </a:cubicBezTo>
                  <a:cubicBezTo>
                    <a:pt x="39" y="0"/>
                    <a:pt x="71" y="0"/>
                    <a:pt x="90" y="20"/>
                  </a:cubicBezTo>
                  <a:cubicBezTo>
                    <a:pt x="110" y="39"/>
                    <a:pt x="110" y="71"/>
                    <a:pt x="90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312" name="Freeform 300">
              <a:extLst>
                <a:ext uri="{FF2B5EF4-FFF2-40B4-BE49-F238E27FC236}">
                  <a16:creationId xmlns:a16="http://schemas.microsoft.com/office/drawing/2014/main" id="{12E5521E-D164-416F-B157-B0960911245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8750" y="2986088"/>
              <a:ext cx="11113" cy="11112"/>
            </a:xfrm>
            <a:custGeom>
              <a:avLst/>
              <a:gdLst>
                <a:gd name="T0" fmla="*/ 90 w 110"/>
                <a:gd name="T1" fmla="*/ 91 h 110"/>
                <a:gd name="T2" fmla="*/ 19 w 110"/>
                <a:gd name="T3" fmla="*/ 91 h 110"/>
                <a:gd name="T4" fmla="*/ 19 w 110"/>
                <a:gd name="T5" fmla="*/ 20 h 110"/>
                <a:gd name="T6" fmla="*/ 90 w 110"/>
                <a:gd name="T7" fmla="*/ 20 h 110"/>
                <a:gd name="T8" fmla="*/ 90 w 110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1"/>
                  </a:moveTo>
                  <a:cubicBezTo>
                    <a:pt x="71" y="110"/>
                    <a:pt x="39" y="110"/>
                    <a:pt x="19" y="91"/>
                  </a:cubicBezTo>
                  <a:cubicBezTo>
                    <a:pt x="0" y="71"/>
                    <a:pt x="0" y="39"/>
                    <a:pt x="19" y="20"/>
                  </a:cubicBezTo>
                  <a:cubicBezTo>
                    <a:pt x="39" y="0"/>
                    <a:pt x="71" y="0"/>
                    <a:pt x="90" y="20"/>
                  </a:cubicBezTo>
                  <a:cubicBezTo>
                    <a:pt x="110" y="39"/>
                    <a:pt x="110" y="71"/>
                    <a:pt x="90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313" name="Oval 301">
              <a:extLst>
                <a:ext uri="{FF2B5EF4-FFF2-40B4-BE49-F238E27FC236}">
                  <a16:creationId xmlns:a16="http://schemas.microsoft.com/office/drawing/2014/main" id="{1E6086C4-847E-461E-A568-4206952E63B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62250" y="2987675"/>
              <a:ext cx="9525" cy="9525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314" name="Oval 302">
              <a:extLst>
                <a:ext uri="{FF2B5EF4-FFF2-40B4-BE49-F238E27FC236}">
                  <a16:creationId xmlns:a16="http://schemas.microsoft.com/office/drawing/2014/main" id="{D562552B-954E-4BBA-BA10-C486D39F616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62250" y="2987675"/>
              <a:ext cx="9525" cy="9525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315" name="Oval 303">
              <a:extLst>
                <a:ext uri="{FF2B5EF4-FFF2-40B4-BE49-F238E27FC236}">
                  <a16:creationId xmlns:a16="http://schemas.microsoft.com/office/drawing/2014/main" id="{8AAB738B-C0B2-40F0-80B8-6E25B7C2E49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25750" y="2987675"/>
              <a:ext cx="9525" cy="9525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316" name="Oval 304">
              <a:extLst>
                <a:ext uri="{FF2B5EF4-FFF2-40B4-BE49-F238E27FC236}">
                  <a16:creationId xmlns:a16="http://schemas.microsoft.com/office/drawing/2014/main" id="{305B7EF9-5072-4707-A0CB-BDE2EF26D7E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25750" y="2987675"/>
              <a:ext cx="9525" cy="9525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317" name="Freeform 305">
              <a:extLst>
                <a:ext uri="{FF2B5EF4-FFF2-40B4-BE49-F238E27FC236}">
                  <a16:creationId xmlns:a16="http://schemas.microsoft.com/office/drawing/2014/main" id="{7405F825-01EB-440D-9111-4D928DA80156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9250" y="2986088"/>
              <a:ext cx="11113" cy="11112"/>
            </a:xfrm>
            <a:custGeom>
              <a:avLst/>
              <a:gdLst>
                <a:gd name="T0" fmla="*/ 90 w 110"/>
                <a:gd name="T1" fmla="*/ 90 h 110"/>
                <a:gd name="T2" fmla="*/ 20 w 110"/>
                <a:gd name="T3" fmla="*/ 90 h 110"/>
                <a:gd name="T4" fmla="*/ 20 w 110"/>
                <a:gd name="T5" fmla="*/ 19 h 110"/>
                <a:gd name="T6" fmla="*/ 90 w 110"/>
                <a:gd name="T7" fmla="*/ 19 h 110"/>
                <a:gd name="T8" fmla="*/ 90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0"/>
                  </a:moveTo>
                  <a:cubicBezTo>
                    <a:pt x="71" y="110"/>
                    <a:pt x="39" y="110"/>
                    <a:pt x="20" y="90"/>
                  </a:cubicBezTo>
                  <a:cubicBezTo>
                    <a:pt x="0" y="70"/>
                    <a:pt x="0" y="39"/>
                    <a:pt x="20" y="19"/>
                  </a:cubicBezTo>
                  <a:cubicBezTo>
                    <a:pt x="39" y="0"/>
                    <a:pt x="71" y="0"/>
                    <a:pt x="90" y="19"/>
                  </a:cubicBezTo>
                  <a:cubicBezTo>
                    <a:pt x="110" y="39"/>
                    <a:pt x="110" y="70"/>
                    <a:pt x="90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318" name="Freeform 306">
              <a:extLst>
                <a:ext uri="{FF2B5EF4-FFF2-40B4-BE49-F238E27FC236}">
                  <a16:creationId xmlns:a16="http://schemas.microsoft.com/office/drawing/2014/main" id="{535190FB-6A02-40BC-9012-CE2DA4E48D6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9250" y="2986088"/>
              <a:ext cx="11113" cy="11112"/>
            </a:xfrm>
            <a:custGeom>
              <a:avLst/>
              <a:gdLst>
                <a:gd name="T0" fmla="*/ 90 w 110"/>
                <a:gd name="T1" fmla="*/ 90 h 110"/>
                <a:gd name="T2" fmla="*/ 20 w 110"/>
                <a:gd name="T3" fmla="*/ 90 h 110"/>
                <a:gd name="T4" fmla="*/ 20 w 110"/>
                <a:gd name="T5" fmla="*/ 19 h 110"/>
                <a:gd name="T6" fmla="*/ 90 w 110"/>
                <a:gd name="T7" fmla="*/ 19 h 110"/>
                <a:gd name="T8" fmla="*/ 90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0"/>
                  </a:moveTo>
                  <a:cubicBezTo>
                    <a:pt x="71" y="110"/>
                    <a:pt x="39" y="110"/>
                    <a:pt x="20" y="90"/>
                  </a:cubicBezTo>
                  <a:cubicBezTo>
                    <a:pt x="0" y="70"/>
                    <a:pt x="0" y="39"/>
                    <a:pt x="20" y="19"/>
                  </a:cubicBezTo>
                  <a:cubicBezTo>
                    <a:pt x="39" y="0"/>
                    <a:pt x="71" y="0"/>
                    <a:pt x="90" y="19"/>
                  </a:cubicBezTo>
                  <a:cubicBezTo>
                    <a:pt x="110" y="39"/>
                    <a:pt x="110" y="70"/>
                    <a:pt x="90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319" name="Freeform 307">
              <a:extLst>
                <a:ext uri="{FF2B5EF4-FFF2-40B4-BE49-F238E27FC236}">
                  <a16:creationId xmlns:a16="http://schemas.microsoft.com/office/drawing/2014/main" id="{E938E1EB-A6DB-48D6-9675-D661919F7A05}"/>
                </a:ext>
              </a:extLst>
            </p:cNvPr>
            <p:cNvSpPr>
              <a:spLocks/>
            </p:cNvSpPr>
            <p:nvPr/>
          </p:nvSpPr>
          <p:spPr bwMode="auto">
            <a:xfrm>
              <a:off x="2954338" y="2987675"/>
              <a:ext cx="9525" cy="9525"/>
            </a:xfrm>
            <a:custGeom>
              <a:avLst/>
              <a:gdLst>
                <a:gd name="T0" fmla="*/ 50 w 100"/>
                <a:gd name="T1" fmla="*/ 100 h 100"/>
                <a:gd name="T2" fmla="*/ 0 w 100"/>
                <a:gd name="T3" fmla="*/ 50 h 100"/>
                <a:gd name="T4" fmla="*/ 50 w 100"/>
                <a:gd name="T5" fmla="*/ 0 h 100"/>
                <a:gd name="T6" fmla="*/ 100 w 100"/>
                <a:gd name="T7" fmla="*/ 50 h 100"/>
                <a:gd name="T8" fmla="*/ 50 w 100"/>
                <a:gd name="T9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00">
                  <a:moveTo>
                    <a:pt x="50" y="100"/>
                  </a:moveTo>
                  <a:cubicBezTo>
                    <a:pt x="23" y="100"/>
                    <a:pt x="0" y="77"/>
                    <a:pt x="0" y="50"/>
                  </a:cubicBezTo>
                  <a:cubicBezTo>
                    <a:pt x="0" y="22"/>
                    <a:pt x="23" y="0"/>
                    <a:pt x="50" y="0"/>
                  </a:cubicBezTo>
                  <a:cubicBezTo>
                    <a:pt x="78" y="0"/>
                    <a:pt x="100" y="22"/>
                    <a:pt x="100" y="50"/>
                  </a:cubicBezTo>
                  <a:cubicBezTo>
                    <a:pt x="100" y="78"/>
                    <a:pt x="78" y="100"/>
                    <a:pt x="50" y="10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320" name="Freeform 308">
              <a:extLst>
                <a:ext uri="{FF2B5EF4-FFF2-40B4-BE49-F238E27FC236}">
                  <a16:creationId xmlns:a16="http://schemas.microsoft.com/office/drawing/2014/main" id="{15821400-7B59-4125-9C3D-88396DC882E7}"/>
                </a:ext>
              </a:extLst>
            </p:cNvPr>
            <p:cNvSpPr>
              <a:spLocks/>
            </p:cNvSpPr>
            <p:nvPr/>
          </p:nvSpPr>
          <p:spPr bwMode="auto">
            <a:xfrm>
              <a:off x="2954338" y="2987675"/>
              <a:ext cx="9525" cy="9525"/>
            </a:xfrm>
            <a:custGeom>
              <a:avLst/>
              <a:gdLst>
                <a:gd name="T0" fmla="*/ 50 w 100"/>
                <a:gd name="T1" fmla="*/ 100 h 100"/>
                <a:gd name="T2" fmla="*/ 0 w 100"/>
                <a:gd name="T3" fmla="*/ 50 h 100"/>
                <a:gd name="T4" fmla="*/ 50 w 100"/>
                <a:gd name="T5" fmla="*/ 0 h 100"/>
                <a:gd name="T6" fmla="*/ 100 w 100"/>
                <a:gd name="T7" fmla="*/ 50 h 100"/>
                <a:gd name="T8" fmla="*/ 50 w 100"/>
                <a:gd name="T9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00">
                  <a:moveTo>
                    <a:pt x="50" y="100"/>
                  </a:moveTo>
                  <a:cubicBezTo>
                    <a:pt x="23" y="100"/>
                    <a:pt x="0" y="77"/>
                    <a:pt x="0" y="50"/>
                  </a:cubicBezTo>
                  <a:cubicBezTo>
                    <a:pt x="0" y="22"/>
                    <a:pt x="23" y="0"/>
                    <a:pt x="50" y="0"/>
                  </a:cubicBezTo>
                  <a:cubicBezTo>
                    <a:pt x="78" y="0"/>
                    <a:pt x="100" y="22"/>
                    <a:pt x="100" y="50"/>
                  </a:cubicBezTo>
                  <a:cubicBezTo>
                    <a:pt x="100" y="78"/>
                    <a:pt x="78" y="100"/>
                    <a:pt x="50" y="10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321" name="Freeform 309">
              <a:extLst>
                <a:ext uri="{FF2B5EF4-FFF2-40B4-BE49-F238E27FC236}">
                  <a16:creationId xmlns:a16="http://schemas.microsoft.com/office/drawing/2014/main" id="{EAE12BAC-2F81-4409-BBC6-BAFDEEC3EE30}"/>
                </a:ext>
              </a:extLst>
            </p:cNvPr>
            <p:cNvSpPr>
              <a:spLocks/>
            </p:cNvSpPr>
            <p:nvPr/>
          </p:nvSpPr>
          <p:spPr bwMode="auto">
            <a:xfrm>
              <a:off x="3016250" y="2986088"/>
              <a:ext cx="11113" cy="11112"/>
            </a:xfrm>
            <a:custGeom>
              <a:avLst/>
              <a:gdLst>
                <a:gd name="T0" fmla="*/ 91 w 111"/>
                <a:gd name="T1" fmla="*/ 90 h 110"/>
                <a:gd name="T2" fmla="*/ 20 w 111"/>
                <a:gd name="T3" fmla="*/ 90 h 110"/>
                <a:gd name="T4" fmla="*/ 20 w 111"/>
                <a:gd name="T5" fmla="*/ 19 h 110"/>
                <a:gd name="T6" fmla="*/ 91 w 111"/>
                <a:gd name="T7" fmla="*/ 19 h 110"/>
                <a:gd name="T8" fmla="*/ 91 w 111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" h="110">
                  <a:moveTo>
                    <a:pt x="91" y="90"/>
                  </a:moveTo>
                  <a:cubicBezTo>
                    <a:pt x="71" y="110"/>
                    <a:pt x="40" y="110"/>
                    <a:pt x="20" y="90"/>
                  </a:cubicBezTo>
                  <a:cubicBezTo>
                    <a:pt x="0" y="70"/>
                    <a:pt x="0" y="39"/>
                    <a:pt x="20" y="19"/>
                  </a:cubicBezTo>
                  <a:cubicBezTo>
                    <a:pt x="40" y="0"/>
                    <a:pt x="71" y="0"/>
                    <a:pt x="91" y="19"/>
                  </a:cubicBezTo>
                  <a:cubicBezTo>
                    <a:pt x="111" y="39"/>
                    <a:pt x="111" y="70"/>
                    <a:pt x="91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322" name="Freeform 310">
              <a:extLst>
                <a:ext uri="{FF2B5EF4-FFF2-40B4-BE49-F238E27FC236}">
                  <a16:creationId xmlns:a16="http://schemas.microsoft.com/office/drawing/2014/main" id="{2FD7733C-201D-4C27-A777-1A68C519B361}"/>
                </a:ext>
              </a:extLst>
            </p:cNvPr>
            <p:cNvSpPr>
              <a:spLocks/>
            </p:cNvSpPr>
            <p:nvPr/>
          </p:nvSpPr>
          <p:spPr bwMode="auto">
            <a:xfrm>
              <a:off x="3016250" y="2986088"/>
              <a:ext cx="11113" cy="11112"/>
            </a:xfrm>
            <a:custGeom>
              <a:avLst/>
              <a:gdLst>
                <a:gd name="T0" fmla="*/ 91 w 111"/>
                <a:gd name="T1" fmla="*/ 90 h 110"/>
                <a:gd name="T2" fmla="*/ 20 w 111"/>
                <a:gd name="T3" fmla="*/ 90 h 110"/>
                <a:gd name="T4" fmla="*/ 20 w 111"/>
                <a:gd name="T5" fmla="*/ 19 h 110"/>
                <a:gd name="T6" fmla="*/ 91 w 111"/>
                <a:gd name="T7" fmla="*/ 19 h 110"/>
                <a:gd name="T8" fmla="*/ 91 w 111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" h="110">
                  <a:moveTo>
                    <a:pt x="91" y="90"/>
                  </a:moveTo>
                  <a:cubicBezTo>
                    <a:pt x="71" y="110"/>
                    <a:pt x="40" y="110"/>
                    <a:pt x="20" y="90"/>
                  </a:cubicBezTo>
                  <a:cubicBezTo>
                    <a:pt x="0" y="70"/>
                    <a:pt x="0" y="39"/>
                    <a:pt x="20" y="19"/>
                  </a:cubicBezTo>
                  <a:cubicBezTo>
                    <a:pt x="40" y="0"/>
                    <a:pt x="71" y="0"/>
                    <a:pt x="91" y="19"/>
                  </a:cubicBezTo>
                  <a:cubicBezTo>
                    <a:pt x="111" y="39"/>
                    <a:pt x="111" y="70"/>
                    <a:pt x="91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323" name="Freeform 311">
              <a:extLst>
                <a:ext uri="{FF2B5EF4-FFF2-40B4-BE49-F238E27FC236}">
                  <a16:creationId xmlns:a16="http://schemas.microsoft.com/office/drawing/2014/main" id="{A4DE08C9-42F7-4504-BF16-6D6B3B792DF6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1338" y="2986088"/>
              <a:ext cx="9525" cy="11112"/>
            </a:xfrm>
            <a:custGeom>
              <a:avLst/>
              <a:gdLst>
                <a:gd name="T0" fmla="*/ 91 w 110"/>
                <a:gd name="T1" fmla="*/ 90 h 110"/>
                <a:gd name="T2" fmla="*/ 20 w 110"/>
                <a:gd name="T3" fmla="*/ 90 h 110"/>
                <a:gd name="T4" fmla="*/ 20 w 110"/>
                <a:gd name="T5" fmla="*/ 20 h 110"/>
                <a:gd name="T6" fmla="*/ 91 w 110"/>
                <a:gd name="T7" fmla="*/ 20 h 110"/>
                <a:gd name="T8" fmla="*/ 91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1" y="90"/>
                  </a:moveTo>
                  <a:cubicBezTo>
                    <a:pt x="71" y="110"/>
                    <a:pt x="39" y="110"/>
                    <a:pt x="20" y="90"/>
                  </a:cubicBezTo>
                  <a:cubicBezTo>
                    <a:pt x="0" y="71"/>
                    <a:pt x="0" y="39"/>
                    <a:pt x="20" y="20"/>
                  </a:cubicBezTo>
                  <a:cubicBezTo>
                    <a:pt x="39" y="0"/>
                    <a:pt x="71" y="0"/>
                    <a:pt x="91" y="20"/>
                  </a:cubicBezTo>
                  <a:cubicBezTo>
                    <a:pt x="110" y="39"/>
                    <a:pt x="110" y="71"/>
                    <a:pt x="91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324" name="Freeform 312">
              <a:extLst>
                <a:ext uri="{FF2B5EF4-FFF2-40B4-BE49-F238E27FC236}">
                  <a16:creationId xmlns:a16="http://schemas.microsoft.com/office/drawing/2014/main" id="{582C1047-F7F6-46A8-80CA-70B9308C3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1338" y="2986088"/>
              <a:ext cx="9525" cy="11112"/>
            </a:xfrm>
            <a:custGeom>
              <a:avLst/>
              <a:gdLst>
                <a:gd name="T0" fmla="*/ 91 w 110"/>
                <a:gd name="T1" fmla="*/ 90 h 110"/>
                <a:gd name="T2" fmla="*/ 20 w 110"/>
                <a:gd name="T3" fmla="*/ 90 h 110"/>
                <a:gd name="T4" fmla="*/ 20 w 110"/>
                <a:gd name="T5" fmla="*/ 20 h 110"/>
                <a:gd name="T6" fmla="*/ 91 w 110"/>
                <a:gd name="T7" fmla="*/ 20 h 110"/>
                <a:gd name="T8" fmla="*/ 91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1" y="90"/>
                  </a:moveTo>
                  <a:cubicBezTo>
                    <a:pt x="71" y="110"/>
                    <a:pt x="39" y="110"/>
                    <a:pt x="20" y="90"/>
                  </a:cubicBezTo>
                  <a:cubicBezTo>
                    <a:pt x="0" y="71"/>
                    <a:pt x="0" y="39"/>
                    <a:pt x="20" y="20"/>
                  </a:cubicBezTo>
                  <a:cubicBezTo>
                    <a:pt x="39" y="0"/>
                    <a:pt x="71" y="0"/>
                    <a:pt x="91" y="20"/>
                  </a:cubicBezTo>
                  <a:cubicBezTo>
                    <a:pt x="110" y="39"/>
                    <a:pt x="110" y="71"/>
                    <a:pt x="91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325" name="Oval 313">
              <a:extLst>
                <a:ext uri="{FF2B5EF4-FFF2-40B4-BE49-F238E27FC236}">
                  <a16:creationId xmlns:a16="http://schemas.microsoft.com/office/drawing/2014/main" id="{A6B844B4-4BA0-45FC-B462-0BA72BEF51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44838" y="2987675"/>
              <a:ext cx="9525" cy="9525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326" name="Oval 314">
              <a:extLst>
                <a:ext uri="{FF2B5EF4-FFF2-40B4-BE49-F238E27FC236}">
                  <a16:creationId xmlns:a16="http://schemas.microsoft.com/office/drawing/2014/main" id="{87286A0A-2939-45FA-8286-127735A6D8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44838" y="2987675"/>
              <a:ext cx="9525" cy="9525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327" name="Freeform 315">
              <a:extLst>
                <a:ext uri="{FF2B5EF4-FFF2-40B4-BE49-F238E27FC236}">
                  <a16:creationId xmlns:a16="http://schemas.microsoft.com/office/drawing/2014/main" id="{A06596EB-7B1A-471F-BF8A-4320170C5967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8338" y="2986088"/>
              <a:ext cx="9525" cy="11112"/>
            </a:xfrm>
            <a:custGeom>
              <a:avLst/>
              <a:gdLst>
                <a:gd name="T0" fmla="*/ 90 w 110"/>
                <a:gd name="T1" fmla="*/ 90 h 110"/>
                <a:gd name="T2" fmla="*/ 19 w 110"/>
                <a:gd name="T3" fmla="*/ 90 h 110"/>
                <a:gd name="T4" fmla="*/ 19 w 110"/>
                <a:gd name="T5" fmla="*/ 20 h 110"/>
                <a:gd name="T6" fmla="*/ 90 w 110"/>
                <a:gd name="T7" fmla="*/ 20 h 110"/>
                <a:gd name="T8" fmla="*/ 90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0"/>
                  </a:moveTo>
                  <a:cubicBezTo>
                    <a:pt x="70" y="110"/>
                    <a:pt x="39" y="110"/>
                    <a:pt x="19" y="90"/>
                  </a:cubicBezTo>
                  <a:cubicBezTo>
                    <a:pt x="0" y="71"/>
                    <a:pt x="0" y="39"/>
                    <a:pt x="19" y="20"/>
                  </a:cubicBezTo>
                  <a:cubicBezTo>
                    <a:pt x="39" y="0"/>
                    <a:pt x="70" y="0"/>
                    <a:pt x="90" y="20"/>
                  </a:cubicBezTo>
                  <a:cubicBezTo>
                    <a:pt x="110" y="39"/>
                    <a:pt x="110" y="71"/>
                    <a:pt x="90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328" name="Freeform 316">
              <a:extLst>
                <a:ext uri="{FF2B5EF4-FFF2-40B4-BE49-F238E27FC236}">
                  <a16:creationId xmlns:a16="http://schemas.microsoft.com/office/drawing/2014/main" id="{6BC248B3-E560-48AB-BED2-E177948D70AB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8338" y="2986088"/>
              <a:ext cx="9525" cy="11112"/>
            </a:xfrm>
            <a:custGeom>
              <a:avLst/>
              <a:gdLst>
                <a:gd name="T0" fmla="*/ 90 w 110"/>
                <a:gd name="T1" fmla="*/ 90 h 110"/>
                <a:gd name="T2" fmla="*/ 19 w 110"/>
                <a:gd name="T3" fmla="*/ 90 h 110"/>
                <a:gd name="T4" fmla="*/ 19 w 110"/>
                <a:gd name="T5" fmla="*/ 20 h 110"/>
                <a:gd name="T6" fmla="*/ 90 w 110"/>
                <a:gd name="T7" fmla="*/ 20 h 110"/>
                <a:gd name="T8" fmla="*/ 90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0"/>
                  </a:moveTo>
                  <a:cubicBezTo>
                    <a:pt x="70" y="110"/>
                    <a:pt x="39" y="110"/>
                    <a:pt x="19" y="90"/>
                  </a:cubicBezTo>
                  <a:cubicBezTo>
                    <a:pt x="0" y="71"/>
                    <a:pt x="0" y="39"/>
                    <a:pt x="19" y="20"/>
                  </a:cubicBezTo>
                  <a:cubicBezTo>
                    <a:pt x="39" y="0"/>
                    <a:pt x="70" y="0"/>
                    <a:pt x="90" y="20"/>
                  </a:cubicBezTo>
                  <a:cubicBezTo>
                    <a:pt x="110" y="39"/>
                    <a:pt x="110" y="71"/>
                    <a:pt x="90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329" name="Freeform 317">
              <a:extLst>
                <a:ext uri="{FF2B5EF4-FFF2-40B4-BE49-F238E27FC236}">
                  <a16:creationId xmlns:a16="http://schemas.microsoft.com/office/drawing/2014/main" id="{D842D80A-76EC-445A-B3DF-B7A9E1681789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1838" y="2986088"/>
              <a:ext cx="11113" cy="11112"/>
            </a:xfrm>
            <a:custGeom>
              <a:avLst/>
              <a:gdLst>
                <a:gd name="T0" fmla="*/ 90 w 110"/>
                <a:gd name="T1" fmla="*/ 90 h 110"/>
                <a:gd name="T2" fmla="*/ 19 w 110"/>
                <a:gd name="T3" fmla="*/ 90 h 110"/>
                <a:gd name="T4" fmla="*/ 19 w 110"/>
                <a:gd name="T5" fmla="*/ 20 h 110"/>
                <a:gd name="T6" fmla="*/ 90 w 110"/>
                <a:gd name="T7" fmla="*/ 20 h 110"/>
                <a:gd name="T8" fmla="*/ 90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0"/>
                  </a:moveTo>
                  <a:cubicBezTo>
                    <a:pt x="71" y="110"/>
                    <a:pt x="39" y="110"/>
                    <a:pt x="19" y="90"/>
                  </a:cubicBezTo>
                  <a:cubicBezTo>
                    <a:pt x="0" y="71"/>
                    <a:pt x="0" y="39"/>
                    <a:pt x="19" y="20"/>
                  </a:cubicBezTo>
                  <a:cubicBezTo>
                    <a:pt x="39" y="0"/>
                    <a:pt x="71" y="0"/>
                    <a:pt x="90" y="20"/>
                  </a:cubicBezTo>
                  <a:cubicBezTo>
                    <a:pt x="110" y="39"/>
                    <a:pt x="110" y="71"/>
                    <a:pt x="90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330" name="Freeform 318">
              <a:extLst>
                <a:ext uri="{FF2B5EF4-FFF2-40B4-BE49-F238E27FC236}">
                  <a16:creationId xmlns:a16="http://schemas.microsoft.com/office/drawing/2014/main" id="{75AAA232-B241-4CB7-B0A4-241AB4BDD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1838" y="2986088"/>
              <a:ext cx="11113" cy="11112"/>
            </a:xfrm>
            <a:custGeom>
              <a:avLst/>
              <a:gdLst>
                <a:gd name="T0" fmla="*/ 90 w 110"/>
                <a:gd name="T1" fmla="*/ 90 h 110"/>
                <a:gd name="T2" fmla="*/ 19 w 110"/>
                <a:gd name="T3" fmla="*/ 90 h 110"/>
                <a:gd name="T4" fmla="*/ 19 w 110"/>
                <a:gd name="T5" fmla="*/ 20 h 110"/>
                <a:gd name="T6" fmla="*/ 90 w 110"/>
                <a:gd name="T7" fmla="*/ 20 h 110"/>
                <a:gd name="T8" fmla="*/ 90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0"/>
                  </a:moveTo>
                  <a:cubicBezTo>
                    <a:pt x="71" y="110"/>
                    <a:pt x="39" y="110"/>
                    <a:pt x="19" y="90"/>
                  </a:cubicBezTo>
                  <a:cubicBezTo>
                    <a:pt x="0" y="71"/>
                    <a:pt x="0" y="39"/>
                    <a:pt x="19" y="20"/>
                  </a:cubicBezTo>
                  <a:cubicBezTo>
                    <a:pt x="39" y="0"/>
                    <a:pt x="71" y="0"/>
                    <a:pt x="90" y="20"/>
                  </a:cubicBezTo>
                  <a:cubicBezTo>
                    <a:pt x="110" y="39"/>
                    <a:pt x="110" y="71"/>
                    <a:pt x="90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331" name="Freeform 319">
              <a:extLst>
                <a:ext uri="{FF2B5EF4-FFF2-40B4-BE49-F238E27FC236}">
                  <a16:creationId xmlns:a16="http://schemas.microsoft.com/office/drawing/2014/main" id="{68F94B54-DA4A-49EC-9FF0-2072E4424DA4}"/>
                </a:ext>
              </a:extLst>
            </p:cNvPr>
            <p:cNvSpPr>
              <a:spLocks/>
            </p:cNvSpPr>
            <p:nvPr/>
          </p:nvSpPr>
          <p:spPr bwMode="auto">
            <a:xfrm>
              <a:off x="3335338" y="2986088"/>
              <a:ext cx="11113" cy="11112"/>
            </a:xfrm>
            <a:custGeom>
              <a:avLst/>
              <a:gdLst>
                <a:gd name="T0" fmla="*/ 90 w 110"/>
                <a:gd name="T1" fmla="*/ 90 h 110"/>
                <a:gd name="T2" fmla="*/ 20 w 110"/>
                <a:gd name="T3" fmla="*/ 90 h 110"/>
                <a:gd name="T4" fmla="*/ 20 w 110"/>
                <a:gd name="T5" fmla="*/ 20 h 110"/>
                <a:gd name="T6" fmla="*/ 90 w 110"/>
                <a:gd name="T7" fmla="*/ 20 h 110"/>
                <a:gd name="T8" fmla="*/ 90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0"/>
                  </a:moveTo>
                  <a:cubicBezTo>
                    <a:pt x="71" y="110"/>
                    <a:pt x="39" y="110"/>
                    <a:pt x="20" y="90"/>
                  </a:cubicBezTo>
                  <a:cubicBezTo>
                    <a:pt x="0" y="71"/>
                    <a:pt x="0" y="39"/>
                    <a:pt x="20" y="20"/>
                  </a:cubicBezTo>
                  <a:cubicBezTo>
                    <a:pt x="39" y="0"/>
                    <a:pt x="71" y="0"/>
                    <a:pt x="90" y="20"/>
                  </a:cubicBezTo>
                  <a:cubicBezTo>
                    <a:pt x="110" y="39"/>
                    <a:pt x="110" y="71"/>
                    <a:pt x="90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332" name="Freeform 320">
              <a:extLst>
                <a:ext uri="{FF2B5EF4-FFF2-40B4-BE49-F238E27FC236}">
                  <a16:creationId xmlns:a16="http://schemas.microsoft.com/office/drawing/2014/main" id="{8F865C51-3DD0-43DE-9ACC-83B968335993}"/>
                </a:ext>
              </a:extLst>
            </p:cNvPr>
            <p:cNvSpPr>
              <a:spLocks/>
            </p:cNvSpPr>
            <p:nvPr/>
          </p:nvSpPr>
          <p:spPr bwMode="auto">
            <a:xfrm>
              <a:off x="3335338" y="2986088"/>
              <a:ext cx="11113" cy="11112"/>
            </a:xfrm>
            <a:custGeom>
              <a:avLst/>
              <a:gdLst>
                <a:gd name="T0" fmla="*/ 90 w 110"/>
                <a:gd name="T1" fmla="*/ 90 h 110"/>
                <a:gd name="T2" fmla="*/ 20 w 110"/>
                <a:gd name="T3" fmla="*/ 90 h 110"/>
                <a:gd name="T4" fmla="*/ 20 w 110"/>
                <a:gd name="T5" fmla="*/ 20 h 110"/>
                <a:gd name="T6" fmla="*/ 90 w 110"/>
                <a:gd name="T7" fmla="*/ 20 h 110"/>
                <a:gd name="T8" fmla="*/ 90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0"/>
                  </a:moveTo>
                  <a:cubicBezTo>
                    <a:pt x="71" y="110"/>
                    <a:pt x="39" y="110"/>
                    <a:pt x="20" y="90"/>
                  </a:cubicBezTo>
                  <a:cubicBezTo>
                    <a:pt x="0" y="71"/>
                    <a:pt x="0" y="39"/>
                    <a:pt x="20" y="20"/>
                  </a:cubicBezTo>
                  <a:cubicBezTo>
                    <a:pt x="39" y="0"/>
                    <a:pt x="71" y="0"/>
                    <a:pt x="90" y="20"/>
                  </a:cubicBezTo>
                  <a:cubicBezTo>
                    <a:pt x="110" y="39"/>
                    <a:pt x="110" y="71"/>
                    <a:pt x="90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333" name="Freeform 321">
              <a:extLst>
                <a:ext uri="{FF2B5EF4-FFF2-40B4-BE49-F238E27FC236}">
                  <a16:creationId xmlns:a16="http://schemas.microsoft.com/office/drawing/2014/main" id="{279406D4-EE84-4684-985F-9C8FB3D89B1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8838" y="2986088"/>
              <a:ext cx="11113" cy="11112"/>
            </a:xfrm>
            <a:custGeom>
              <a:avLst/>
              <a:gdLst>
                <a:gd name="T0" fmla="*/ 91 w 110"/>
                <a:gd name="T1" fmla="*/ 90 h 110"/>
                <a:gd name="T2" fmla="*/ 20 w 110"/>
                <a:gd name="T3" fmla="*/ 90 h 110"/>
                <a:gd name="T4" fmla="*/ 20 w 110"/>
                <a:gd name="T5" fmla="*/ 20 h 110"/>
                <a:gd name="T6" fmla="*/ 91 w 110"/>
                <a:gd name="T7" fmla="*/ 20 h 110"/>
                <a:gd name="T8" fmla="*/ 91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1" y="90"/>
                  </a:moveTo>
                  <a:cubicBezTo>
                    <a:pt x="71" y="110"/>
                    <a:pt x="39" y="110"/>
                    <a:pt x="20" y="90"/>
                  </a:cubicBezTo>
                  <a:cubicBezTo>
                    <a:pt x="0" y="71"/>
                    <a:pt x="0" y="39"/>
                    <a:pt x="20" y="20"/>
                  </a:cubicBezTo>
                  <a:cubicBezTo>
                    <a:pt x="39" y="0"/>
                    <a:pt x="71" y="0"/>
                    <a:pt x="91" y="20"/>
                  </a:cubicBezTo>
                  <a:cubicBezTo>
                    <a:pt x="110" y="39"/>
                    <a:pt x="110" y="71"/>
                    <a:pt x="91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334" name="Freeform 322">
              <a:extLst>
                <a:ext uri="{FF2B5EF4-FFF2-40B4-BE49-F238E27FC236}">
                  <a16:creationId xmlns:a16="http://schemas.microsoft.com/office/drawing/2014/main" id="{230802F2-92CF-420C-80D4-BF66FD4EFAF6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8838" y="2986088"/>
              <a:ext cx="11113" cy="11112"/>
            </a:xfrm>
            <a:custGeom>
              <a:avLst/>
              <a:gdLst>
                <a:gd name="T0" fmla="*/ 91 w 110"/>
                <a:gd name="T1" fmla="*/ 90 h 110"/>
                <a:gd name="T2" fmla="*/ 20 w 110"/>
                <a:gd name="T3" fmla="*/ 90 h 110"/>
                <a:gd name="T4" fmla="*/ 20 w 110"/>
                <a:gd name="T5" fmla="*/ 20 h 110"/>
                <a:gd name="T6" fmla="*/ 91 w 110"/>
                <a:gd name="T7" fmla="*/ 20 h 110"/>
                <a:gd name="T8" fmla="*/ 91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1" y="90"/>
                  </a:moveTo>
                  <a:cubicBezTo>
                    <a:pt x="71" y="110"/>
                    <a:pt x="39" y="110"/>
                    <a:pt x="20" y="90"/>
                  </a:cubicBezTo>
                  <a:cubicBezTo>
                    <a:pt x="0" y="71"/>
                    <a:pt x="0" y="39"/>
                    <a:pt x="20" y="20"/>
                  </a:cubicBezTo>
                  <a:cubicBezTo>
                    <a:pt x="39" y="0"/>
                    <a:pt x="71" y="0"/>
                    <a:pt x="91" y="20"/>
                  </a:cubicBezTo>
                  <a:cubicBezTo>
                    <a:pt x="110" y="39"/>
                    <a:pt x="110" y="71"/>
                    <a:pt x="91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335" name="Freeform 323">
              <a:extLst>
                <a:ext uri="{FF2B5EF4-FFF2-40B4-BE49-F238E27FC236}">
                  <a16:creationId xmlns:a16="http://schemas.microsoft.com/office/drawing/2014/main" id="{0A450045-207A-42ED-9FB4-80E2FB829021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2338" y="2986088"/>
              <a:ext cx="11113" cy="11112"/>
            </a:xfrm>
            <a:custGeom>
              <a:avLst/>
              <a:gdLst>
                <a:gd name="T0" fmla="*/ 90 w 110"/>
                <a:gd name="T1" fmla="*/ 91 h 111"/>
                <a:gd name="T2" fmla="*/ 20 w 110"/>
                <a:gd name="T3" fmla="*/ 91 h 111"/>
                <a:gd name="T4" fmla="*/ 20 w 110"/>
                <a:gd name="T5" fmla="*/ 20 h 111"/>
                <a:gd name="T6" fmla="*/ 90 w 110"/>
                <a:gd name="T7" fmla="*/ 20 h 111"/>
                <a:gd name="T8" fmla="*/ 90 w 110"/>
                <a:gd name="T9" fmla="*/ 9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1">
                  <a:moveTo>
                    <a:pt x="90" y="91"/>
                  </a:moveTo>
                  <a:cubicBezTo>
                    <a:pt x="71" y="111"/>
                    <a:pt x="39" y="111"/>
                    <a:pt x="20" y="91"/>
                  </a:cubicBezTo>
                  <a:cubicBezTo>
                    <a:pt x="0" y="71"/>
                    <a:pt x="0" y="40"/>
                    <a:pt x="20" y="20"/>
                  </a:cubicBezTo>
                  <a:cubicBezTo>
                    <a:pt x="39" y="0"/>
                    <a:pt x="71" y="0"/>
                    <a:pt x="90" y="20"/>
                  </a:cubicBezTo>
                  <a:cubicBezTo>
                    <a:pt x="110" y="40"/>
                    <a:pt x="110" y="71"/>
                    <a:pt x="90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336" name="Freeform 324">
              <a:extLst>
                <a:ext uri="{FF2B5EF4-FFF2-40B4-BE49-F238E27FC236}">
                  <a16:creationId xmlns:a16="http://schemas.microsoft.com/office/drawing/2014/main" id="{FF017CA5-E8DC-4936-A317-D49BD8A33D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2338" y="2986088"/>
              <a:ext cx="11113" cy="11112"/>
            </a:xfrm>
            <a:custGeom>
              <a:avLst/>
              <a:gdLst>
                <a:gd name="T0" fmla="*/ 90 w 110"/>
                <a:gd name="T1" fmla="*/ 91 h 111"/>
                <a:gd name="T2" fmla="*/ 20 w 110"/>
                <a:gd name="T3" fmla="*/ 91 h 111"/>
                <a:gd name="T4" fmla="*/ 20 w 110"/>
                <a:gd name="T5" fmla="*/ 20 h 111"/>
                <a:gd name="T6" fmla="*/ 90 w 110"/>
                <a:gd name="T7" fmla="*/ 20 h 111"/>
                <a:gd name="T8" fmla="*/ 90 w 110"/>
                <a:gd name="T9" fmla="*/ 9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1">
                  <a:moveTo>
                    <a:pt x="90" y="91"/>
                  </a:moveTo>
                  <a:cubicBezTo>
                    <a:pt x="71" y="111"/>
                    <a:pt x="39" y="111"/>
                    <a:pt x="20" y="91"/>
                  </a:cubicBezTo>
                  <a:cubicBezTo>
                    <a:pt x="0" y="71"/>
                    <a:pt x="0" y="40"/>
                    <a:pt x="20" y="20"/>
                  </a:cubicBezTo>
                  <a:cubicBezTo>
                    <a:pt x="39" y="0"/>
                    <a:pt x="71" y="0"/>
                    <a:pt x="90" y="20"/>
                  </a:cubicBezTo>
                  <a:cubicBezTo>
                    <a:pt x="110" y="40"/>
                    <a:pt x="110" y="71"/>
                    <a:pt x="90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337" name="Freeform 325">
              <a:extLst>
                <a:ext uri="{FF2B5EF4-FFF2-40B4-BE49-F238E27FC236}">
                  <a16:creationId xmlns:a16="http://schemas.microsoft.com/office/drawing/2014/main" id="{F5B9A052-E6B4-4C5D-9A40-73F97E45B44B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5838" y="2986088"/>
              <a:ext cx="11113" cy="11112"/>
            </a:xfrm>
            <a:custGeom>
              <a:avLst/>
              <a:gdLst>
                <a:gd name="T0" fmla="*/ 91 w 110"/>
                <a:gd name="T1" fmla="*/ 91 h 111"/>
                <a:gd name="T2" fmla="*/ 20 w 110"/>
                <a:gd name="T3" fmla="*/ 91 h 111"/>
                <a:gd name="T4" fmla="*/ 20 w 110"/>
                <a:gd name="T5" fmla="*/ 20 h 111"/>
                <a:gd name="T6" fmla="*/ 91 w 110"/>
                <a:gd name="T7" fmla="*/ 20 h 111"/>
                <a:gd name="T8" fmla="*/ 91 w 110"/>
                <a:gd name="T9" fmla="*/ 9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1">
                  <a:moveTo>
                    <a:pt x="91" y="91"/>
                  </a:moveTo>
                  <a:cubicBezTo>
                    <a:pt x="71" y="111"/>
                    <a:pt x="39" y="111"/>
                    <a:pt x="20" y="91"/>
                  </a:cubicBezTo>
                  <a:cubicBezTo>
                    <a:pt x="0" y="71"/>
                    <a:pt x="0" y="40"/>
                    <a:pt x="20" y="20"/>
                  </a:cubicBezTo>
                  <a:cubicBezTo>
                    <a:pt x="39" y="0"/>
                    <a:pt x="71" y="0"/>
                    <a:pt x="91" y="20"/>
                  </a:cubicBezTo>
                  <a:cubicBezTo>
                    <a:pt x="110" y="40"/>
                    <a:pt x="110" y="71"/>
                    <a:pt x="91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338" name="Freeform 326">
              <a:extLst>
                <a:ext uri="{FF2B5EF4-FFF2-40B4-BE49-F238E27FC236}">
                  <a16:creationId xmlns:a16="http://schemas.microsoft.com/office/drawing/2014/main" id="{EE7D6F59-8B15-4573-AF6D-BAD15307F3BA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5838" y="2986088"/>
              <a:ext cx="11113" cy="11112"/>
            </a:xfrm>
            <a:custGeom>
              <a:avLst/>
              <a:gdLst>
                <a:gd name="T0" fmla="*/ 91 w 110"/>
                <a:gd name="T1" fmla="*/ 91 h 111"/>
                <a:gd name="T2" fmla="*/ 20 w 110"/>
                <a:gd name="T3" fmla="*/ 91 h 111"/>
                <a:gd name="T4" fmla="*/ 20 w 110"/>
                <a:gd name="T5" fmla="*/ 20 h 111"/>
                <a:gd name="T6" fmla="*/ 91 w 110"/>
                <a:gd name="T7" fmla="*/ 20 h 111"/>
                <a:gd name="T8" fmla="*/ 91 w 110"/>
                <a:gd name="T9" fmla="*/ 9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1">
                  <a:moveTo>
                    <a:pt x="91" y="91"/>
                  </a:moveTo>
                  <a:cubicBezTo>
                    <a:pt x="71" y="111"/>
                    <a:pt x="39" y="111"/>
                    <a:pt x="20" y="91"/>
                  </a:cubicBezTo>
                  <a:cubicBezTo>
                    <a:pt x="0" y="71"/>
                    <a:pt x="0" y="40"/>
                    <a:pt x="20" y="20"/>
                  </a:cubicBezTo>
                  <a:cubicBezTo>
                    <a:pt x="39" y="0"/>
                    <a:pt x="71" y="0"/>
                    <a:pt x="91" y="20"/>
                  </a:cubicBezTo>
                  <a:cubicBezTo>
                    <a:pt x="110" y="40"/>
                    <a:pt x="110" y="71"/>
                    <a:pt x="91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339" name="Freeform 327">
              <a:extLst>
                <a:ext uri="{FF2B5EF4-FFF2-40B4-BE49-F238E27FC236}">
                  <a16:creationId xmlns:a16="http://schemas.microsoft.com/office/drawing/2014/main" id="{F33013AC-6DFB-4C60-9AAA-3E4EBE09F78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89338" y="2986088"/>
              <a:ext cx="11113" cy="11112"/>
            </a:xfrm>
            <a:custGeom>
              <a:avLst/>
              <a:gdLst>
                <a:gd name="T0" fmla="*/ 91 w 110"/>
                <a:gd name="T1" fmla="*/ 91 h 110"/>
                <a:gd name="T2" fmla="*/ 20 w 110"/>
                <a:gd name="T3" fmla="*/ 91 h 110"/>
                <a:gd name="T4" fmla="*/ 20 w 110"/>
                <a:gd name="T5" fmla="*/ 20 h 110"/>
                <a:gd name="T6" fmla="*/ 91 w 110"/>
                <a:gd name="T7" fmla="*/ 20 h 110"/>
                <a:gd name="T8" fmla="*/ 91 w 110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1" y="91"/>
                  </a:moveTo>
                  <a:cubicBezTo>
                    <a:pt x="71" y="110"/>
                    <a:pt x="40" y="110"/>
                    <a:pt x="20" y="91"/>
                  </a:cubicBezTo>
                  <a:cubicBezTo>
                    <a:pt x="0" y="71"/>
                    <a:pt x="0" y="40"/>
                    <a:pt x="20" y="20"/>
                  </a:cubicBezTo>
                  <a:cubicBezTo>
                    <a:pt x="40" y="0"/>
                    <a:pt x="71" y="0"/>
                    <a:pt x="91" y="20"/>
                  </a:cubicBezTo>
                  <a:cubicBezTo>
                    <a:pt x="110" y="40"/>
                    <a:pt x="110" y="71"/>
                    <a:pt x="91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340" name="Freeform 328">
              <a:extLst>
                <a:ext uri="{FF2B5EF4-FFF2-40B4-BE49-F238E27FC236}">
                  <a16:creationId xmlns:a16="http://schemas.microsoft.com/office/drawing/2014/main" id="{9157A2D8-4A00-4D63-8CA0-8B8B287B9706}"/>
                </a:ext>
              </a:extLst>
            </p:cNvPr>
            <p:cNvSpPr>
              <a:spLocks/>
            </p:cNvSpPr>
            <p:nvPr/>
          </p:nvSpPr>
          <p:spPr bwMode="auto">
            <a:xfrm>
              <a:off x="3589338" y="2986088"/>
              <a:ext cx="11113" cy="11112"/>
            </a:xfrm>
            <a:custGeom>
              <a:avLst/>
              <a:gdLst>
                <a:gd name="T0" fmla="*/ 91 w 110"/>
                <a:gd name="T1" fmla="*/ 91 h 110"/>
                <a:gd name="T2" fmla="*/ 20 w 110"/>
                <a:gd name="T3" fmla="*/ 91 h 110"/>
                <a:gd name="T4" fmla="*/ 20 w 110"/>
                <a:gd name="T5" fmla="*/ 20 h 110"/>
                <a:gd name="T6" fmla="*/ 91 w 110"/>
                <a:gd name="T7" fmla="*/ 20 h 110"/>
                <a:gd name="T8" fmla="*/ 91 w 110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1" y="91"/>
                  </a:moveTo>
                  <a:cubicBezTo>
                    <a:pt x="71" y="110"/>
                    <a:pt x="40" y="110"/>
                    <a:pt x="20" y="91"/>
                  </a:cubicBezTo>
                  <a:cubicBezTo>
                    <a:pt x="0" y="71"/>
                    <a:pt x="0" y="40"/>
                    <a:pt x="20" y="20"/>
                  </a:cubicBezTo>
                  <a:cubicBezTo>
                    <a:pt x="40" y="0"/>
                    <a:pt x="71" y="0"/>
                    <a:pt x="91" y="20"/>
                  </a:cubicBezTo>
                  <a:cubicBezTo>
                    <a:pt x="110" y="40"/>
                    <a:pt x="110" y="71"/>
                    <a:pt x="91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341" name="Freeform 329">
              <a:extLst>
                <a:ext uri="{FF2B5EF4-FFF2-40B4-BE49-F238E27FC236}">
                  <a16:creationId xmlns:a16="http://schemas.microsoft.com/office/drawing/2014/main" id="{533F1B32-60E4-4B22-A1BF-FA83D1AED265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5" y="2986088"/>
              <a:ext cx="9525" cy="11112"/>
            </a:xfrm>
            <a:custGeom>
              <a:avLst/>
              <a:gdLst>
                <a:gd name="T0" fmla="*/ 91 w 110"/>
                <a:gd name="T1" fmla="*/ 90 h 110"/>
                <a:gd name="T2" fmla="*/ 20 w 110"/>
                <a:gd name="T3" fmla="*/ 90 h 110"/>
                <a:gd name="T4" fmla="*/ 20 w 110"/>
                <a:gd name="T5" fmla="*/ 19 h 110"/>
                <a:gd name="T6" fmla="*/ 91 w 110"/>
                <a:gd name="T7" fmla="*/ 19 h 110"/>
                <a:gd name="T8" fmla="*/ 91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1" y="90"/>
                  </a:moveTo>
                  <a:cubicBezTo>
                    <a:pt x="71" y="110"/>
                    <a:pt x="39" y="110"/>
                    <a:pt x="20" y="90"/>
                  </a:cubicBezTo>
                  <a:cubicBezTo>
                    <a:pt x="0" y="71"/>
                    <a:pt x="0" y="39"/>
                    <a:pt x="20" y="19"/>
                  </a:cubicBezTo>
                  <a:cubicBezTo>
                    <a:pt x="39" y="0"/>
                    <a:pt x="71" y="0"/>
                    <a:pt x="91" y="19"/>
                  </a:cubicBezTo>
                  <a:cubicBezTo>
                    <a:pt x="110" y="39"/>
                    <a:pt x="110" y="71"/>
                    <a:pt x="91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342" name="Freeform 330">
              <a:extLst>
                <a:ext uri="{FF2B5EF4-FFF2-40B4-BE49-F238E27FC236}">
                  <a16:creationId xmlns:a16="http://schemas.microsoft.com/office/drawing/2014/main" id="{3B90559F-5457-4B75-903A-2F07D71213F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5" y="2986088"/>
              <a:ext cx="9525" cy="11112"/>
            </a:xfrm>
            <a:custGeom>
              <a:avLst/>
              <a:gdLst>
                <a:gd name="T0" fmla="*/ 91 w 110"/>
                <a:gd name="T1" fmla="*/ 90 h 110"/>
                <a:gd name="T2" fmla="*/ 20 w 110"/>
                <a:gd name="T3" fmla="*/ 90 h 110"/>
                <a:gd name="T4" fmla="*/ 20 w 110"/>
                <a:gd name="T5" fmla="*/ 19 h 110"/>
                <a:gd name="T6" fmla="*/ 91 w 110"/>
                <a:gd name="T7" fmla="*/ 19 h 110"/>
                <a:gd name="T8" fmla="*/ 91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1" y="90"/>
                  </a:moveTo>
                  <a:cubicBezTo>
                    <a:pt x="71" y="110"/>
                    <a:pt x="39" y="110"/>
                    <a:pt x="20" y="90"/>
                  </a:cubicBezTo>
                  <a:cubicBezTo>
                    <a:pt x="0" y="71"/>
                    <a:pt x="0" y="39"/>
                    <a:pt x="20" y="19"/>
                  </a:cubicBezTo>
                  <a:cubicBezTo>
                    <a:pt x="39" y="0"/>
                    <a:pt x="71" y="0"/>
                    <a:pt x="91" y="19"/>
                  </a:cubicBezTo>
                  <a:cubicBezTo>
                    <a:pt x="110" y="39"/>
                    <a:pt x="110" y="71"/>
                    <a:pt x="91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343" name="Oval 331">
              <a:extLst>
                <a:ext uri="{FF2B5EF4-FFF2-40B4-BE49-F238E27FC236}">
                  <a16:creationId xmlns:a16="http://schemas.microsoft.com/office/drawing/2014/main" id="{6BBB0691-FD7E-47D3-963D-FD6B3A407D1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17925" y="2987675"/>
              <a:ext cx="9525" cy="9525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344" name="Oval 332">
              <a:extLst>
                <a:ext uri="{FF2B5EF4-FFF2-40B4-BE49-F238E27FC236}">
                  <a16:creationId xmlns:a16="http://schemas.microsoft.com/office/drawing/2014/main" id="{328DEFAE-8C74-4849-B333-4ECB2206BC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17925" y="2987675"/>
              <a:ext cx="9525" cy="9525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345" name="Freeform 333">
              <a:extLst>
                <a:ext uri="{FF2B5EF4-FFF2-40B4-BE49-F238E27FC236}">
                  <a16:creationId xmlns:a16="http://schemas.microsoft.com/office/drawing/2014/main" id="{26A91BE0-4295-4C99-BEBE-8B1D8DDA7378}"/>
                </a:ext>
              </a:extLst>
            </p:cNvPr>
            <p:cNvSpPr>
              <a:spLocks/>
            </p:cNvSpPr>
            <p:nvPr/>
          </p:nvSpPr>
          <p:spPr bwMode="auto">
            <a:xfrm>
              <a:off x="3781425" y="2986088"/>
              <a:ext cx="9525" cy="11112"/>
            </a:xfrm>
            <a:custGeom>
              <a:avLst/>
              <a:gdLst>
                <a:gd name="T0" fmla="*/ 91 w 111"/>
                <a:gd name="T1" fmla="*/ 90 h 110"/>
                <a:gd name="T2" fmla="*/ 20 w 111"/>
                <a:gd name="T3" fmla="*/ 90 h 110"/>
                <a:gd name="T4" fmla="*/ 20 w 111"/>
                <a:gd name="T5" fmla="*/ 19 h 110"/>
                <a:gd name="T6" fmla="*/ 91 w 111"/>
                <a:gd name="T7" fmla="*/ 19 h 110"/>
                <a:gd name="T8" fmla="*/ 91 w 111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" h="110">
                  <a:moveTo>
                    <a:pt x="91" y="90"/>
                  </a:moveTo>
                  <a:cubicBezTo>
                    <a:pt x="71" y="110"/>
                    <a:pt x="40" y="110"/>
                    <a:pt x="20" y="90"/>
                  </a:cubicBezTo>
                  <a:cubicBezTo>
                    <a:pt x="0" y="71"/>
                    <a:pt x="0" y="39"/>
                    <a:pt x="20" y="19"/>
                  </a:cubicBezTo>
                  <a:cubicBezTo>
                    <a:pt x="40" y="0"/>
                    <a:pt x="71" y="0"/>
                    <a:pt x="91" y="19"/>
                  </a:cubicBezTo>
                  <a:cubicBezTo>
                    <a:pt x="111" y="39"/>
                    <a:pt x="111" y="71"/>
                    <a:pt x="91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346" name="Freeform 334">
              <a:extLst>
                <a:ext uri="{FF2B5EF4-FFF2-40B4-BE49-F238E27FC236}">
                  <a16:creationId xmlns:a16="http://schemas.microsoft.com/office/drawing/2014/main" id="{B150A6E2-723A-4689-94C3-6D22D9AC98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781425" y="2986088"/>
              <a:ext cx="9525" cy="11112"/>
            </a:xfrm>
            <a:custGeom>
              <a:avLst/>
              <a:gdLst>
                <a:gd name="T0" fmla="*/ 91 w 111"/>
                <a:gd name="T1" fmla="*/ 90 h 110"/>
                <a:gd name="T2" fmla="*/ 20 w 111"/>
                <a:gd name="T3" fmla="*/ 90 h 110"/>
                <a:gd name="T4" fmla="*/ 20 w 111"/>
                <a:gd name="T5" fmla="*/ 19 h 110"/>
                <a:gd name="T6" fmla="*/ 91 w 111"/>
                <a:gd name="T7" fmla="*/ 19 h 110"/>
                <a:gd name="T8" fmla="*/ 91 w 111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" h="110">
                  <a:moveTo>
                    <a:pt x="91" y="90"/>
                  </a:moveTo>
                  <a:cubicBezTo>
                    <a:pt x="71" y="110"/>
                    <a:pt x="40" y="110"/>
                    <a:pt x="20" y="90"/>
                  </a:cubicBezTo>
                  <a:cubicBezTo>
                    <a:pt x="0" y="71"/>
                    <a:pt x="0" y="39"/>
                    <a:pt x="20" y="19"/>
                  </a:cubicBezTo>
                  <a:cubicBezTo>
                    <a:pt x="40" y="0"/>
                    <a:pt x="71" y="0"/>
                    <a:pt x="91" y="19"/>
                  </a:cubicBezTo>
                  <a:cubicBezTo>
                    <a:pt x="111" y="39"/>
                    <a:pt x="111" y="71"/>
                    <a:pt x="91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347" name="Freeform 335">
              <a:extLst>
                <a:ext uri="{FF2B5EF4-FFF2-40B4-BE49-F238E27FC236}">
                  <a16:creationId xmlns:a16="http://schemas.microsoft.com/office/drawing/2014/main" id="{A791CB3C-BFCE-4C55-9DD0-B8A1E5F63725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8750" y="2924175"/>
              <a:ext cx="9525" cy="9525"/>
            </a:xfrm>
            <a:custGeom>
              <a:avLst/>
              <a:gdLst>
                <a:gd name="T0" fmla="*/ 50 w 100"/>
                <a:gd name="T1" fmla="*/ 100 h 100"/>
                <a:gd name="T2" fmla="*/ 0 w 100"/>
                <a:gd name="T3" fmla="*/ 50 h 100"/>
                <a:gd name="T4" fmla="*/ 50 w 100"/>
                <a:gd name="T5" fmla="*/ 0 h 100"/>
                <a:gd name="T6" fmla="*/ 100 w 100"/>
                <a:gd name="T7" fmla="*/ 50 h 100"/>
                <a:gd name="T8" fmla="*/ 50 w 100"/>
                <a:gd name="T9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00">
                  <a:moveTo>
                    <a:pt x="50" y="100"/>
                  </a:moveTo>
                  <a:cubicBezTo>
                    <a:pt x="23" y="100"/>
                    <a:pt x="0" y="77"/>
                    <a:pt x="0" y="50"/>
                  </a:cubicBezTo>
                  <a:cubicBezTo>
                    <a:pt x="0" y="23"/>
                    <a:pt x="23" y="0"/>
                    <a:pt x="50" y="0"/>
                  </a:cubicBezTo>
                  <a:cubicBezTo>
                    <a:pt x="77" y="0"/>
                    <a:pt x="100" y="23"/>
                    <a:pt x="100" y="50"/>
                  </a:cubicBezTo>
                  <a:cubicBezTo>
                    <a:pt x="100" y="77"/>
                    <a:pt x="78" y="100"/>
                    <a:pt x="50" y="10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348" name="Freeform 336">
              <a:extLst>
                <a:ext uri="{FF2B5EF4-FFF2-40B4-BE49-F238E27FC236}">
                  <a16:creationId xmlns:a16="http://schemas.microsoft.com/office/drawing/2014/main" id="{C926BDB2-D12F-4298-AE4F-225FF417E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8750" y="2924175"/>
              <a:ext cx="9525" cy="9525"/>
            </a:xfrm>
            <a:custGeom>
              <a:avLst/>
              <a:gdLst>
                <a:gd name="T0" fmla="*/ 50 w 100"/>
                <a:gd name="T1" fmla="*/ 100 h 100"/>
                <a:gd name="T2" fmla="*/ 0 w 100"/>
                <a:gd name="T3" fmla="*/ 50 h 100"/>
                <a:gd name="T4" fmla="*/ 50 w 100"/>
                <a:gd name="T5" fmla="*/ 0 h 100"/>
                <a:gd name="T6" fmla="*/ 100 w 100"/>
                <a:gd name="T7" fmla="*/ 50 h 100"/>
                <a:gd name="T8" fmla="*/ 50 w 100"/>
                <a:gd name="T9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00">
                  <a:moveTo>
                    <a:pt x="50" y="100"/>
                  </a:moveTo>
                  <a:cubicBezTo>
                    <a:pt x="23" y="100"/>
                    <a:pt x="0" y="77"/>
                    <a:pt x="0" y="50"/>
                  </a:cubicBezTo>
                  <a:cubicBezTo>
                    <a:pt x="0" y="23"/>
                    <a:pt x="23" y="0"/>
                    <a:pt x="50" y="0"/>
                  </a:cubicBezTo>
                  <a:cubicBezTo>
                    <a:pt x="77" y="0"/>
                    <a:pt x="100" y="23"/>
                    <a:pt x="100" y="50"/>
                  </a:cubicBezTo>
                  <a:cubicBezTo>
                    <a:pt x="100" y="77"/>
                    <a:pt x="78" y="100"/>
                    <a:pt x="50" y="10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349" name="Oval 337">
              <a:extLst>
                <a:ext uri="{FF2B5EF4-FFF2-40B4-BE49-F238E27FC236}">
                  <a16:creationId xmlns:a16="http://schemas.microsoft.com/office/drawing/2014/main" id="{5E52049F-8CD1-4827-8F8C-17E8F3CDCE2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62250" y="2924175"/>
              <a:ext cx="9525" cy="9525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350" name="Oval 338">
              <a:extLst>
                <a:ext uri="{FF2B5EF4-FFF2-40B4-BE49-F238E27FC236}">
                  <a16:creationId xmlns:a16="http://schemas.microsoft.com/office/drawing/2014/main" id="{3A198E6E-C6BA-4016-97CE-9749D2E054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62250" y="2924175"/>
              <a:ext cx="9525" cy="9525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351" name="Freeform 339">
              <a:extLst>
                <a:ext uri="{FF2B5EF4-FFF2-40B4-BE49-F238E27FC236}">
                  <a16:creationId xmlns:a16="http://schemas.microsoft.com/office/drawing/2014/main" id="{FC54F8AF-14ED-4E83-B2F1-A9C40A3C9188}"/>
                </a:ext>
              </a:extLst>
            </p:cNvPr>
            <p:cNvSpPr>
              <a:spLocks/>
            </p:cNvSpPr>
            <p:nvPr/>
          </p:nvSpPr>
          <p:spPr bwMode="auto">
            <a:xfrm>
              <a:off x="2827338" y="2924175"/>
              <a:ext cx="9525" cy="9525"/>
            </a:xfrm>
            <a:custGeom>
              <a:avLst/>
              <a:gdLst>
                <a:gd name="T0" fmla="*/ 50 w 100"/>
                <a:gd name="T1" fmla="*/ 101 h 101"/>
                <a:gd name="T2" fmla="*/ 0 w 100"/>
                <a:gd name="T3" fmla="*/ 50 h 101"/>
                <a:gd name="T4" fmla="*/ 50 w 100"/>
                <a:gd name="T5" fmla="*/ 0 h 101"/>
                <a:gd name="T6" fmla="*/ 100 w 100"/>
                <a:gd name="T7" fmla="*/ 50 h 101"/>
                <a:gd name="T8" fmla="*/ 50 w 100"/>
                <a:gd name="T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01">
                  <a:moveTo>
                    <a:pt x="50" y="101"/>
                  </a:moveTo>
                  <a:cubicBezTo>
                    <a:pt x="22" y="101"/>
                    <a:pt x="0" y="78"/>
                    <a:pt x="0" y="50"/>
                  </a:cubicBezTo>
                  <a:cubicBezTo>
                    <a:pt x="0" y="23"/>
                    <a:pt x="22" y="0"/>
                    <a:pt x="50" y="0"/>
                  </a:cubicBezTo>
                  <a:cubicBezTo>
                    <a:pt x="77" y="0"/>
                    <a:pt x="100" y="23"/>
                    <a:pt x="100" y="50"/>
                  </a:cubicBezTo>
                  <a:cubicBezTo>
                    <a:pt x="99" y="78"/>
                    <a:pt x="77" y="101"/>
                    <a:pt x="50" y="10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352" name="Freeform 340">
              <a:extLst>
                <a:ext uri="{FF2B5EF4-FFF2-40B4-BE49-F238E27FC236}">
                  <a16:creationId xmlns:a16="http://schemas.microsoft.com/office/drawing/2014/main" id="{6453BE46-C040-482C-B0AB-264ED856F9F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27338" y="2924175"/>
              <a:ext cx="9525" cy="9525"/>
            </a:xfrm>
            <a:custGeom>
              <a:avLst/>
              <a:gdLst>
                <a:gd name="T0" fmla="*/ 50 w 100"/>
                <a:gd name="T1" fmla="*/ 101 h 101"/>
                <a:gd name="T2" fmla="*/ 0 w 100"/>
                <a:gd name="T3" fmla="*/ 50 h 101"/>
                <a:gd name="T4" fmla="*/ 50 w 100"/>
                <a:gd name="T5" fmla="*/ 0 h 101"/>
                <a:gd name="T6" fmla="*/ 100 w 100"/>
                <a:gd name="T7" fmla="*/ 50 h 101"/>
                <a:gd name="T8" fmla="*/ 50 w 100"/>
                <a:gd name="T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01">
                  <a:moveTo>
                    <a:pt x="50" y="101"/>
                  </a:moveTo>
                  <a:cubicBezTo>
                    <a:pt x="22" y="101"/>
                    <a:pt x="0" y="78"/>
                    <a:pt x="0" y="50"/>
                  </a:cubicBezTo>
                  <a:cubicBezTo>
                    <a:pt x="0" y="23"/>
                    <a:pt x="22" y="0"/>
                    <a:pt x="50" y="0"/>
                  </a:cubicBezTo>
                  <a:cubicBezTo>
                    <a:pt x="77" y="0"/>
                    <a:pt x="100" y="23"/>
                    <a:pt x="100" y="50"/>
                  </a:cubicBezTo>
                  <a:cubicBezTo>
                    <a:pt x="99" y="78"/>
                    <a:pt x="77" y="101"/>
                    <a:pt x="50" y="10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353" name="Freeform 341">
              <a:extLst>
                <a:ext uri="{FF2B5EF4-FFF2-40B4-BE49-F238E27FC236}">
                  <a16:creationId xmlns:a16="http://schemas.microsoft.com/office/drawing/2014/main" id="{D5F39AC8-C970-495B-B89F-12633AEBE0D8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9250" y="2922588"/>
              <a:ext cx="11113" cy="11112"/>
            </a:xfrm>
            <a:custGeom>
              <a:avLst/>
              <a:gdLst>
                <a:gd name="T0" fmla="*/ 91 w 110"/>
                <a:gd name="T1" fmla="*/ 91 h 110"/>
                <a:gd name="T2" fmla="*/ 20 w 110"/>
                <a:gd name="T3" fmla="*/ 91 h 110"/>
                <a:gd name="T4" fmla="*/ 20 w 110"/>
                <a:gd name="T5" fmla="*/ 20 h 110"/>
                <a:gd name="T6" fmla="*/ 91 w 110"/>
                <a:gd name="T7" fmla="*/ 20 h 110"/>
                <a:gd name="T8" fmla="*/ 91 w 110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1" y="91"/>
                  </a:moveTo>
                  <a:cubicBezTo>
                    <a:pt x="71" y="110"/>
                    <a:pt x="39" y="110"/>
                    <a:pt x="20" y="91"/>
                  </a:cubicBezTo>
                  <a:cubicBezTo>
                    <a:pt x="0" y="71"/>
                    <a:pt x="0" y="40"/>
                    <a:pt x="20" y="20"/>
                  </a:cubicBezTo>
                  <a:cubicBezTo>
                    <a:pt x="39" y="0"/>
                    <a:pt x="71" y="0"/>
                    <a:pt x="91" y="20"/>
                  </a:cubicBezTo>
                  <a:cubicBezTo>
                    <a:pt x="110" y="40"/>
                    <a:pt x="110" y="71"/>
                    <a:pt x="91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354" name="Freeform 342">
              <a:extLst>
                <a:ext uri="{FF2B5EF4-FFF2-40B4-BE49-F238E27FC236}">
                  <a16:creationId xmlns:a16="http://schemas.microsoft.com/office/drawing/2014/main" id="{E267E582-F512-44A9-8C01-F17174253A75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9250" y="2922588"/>
              <a:ext cx="11113" cy="11112"/>
            </a:xfrm>
            <a:custGeom>
              <a:avLst/>
              <a:gdLst>
                <a:gd name="T0" fmla="*/ 91 w 110"/>
                <a:gd name="T1" fmla="*/ 91 h 110"/>
                <a:gd name="T2" fmla="*/ 20 w 110"/>
                <a:gd name="T3" fmla="*/ 91 h 110"/>
                <a:gd name="T4" fmla="*/ 20 w 110"/>
                <a:gd name="T5" fmla="*/ 20 h 110"/>
                <a:gd name="T6" fmla="*/ 91 w 110"/>
                <a:gd name="T7" fmla="*/ 20 h 110"/>
                <a:gd name="T8" fmla="*/ 91 w 110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1" y="91"/>
                  </a:moveTo>
                  <a:cubicBezTo>
                    <a:pt x="71" y="110"/>
                    <a:pt x="39" y="110"/>
                    <a:pt x="20" y="91"/>
                  </a:cubicBezTo>
                  <a:cubicBezTo>
                    <a:pt x="0" y="71"/>
                    <a:pt x="0" y="40"/>
                    <a:pt x="20" y="20"/>
                  </a:cubicBezTo>
                  <a:cubicBezTo>
                    <a:pt x="39" y="0"/>
                    <a:pt x="71" y="0"/>
                    <a:pt x="91" y="20"/>
                  </a:cubicBezTo>
                  <a:cubicBezTo>
                    <a:pt x="110" y="40"/>
                    <a:pt x="110" y="71"/>
                    <a:pt x="91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355" name="Freeform 343">
              <a:extLst>
                <a:ext uri="{FF2B5EF4-FFF2-40B4-BE49-F238E27FC236}">
                  <a16:creationId xmlns:a16="http://schemas.microsoft.com/office/drawing/2014/main" id="{FFC0461E-0AE6-4FD2-964B-78A578B013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952750" y="2922588"/>
              <a:ext cx="11113" cy="11112"/>
            </a:xfrm>
            <a:custGeom>
              <a:avLst/>
              <a:gdLst>
                <a:gd name="T0" fmla="*/ 91 w 110"/>
                <a:gd name="T1" fmla="*/ 91 h 110"/>
                <a:gd name="T2" fmla="*/ 20 w 110"/>
                <a:gd name="T3" fmla="*/ 91 h 110"/>
                <a:gd name="T4" fmla="*/ 20 w 110"/>
                <a:gd name="T5" fmla="*/ 20 h 110"/>
                <a:gd name="T6" fmla="*/ 91 w 110"/>
                <a:gd name="T7" fmla="*/ 20 h 110"/>
                <a:gd name="T8" fmla="*/ 91 w 110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1" y="91"/>
                  </a:moveTo>
                  <a:cubicBezTo>
                    <a:pt x="71" y="110"/>
                    <a:pt x="39" y="110"/>
                    <a:pt x="20" y="91"/>
                  </a:cubicBezTo>
                  <a:cubicBezTo>
                    <a:pt x="0" y="71"/>
                    <a:pt x="0" y="40"/>
                    <a:pt x="20" y="20"/>
                  </a:cubicBezTo>
                  <a:cubicBezTo>
                    <a:pt x="39" y="0"/>
                    <a:pt x="71" y="0"/>
                    <a:pt x="91" y="20"/>
                  </a:cubicBezTo>
                  <a:cubicBezTo>
                    <a:pt x="110" y="40"/>
                    <a:pt x="110" y="71"/>
                    <a:pt x="91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356" name="Freeform 344">
              <a:extLst>
                <a:ext uri="{FF2B5EF4-FFF2-40B4-BE49-F238E27FC236}">
                  <a16:creationId xmlns:a16="http://schemas.microsoft.com/office/drawing/2014/main" id="{3F686233-ACAB-451C-BA75-61CF6EDBF566}"/>
                </a:ext>
              </a:extLst>
            </p:cNvPr>
            <p:cNvSpPr>
              <a:spLocks/>
            </p:cNvSpPr>
            <p:nvPr/>
          </p:nvSpPr>
          <p:spPr bwMode="auto">
            <a:xfrm>
              <a:off x="2952750" y="2922588"/>
              <a:ext cx="11113" cy="11112"/>
            </a:xfrm>
            <a:custGeom>
              <a:avLst/>
              <a:gdLst>
                <a:gd name="T0" fmla="*/ 91 w 110"/>
                <a:gd name="T1" fmla="*/ 91 h 110"/>
                <a:gd name="T2" fmla="*/ 20 w 110"/>
                <a:gd name="T3" fmla="*/ 91 h 110"/>
                <a:gd name="T4" fmla="*/ 20 w 110"/>
                <a:gd name="T5" fmla="*/ 20 h 110"/>
                <a:gd name="T6" fmla="*/ 91 w 110"/>
                <a:gd name="T7" fmla="*/ 20 h 110"/>
                <a:gd name="T8" fmla="*/ 91 w 110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1" y="91"/>
                  </a:moveTo>
                  <a:cubicBezTo>
                    <a:pt x="71" y="110"/>
                    <a:pt x="39" y="110"/>
                    <a:pt x="20" y="91"/>
                  </a:cubicBezTo>
                  <a:cubicBezTo>
                    <a:pt x="0" y="71"/>
                    <a:pt x="0" y="40"/>
                    <a:pt x="20" y="20"/>
                  </a:cubicBezTo>
                  <a:cubicBezTo>
                    <a:pt x="39" y="0"/>
                    <a:pt x="71" y="0"/>
                    <a:pt x="91" y="20"/>
                  </a:cubicBezTo>
                  <a:cubicBezTo>
                    <a:pt x="110" y="40"/>
                    <a:pt x="110" y="71"/>
                    <a:pt x="91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357" name="Freeform 345">
              <a:extLst>
                <a:ext uri="{FF2B5EF4-FFF2-40B4-BE49-F238E27FC236}">
                  <a16:creationId xmlns:a16="http://schemas.microsoft.com/office/drawing/2014/main" id="{DBB1DE59-EE14-4A74-B568-68FDD6F301C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17838" y="2924175"/>
              <a:ext cx="9525" cy="9525"/>
            </a:xfrm>
            <a:custGeom>
              <a:avLst/>
              <a:gdLst>
                <a:gd name="T0" fmla="*/ 50 w 101"/>
                <a:gd name="T1" fmla="*/ 100 h 101"/>
                <a:gd name="T2" fmla="*/ 0 w 101"/>
                <a:gd name="T3" fmla="*/ 50 h 101"/>
                <a:gd name="T4" fmla="*/ 51 w 101"/>
                <a:gd name="T5" fmla="*/ 0 h 101"/>
                <a:gd name="T6" fmla="*/ 101 w 101"/>
                <a:gd name="T7" fmla="*/ 50 h 101"/>
                <a:gd name="T8" fmla="*/ 50 w 101"/>
                <a:gd name="T9" fmla="*/ 10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" h="101">
                  <a:moveTo>
                    <a:pt x="50" y="100"/>
                  </a:moveTo>
                  <a:cubicBezTo>
                    <a:pt x="23" y="100"/>
                    <a:pt x="0" y="78"/>
                    <a:pt x="0" y="50"/>
                  </a:cubicBezTo>
                  <a:cubicBezTo>
                    <a:pt x="0" y="23"/>
                    <a:pt x="23" y="0"/>
                    <a:pt x="51" y="0"/>
                  </a:cubicBezTo>
                  <a:cubicBezTo>
                    <a:pt x="78" y="0"/>
                    <a:pt x="101" y="23"/>
                    <a:pt x="101" y="50"/>
                  </a:cubicBezTo>
                  <a:cubicBezTo>
                    <a:pt x="101" y="78"/>
                    <a:pt x="78" y="101"/>
                    <a:pt x="50" y="10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358" name="Freeform 346">
              <a:extLst>
                <a:ext uri="{FF2B5EF4-FFF2-40B4-BE49-F238E27FC236}">
                  <a16:creationId xmlns:a16="http://schemas.microsoft.com/office/drawing/2014/main" id="{D53CCF57-5662-4A7C-B19A-2F443829DE0A}"/>
                </a:ext>
              </a:extLst>
            </p:cNvPr>
            <p:cNvSpPr>
              <a:spLocks/>
            </p:cNvSpPr>
            <p:nvPr/>
          </p:nvSpPr>
          <p:spPr bwMode="auto">
            <a:xfrm>
              <a:off x="3017838" y="2924175"/>
              <a:ext cx="9525" cy="9525"/>
            </a:xfrm>
            <a:custGeom>
              <a:avLst/>
              <a:gdLst>
                <a:gd name="T0" fmla="*/ 50 w 101"/>
                <a:gd name="T1" fmla="*/ 100 h 101"/>
                <a:gd name="T2" fmla="*/ 0 w 101"/>
                <a:gd name="T3" fmla="*/ 50 h 101"/>
                <a:gd name="T4" fmla="*/ 51 w 101"/>
                <a:gd name="T5" fmla="*/ 0 h 101"/>
                <a:gd name="T6" fmla="*/ 101 w 101"/>
                <a:gd name="T7" fmla="*/ 50 h 101"/>
                <a:gd name="T8" fmla="*/ 50 w 101"/>
                <a:gd name="T9" fmla="*/ 10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" h="101">
                  <a:moveTo>
                    <a:pt x="50" y="100"/>
                  </a:moveTo>
                  <a:cubicBezTo>
                    <a:pt x="23" y="100"/>
                    <a:pt x="0" y="78"/>
                    <a:pt x="0" y="50"/>
                  </a:cubicBezTo>
                  <a:cubicBezTo>
                    <a:pt x="0" y="23"/>
                    <a:pt x="23" y="0"/>
                    <a:pt x="51" y="0"/>
                  </a:cubicBezTo>
                  <a:cubicBezTo>
                    <a:pt x="78" y="0"/>
                    <a:pt x="101" y="23"/>
                    <a:pt x="101" y="50"/>
                  </a:cubicBezTo>
                  <a:cubicBezTo>
                    <a:pt x="101" y="78"/>
                    <a:pt x="78" y="101"/>
                    <a:pt x="50" y="10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359" name="Freeform 347">
              <a:extLst>
                <a:ext uri="{FF2B5EF4-FFF2-40B4-BE49-F238E27FC236}">
                  <a16:creationId xmlns:a16="http://schemas.microsoft.com/office/drawing/2014/main" id="{F1CE77D9-C605-4594-99D9-BCE45A264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1338" y="2922588"/>
              <a:ext cx="9525" cy="11112"/>
            </a:xfrm>
            <a:custGeom>
              <a:avLst/>
              <a:gdLst>
                <a:gd name="T0" fmla="*/ 90 w 110"/>
                <a:gd name="T1" fmla="*/ 91 h 110"/>
                <a:gd name="T2" fmla="*/ 19 w 110"/>
                <a:gd name="T3" fmla="*/ 91 h 110"/>
                <a:gd name="T4" fmla="*/ 19 w 110"/>
                <a:gd name="T5" fmla="*/ 20 h 110"/>
                <a:gd name="T6" fmla="*/ 90 w 110"/>
                <a:gd name="T7" fmla="*/ 20 h 110"/>
                <a:gd name="T8" fmla="*/ 90 w 110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1"/>
                  </a:moveTo>
                  <a:cubicBezTo>
                    <a:pt x="71" y="110"/>
                    <a:pt x="39" y="110"/>
                    <a:pt x="19" y="91"/>
                  </a:cubicBezTo>
                  <a:cubicBezTo>
                    <a:pt x="0" y="71"/>
                    <a:pt x="0" y="39"/>
                    <a:pt x="19" y="20"/>
                  </a:cubicBezTo>
                  <a:cubicBezTo>
                    <a:pt x="39" y="0"/>
                    <a:pt x="71" y="0"/>
                    <a:pt x="90" y="20"/>
                  </a:cubicBezTo>
                  <a:cubicBezTo>
                    <a:pt x="110" y="39"/>
                    <a:pt x="110" y="71"/>
                    <a:pt x="90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360" name="Freeform 348">
              <a:extLst>
                <a:ext uri="{FF2B5EF4-FFF2-40B4-BE49-F238E27FC236}">
                  <a16:creationId xmlns:a16="http://schemas.microsoft.com/office/drawing/2014/main" id="{8322D463-8610-4C48-80C3-421CAD6F549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1338" y="2922588"/>
              <a:ext cx="9525" cy="11112"/>
            </a:xfrm>
            <a:custGeom>
              <a:avLst/>
              <a:gdLst>
                <a:gd name="T0" fmla="*/ 90 w 110"/>
                <a:gd name="T1" fmla="*/ 91 h 110"/>
                <a:gd name="T2" fmla="*/ 19 w 110"/>
                <a:gd name="T3" fmla="*/ 91 h 110"/>
                <a:gd name="T4" fmla="*/ 19 w 110"/>
                <a:gd name="T5" fmla="*/ 20 h 110"/>
                <a:gd name="T6" fmla="*/ 90 w 110"/>
                <a:gd name="T7" fmla="*/ 20 h 110"/>
                <a:gd name="T8" fmla="*/ 90 w 110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1"/>
                  </a:moveTo>
                  <a:cubicBezTo>
                    <a:pt x="71" y="110"/>
                    <a:pt x="39" y="110"/>
                    <a:pt x="19" y="91"/>
                  </a:cubicBezTo>
                  <a:cubicBezTo>
                    <a:pt x="0" y="71"/>
                    <a:pt x="0" y="39"/>
                    <a:pt x="19" y="20"/>
                  </a:cubicBezTo>
                  <a:cubicBezTo>
                    <a:pt x="39" y="0"/>
                    <a:pt x="71" y="0"/>
                    <a:pt x="90" y="20"/>
                  </a:cubicBezTo>
                  <a:cubicBezTo>
                    <a:pt x="110" y="39"/>
                    <a:pt x="110" y="71"/>
                    <a:pt x="90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361" name="Freeform 349">
              <a:extLst>
                <a:ext uri="{FF2B5EF4-FFF2-40B4-BE49-F238E27FC236}">
                  <a16:creationId xmlns:a16="http://schemas.microsoft.com/office/drawing/2014/main" id="{F0C58AC0-F2A1-4E18-A08F-89CE32740378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4838" y="2922588"/>
              <a:ext cx="9525" cy="11112"/>
            </a:xfrm>
            <a:custGeom>
              <a:avLst/>
              <a:gdLst>
                <a:gd name="T0" fmla="*/ 91 w 110"/>
                <a:gd name="T1" fmla="*/ 90 h 110"/>
                <a:gd name="T2" fmla="*/ 20 w 110"/>
                <a:gd name="T3" fmla="*/ 90 h 110"/>
                <a:gd name="T4" fmla="*/ 20 w 110"/>
                <a:gd name="T5" fmla="*/ 19 h 110"/>
                <a:gd name="T6" fmla="*/ 91 w 110"/>
                <a:gd name="T7" fmla="*/ 19 h 110"/>
                <a:gd name="T8" fmla="*/ 91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1" y="90"/>
                  </a:moveTo>
                  <a:cubicBezTo>
                    <a:pt x="71" y="110"/>
                    <a:pt x="40" y="110"/>
                    <a:pt x="20" y="90"/>
                  </a:cubicBezTo>
                  <a:cubicBezTo>
                    <a:pt x="0" y="71"/>
                    <a:pt x="0" y="39"/>
                    <a:pt x="20" y="19"/>
                  </a:cubicBezTo>
                  <a:cubicBezTo>
                    <a:pt x="40" y="0"/>
                    <a:pt x="71" y="0"/>
                    <a:pt x="91" y="19"/>
                  </a:cubicBezTo>
                  <a:cubicBezTo>
                    <a:pt x="110" y="39"/>
                    <a:pt x="110" y="71"/>
                    <a:pt x="91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362" name="Freeform 350">
              <a:extLst>
                <a:ext uri="{FF2B5EF4-FFF2-40B4-BE49-F238E27FC236}">
                  <a16:creationId xmlns:a16="http://schemas.microsoft.com/office/drawing/2014/main" id="{FF3352C2-327E-4A82-8D40-E2E9B3610B8B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4838" y="2922588"/>
              <a:ext cx="9525" cy="11112"/>
            </a:xfrm>
            <a:custGeom>
              <a:avLst/>
              <a:gdLst>
                <a:gd name="T0" fmla="*/ 91 w 110"/>
                <a:gd name="T1" fmla="*/ 90 h 110"/>
                <a:gd name="T2" fmla="*/ 20 w 110"/>
                <a:gd name="T3" fmla="*/ 90 h 110"/>
                <a:gd name="T4" fmla="*/ 20 w 110"/>
                <a:gd name="T5" fmla="*/ 19 h 110"/>
                <a:gd name="T6" fmla="*/ 91 w 110"/>
                <a:gd name="T7" fmla="*/ 19 h 110"/>
                <a:gd name="T8" fmla="*/ 91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1" y="90"/>
                  </a:moveTo>
                  <a:cubicBezTo>
                    <a:pt x="71" y="110"/>
                    <a:pt x="40" y="110"/>
                    <a:pt x="20" y="90"/>
                  </a:cubicBezTo>
                  <a:cubicBezTo>
                    <a:pt x="0" y="71"/>
                    <a:pt x="0" y="39"/>
                    <a:pt x="20" y="19"/>
                  </a:cubicBezTo>
                  <a:cubicBezTo>
                    <a:pt x="40" y="0"/>
                    <a:pt x="71" y="0"/>
                    <a:pt x="91" y="19"/>
                  </a:cubicBezTo>
                  <a:cubicBezTo>
                    <a:pt x="110" y="39"/>
                    <a:pt x="110" y="71"/>
                    <a:pt x="91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363" name="Oval 351">
              <a:extLst>
                <a:ext uri="{FF2B5EF4-FFF2-40B4-BE49-F238E27FC236}">
                  <a16:creationId xmlns:a16="http://schemas.microsoft.com/office/drawing/2014/main" id="{4633A4EB-55A2-49DC-8A01-69562427C0B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08338" y="2924175"/>
              <a:ext cx="9525" cy="9525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364" name="Oval 352">
              <a:extLst>
                <a:ext uri="{FF2B5EF4-FFF2-40B4-BE49-F238E27FC236}">
                  <a16:creationId xmlns:a16="http://schemas.microsoft.com/office/drawing/2014/main" id="{6702EC88-E54E-4195-AF54-895131A849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08338" y="2924175"/>
              <a:ext cx="9525" cy="9525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365" name="Freeform 353">
              <a:extLst>
                <a:ext uri="{FF2B5EF4-FFF2-40B4-BE49-F238E27FC236}">
                  <a16:creationId xmlns:a16="http://schemas.microsoft.com/office/drawing/2014/main" id="{DD35761A-6586-47A1-AB09-DB1575832018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1838" y="2922588"/>
              <a:ext cx="11113" cy="11112"/>
            </a:xfrm>
            <a:custGeom>
              <a:avLst/>
              <a:gdLst>
                <a:gd name="T0" fmla="*/ 90 w 110"/>
                <a:gd name="T1" fmla="*/ 90 h 110"/>
                <a:gd name="T2" fmla="*/ 19 w 110"/>
                <a:gd name="T3" fmla="*/ 90 h 110"/>
                <a:gd name="T4" fmla="*/ 19 w 110"/>
                <a:gd name="T5" fmla="*/ 19 h 110"/>
                <a:gd name="T6" fmla="*/ 90 w 110"/>
                <a:gd name="T7" fmla="*/ 19 h 110"/>
                <a:gd name="T8" fmla="*/ 90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0"/>
                  </a:moveTo>
                  <a:cubicBezTo>
                    <a:pt x="71" y="110"/>
                    <a:pt x="39" y="110"/>
                    <a:pt x="19" y="90"/>
                  </a:cubicBezTo>
                  <a:cubicBezTo>
                    <a:pt x="0" y="71"/>
                    <a:pt x="0" y="39"/>
                    <a:pt x="19" y="19"/>
                  </a:cubicBezTo>
                  <a:cubicBezTo>
                    <a:pt x="39" y="0"/>
                    <a:pt x="71" y="0"/>
                    <a:pt x="90" y="19"/>
                  </a:cubicBezTo>
                  <a:cubicBezTo>
                    <a:pt x="110" y="39"/>
                    <a:pt x="110" y="71"/>
                    <a:pt x="90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366" name="Freeform 354">
              <a:extLst>
                <a:ext uri="{FF2B5EF4-FFF2-40B4-BE49-F238E27FC236}">
                  <a16:creationId xmlns:a16="http://schemas.microsoft.com/office/drawing/2014/main" id="{180A9820-CD37-4909-A6A8-10FD8AC01F88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1838" y="2922588"/>
              <a:ext cx="11113" cy="11112"/>
            </a:xfrm>
            <a:custGeom>
              <a:avLst/>
              <a:gdLst>
                <a:gd name="T0" fmla="*/ 90 w 110"/>
                <a:gd name="T1" fmla="*/ 90 h 110"/>
                <a:gd name="T2" fmla="*/ 19 w 110"/>
                <a:gd name="T3" fmla="*/ 90 h 110"/>
                <a:gd name="T4" fmla="*/ 19 w 110"/>
                <a:gd name="T5" fmla="*/ 19 h 110"/>
                <a:gd name="T6" fmla="*/ 90 w 110"/>
                <a:gd name="T7" fmla="*/ 19 h 110"/>
                <a:gd name="T8" fmla="*/ 90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0"/>
                  </a:moveTo>
                  <a:cubicBezTo>
                    <a:pt x="71" y="110"/>
                    <a:pt x="39" y="110"/>
                    <a:pt x="19" y="90"/>
                  </a:cubicBezTo>
                  <a:cubicBezTo>
                    <a:pt x="0" y="71"/>
                    <a:pt x="0" y="39"/>
                    <a:pt x="19" y="19"/>
                  </a:cubicBezTo>
                  <a:cubicBezTo>
                    <a:pt x="39" y="0"/>
                    <a:pt x="71" y="0"/>
                    <a:pt x="90" y="19"/>
                  </a:cubicBezTo>
                  <a:cubicBezTo>
                    <a:pt x="110" y="39"/>
                    <a:pt x="110" y="71"/>
                    <a:pt x="90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367" name="Freeform 355">
              <a:extLst>
                <a:ext uri="{FF2B5EF4-FFF2-40B4-BE49-F238E27FC236}">
                  <a16:creationId xmlns:a16="http://schemas.microsoft.com/office/drawing/2014/main" id="{C8A3515B-3A2E-4422-83A2-75DC116EF94F}"/>
                </a:ext>
              </a:extLst>
            </p:cNvPr>
            <p:cNvSpPr>
              <a:spLocks/>
            </p:cNvSpPr>
            <p:nvPr/>
          </p:nvSpPr>
          <p:spPr bwMode="auto">
            <a:xfrm>
              <a:off x="3335338" y="2922588"/>
              <a:ext cx="11113" cy="11112"/>
            </a:xfrm>
            <a:custGeom>
              <a:avLst/>
              <a:gdLst>
                <a:gd name="T0" fmla="*/ 90 w 110"/>
                <a:gd name="T1" fmla="*/ 90 h 110"/>
                <a:gd name="T2" fmla="*/ 20 w 110"/>
                <a:gd name="T3" fmla="*/ 90 h 110"/>
                <a:gd name="T4" fmla="*/ 20 w 110"/>
                <a:gd name="T5" fmla="*/ 19 h 110"/>
                <a:gd name="T6" fmla="*/ 90 w 110"/>
                <a:gd name="T7" fmla="*/ 19 h 110"/>
                <a:gd name="T8" fmla="*/ 90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0"/>
                  </a:moveTo>
                  <a:cubicBezTo>
                    <a:pt x="71" y="110"/>
                    <a:pt x="39" y="110"/>
                    <a:pt x="20" y="90"/>
                  </a:cubicBezTo>
                  <a:cubicBezTo>
                    <a:pt x="0" y="71"/>
                    <a:pt x="0" y="39"/>
                    <a:pt x="20" y="19"/>
                  </a:cubicBezTo>
                  <a:cubicBezTo>
                    <a:pt x="39" y="0"/>
                    <a:pt x="71" y="0"/>
                    <a:pt x="90" y="19"/>
                  </a:cubicBezTo>
                  <a:cubicBezTo>
                    <a:pt x="110" y="39"/>
                    <a:pt x="110" y="71"/>
                    <a:pt x="90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368" name="Freeform 356">
              <a:extLst>
                <a:ext uri="{FF2B5EF4-FFF2-40B4-BE49-F238E27FC236}">
                  <a16:creationId xmlns:a16="http://schemas.microsoft.com/office/drawing/2014/main" id="{D11AC893-3F41-45F0-A381-98DF041E452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35338" y="2922588"/>
              <a:ext cx="11113" cy="11112"/>
            </a:xfrm>
            <a:custGeom>
              <a:avLst/>
              <a:gdLst>
                <a:gd name="T0" fmla="*/ 90 w 110"/>
                <a:gd name="T1" fmla="*/ 90 h 110"/>
                <a:gd name="T2" fmla="*/ 20 w 110"/>
                <a:gd name="T3" fmla="*/ 90 h 110"/>
                <a:gd name="T4" fmla="*/ 20 w 110"/>
                <a:gd name="T5" fmla="*/ 19 h 110"/>
                <a:gd name="T6" fmla="*/ 90 w 110"/>
                <a:gd name="T7" fmla="*/ 19 h 110"/>
                <a:gd name="T8" fmla="*/ 90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0"/>
                  </a:moveTo>
                  <a:cubicBezTo>
                    <a:pt x="71" y="110"/>
                    <a:pt x="39" y="110"/>
                    <a:pt x="20" y="90"/>
                  </a:cubicBezTo>
                  <a:cubicBezTo>
                    <a:pt x="0" y="71"/>
                    <a:pt x="0" y="39"/>
                    <a:pt x="20" y="19"/>
                  </a:cubicBezTo>
                  <a:cubicBezTo>
                    <a:pt x="39" y="0"/>
                    <a:pt x="71" y="0"/>
                    <a:pt x="90" y="19"/>
                  </a:cubicBezTo>
                  <a:cubicBezTo>
                    <a:pt x="110" y="39"/>
                    <a:pt x="110" y="71"/>
                    <a:pt x="90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369" name="Freeform 357">
              <a:extLst>
                <a:ext uri="{FF2B5EF4-FFF2-40B4-BE49-F238E27FC236}">
                  <a16:creationId xmlns:a16="http://schemas.microsoft.com/office/drawing/2014/main" id="{871E8AD1-071E-459D-9F16-BED5494A74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8838" y="2922588"/>
              <a:ext cx="11113" cy="11112"/>
            </a:xfrm>
            <a:custGeom>
              <a:avLst/>
              <a:gdLst>
                <a:gd name="T0" fmla="*/ 90 w 110"/>
                <a:gd name="T1" fmla="*/ 91 h 110"/>
                <a:gd name="T2" fmla="*/ 19 w 110"/>
                <a:gd name="T3" fmla="*/ 91 h 110"/>
                <a:gd name="T4" fmla="*/ 19 w 110"/>
                <a:gd name="T5" fmla="*/ 20 h 110"/>
                <a:gd name="T6" fmla="*/ 90 w 110"/>
                <a:gd name="T7" fmla="*/ 20 h 110"/>
                <a:gd name="T8" fmla="*/ 90 w 110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1"/>
                  </a:moveTo>
                  <a:cubicBezTo>
                    <a:pt x="71" y="110"/>
                    <a:pt x="39" y="110"/>
                    <a:pt x="19" y="91"/>
                  </a:cubicBezTo>
                  <a:cubicBezTo>
                    <a:pt x="0" y="71"/>
                    <a:pt x="0" y="39"/>
                    <a:pt x="19" y="20"/>
                  </a:cubicBezTo>
                  <a:cubicBezTo>
                    <a:pt x="39" y="0"/>
                    <a:pt x="71" y="0"/>
                    <a:pt x="90" y="20"/>
                  </a:cubicBezTo>
                  <a:cubicBezTo>
                    <a:pt x="110" y="39"/>
                    <a:pt x="110" y="71"/>
                    <a:pt x="90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370" name="Freeform 358">
              <a:extLst>
                <a:ext uri="{FF2B5EF4-FFF2-40B4-BE49-F238E27FC236}">
                  <a16:creationId xmlns:a16="http://schemas.microsoft.com/office/drawing/2014/main" id="{F6834F4A-15E7-4336-A6B4-CB3C96970929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8838" y="2922588"/>
              <a:ext cx="11113" cy="11112"/>
            </a:xfrm>
            <a:custGeom>
              <a:avLst/>
              <a:gdLst>
                <a:gd name="T0" fmla="*/ 90 w 110"/>
                <a:gd name="T1" fmla="*/ 91 h 110"/>
                <a:gd name="T2" fmla="*/ 19 w 110"/>
                <a:gd name="T3" fmla="*/ 91 h 110"/>
                <a:gd name="T4" fmla="*/ 19 w 110"/>
                <a:gd name="T5" fmla="*/ 20 h 110"/>
                <a:gd name="T6" fmla="*/ 90 w 110"/>
                <a:gd name="T7" fmla="*/ 20 h 110"/>
                <a:gd name="T8" fmla="*/ 90 w 110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1"/>
                  </a:moveTo>
                  <a:cubicBezTo>
                    <a:pt x="71" y="110"/>
                    <a:pt x="39" y="110"/>
                    <a:pt x="19" y="91"/>
                  </a:cubicBezTo>
                  <a:cubicBezTo>
                    <a:pt x="0" y="71"/>
                    <a:pt x="0" y="39"/>
                    <a:pt x="19" y="20"/>
                  </a:cubicBezTo>
                  <a:cubicBezTo>
                    <a:pt x="39" y="0"/>
                    <a:pt x="71" y="0"/>
                    <a:pt x="90" y="20"/>
                  </a:cubicBezTo>
                  <a:cubicBezTo>
                    <a:pt x="110" y="39"/>
                    <a:pt x="110" y="71"/>
                    <a:pt x="90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371" name="Freeform 359">
              <a:extLst>
                <a:ext uri="{FF2B5EF4-FFF2-40B4-BE49-F238E27FC236}">
                  <a16:creationId xmlns:a16="http://schemas.microsoft.com/office/drawing/2014/main" id="{086F6A38-39DA-415D-BFA7-59C970F9A629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2338" y="2922588"/>
              <a:ext cx="11113" cy="11112"/>
            </a:xfrm>
            <a:custGeom>
              <a:avLst/>
              <a:gdLst>
                <a:gd name="T0" fmla="*/ 90 w 110"/>
                <a:gd name="T1" fmla="*/ 91 h 110"/>
                <a:gd name="T2" fmla="*/ 20 w 110"/>
                <a:gd name="T3" fmla="*/ 91 h 110"/>
                <a:gd name="T4" fmla="*/ 20 w 110"/>
                <a:gd name="T5" fmla="*/ 20 h 110"/>
                <a:gd name="T6" fmla="*/ 90 w 110"/>
                <a:gd name="T7" fmla="*/ 20 h 110"/>
                <a:gd name="T8" fmla="*/ 90 w 110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1"/>
                  </a:moveTo>
                  <a:cubicBezTo>
                    <a:pt x="71" y="110"/>
                    <a:pt x="39" y="110"/>
                    <a:pt x="20" y="91"/>
                  </a:cubicBezTo>
                  <a:cubicBezTo>
                    <a:pt x="0" y="71"/>
                    <a:pt x="0" y="39"/>
                    <a:pt x="20" y="20"/>
                  </a:cubicBezTo>
                  <a:cubicBezTo>
                    <a:pt x="39" y="0"/>
                    <a:pt x="71" y="0"/>
                    <a:pt x="90" y="20"/>
                  </a:cubicBezTo>
                  <a:cubicBezTo>
                    <a:pt x="110" y="39"/>
                    <a:pt x="110" y="71"/>
                    <a:pt x="90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372" name="Freeform 360">
              <a:extLst>
                <a:ext uri="{FF2B5EF4-FFF2-40B4-BE49-F238E27FC236}">
                  <a16:creationId xmlns:a16="http://schemas.microsoft.com/office/drawing/2014/main" id="{C85459A3-7F2D-468F-B183-68D67CB27A6D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2338" y="2922588"/>
              <a:ext cx="11113" cy="11112"/>
            </a:xfrm>
            <a:custGeom>
              <a:avLst/>
              <a:gdLst>
                <a:gd name="T0" fmla="*/ 90 w 110"/>
                <a:gd name="T1" fmla="*/ 91 h 110"/>
                <a:gd name="T2" fmla="*/ 20 w 110"/>
                <a:gd name="T3" fmla="*/ 91 h 110"/>
                <a:gd name="T4" fmla="*/ 20 w 110"/>
                <a:gd name="T5" fmla="*/ 20 h 110"/>
                <a:gd name="T6" fmla="*/ 90 w 110"/>
                <a:gd name="T7" fmla="*/ 20 h 110"/>
                <a:gd name="T8" fmla="*/ 90 w 110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1"/>
                  </a:moveTo>
                  <a:cubicBezTo>
                    <a:pt x="71" y="110"/>
                    <a:pt x="39" y="110"/>
                    <a:pt x="20" y="91"/>
                  </a:cubicBezTo>
                  <a:cubicBezTo>
                    <a:pt x="0" y="71"/>
                    <a:pt x="0" y="39"/>
                    <a:pt x="20" y="20"/>
                  </a:cubicBezTo>
                  <a:cubicBezTo>
                    <a:pt x="39" y="0"/>
                    <a:pt x="71" y="0"/>
                    <a:pt x="90" y="20"/>
                  </a:cubicBezTo>
                  <a:cubicBezTo>
                    <a:pt x="110" y="39"/>
                    <a:pt x="110" y="71"/>
                    <a:pt x="90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373" name="Freeform 361">
              <a:extLst>
                <a:ext uri="{FF2B5EF4-FFF2-40B4-BE49-F238E27FC236}">
                  <a16:creationId xmlns:a16="http://schemas.microsoft.com/office/drawing/2014/main" id="{B7D1FE30-ADA5-4987-AC43-360C2251709F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5838" y="2922588"/>
              <a:ext cx="11113" cy="11112"/>
            </a:xfrm>
            <a:custGeom>
              <a:avLst/>
              <a:gdLst>
                <a:gd name="T0" fmla="*/ 91 w 110"/>
                <a:gd name="T1" fmla="*/ 91 h 110"/>
                <a:gd name="T2" fmla="*/ 20 w 110"/>
                <a:gd name="T3" fmla="*/ 91 h 110"/>
                <a:gd name="T4" fmla="*/ 20 w 110"/>
                <a:gd name="T5" fmla="*/ 20 h 110"/>
                <a:gd name="T6" fmla="*/ 91 w 110"/>
                <a:gd name="T7" fmla="*/ 20 h 110"/>
                <a:gd name="T8" fmla="*/ 91 w 110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1" y="91"/>
                  </a:moveTo>
                  <a:cubicBezTo>
                    <a:pt x="71" y="110"/>
                    <a:pt x="39" y="110"/>
                    <a:pt x="20" y="91"/>
                  </a:cubicBezTo>
                  <a:cubicBezTo>
                    <a:pt x="0" y="71"/>
                    <a:pt x="0" y="39"/>
                    <a:pt x="20" y="20"/>
                  </a:cubicBezTo>
                  <a:cubicBezTo>
                    <a:pt x="39" y="0"/>
                    <a:pt x="71" y="0"/>
                    <a:pt x="91" y="20"/>
                  </a:cubicBezTo>
                  <a:cubicBezTo>
                    <a:pt x="110" y="39"/>
                    <a:pt x="110" y="71"/>
                    <a:pt x="91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374" name="Freeform 362">
              <a:extLst>
                <a:ext uri="{FF2B5EF4-FFF2-40B4-BE49-F238E27FC236}">
                  <a16:creationId xmlns:a16="http://schemas.microsoft.com/office/drawing/2014/main" id="{E279A20C-8681-4712-9B30-D541477C85A9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5838" y="2922588"/>
              <a:ext cx="11113" cy="11112"/>
            </a:xfrm>
            <a:custGeom>
              <a:avLst/>
              <a:gdLst>
                <a:gd name="T0" fmla="*/ 91 w 110"/>
                <a:gd name="T1" fmla="*/ 91 h 110"/>
                <a:gd name="T2" fmla="*/ 20 w 110"/>
                <a:gd name="T3" fmla="*/ 91 h 110"/>
                <a:gd name="T4" fmla="*/ 20 w 110"/>
                <a:gd name="T5" fmla="*/ 20 h 110"/>
                <a:gd name="T6" fmla="*/ 91 w 110"/>
                <a:gd name="T7" fmla="*/ 20 h 110"/>
                <a:gd name="T8" fmla="*/ 91 w 110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1" y="91"/>
                  </a:moveTo>
                  <a:cubicBezTo>
                    <a:pt x="71" y="110"/>
                    <a:pt x="39" y="110"/>
                    <a:pt x="20" y="91"/>
                  </a:cubicBezTo>
                  <a:cubicBezTo>
                    <a:pt x="0" y="71"/>
                    <a:pt x="0" y="39"/>
                    <a:pt x="20" y="20"/>
                  </a:cubicBezTo>
                  <a:cubicBezTo>
                    <a:pt x="39" y="0"/>
                    <a:pt x="71" y="0"/>
                    <a:pt x="91" y="20"/>
                  </a:cubicBezTo>
                  <a:cubicBezTo>
                    <a:pt x="110" y="39"/>
                    <a:pt x="110" y="71"/>
                    <a:pt x="91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375" name="Freeform 363">
              <a:extLst>
                <a:ext uri="{FF2B5EF4-FFF2-40B4-BE49-F238E27FC236}">
                  <a16:creationId xmlns:a16="http://schemas.microsoft.com/office/drawing/2014/main" id="{F59230CF-69C6-433E-A1BF-0851A3F84CEF}"/>
                </a:ext>
              </a:extLst>
            </p:cNvPr>
            <p:cNvSpPr>
              <a:spLocks/>
            </p:cNvSpPr>
            <p:nvPr/>
          </p:nvSpPr>
          <p:spPr bwMode="auto">
            <a:xfrm>
              <a:off x="3589338" y="2922588"/>
              <a:ext cx="11113" cy="11112"/>
            </a:xfrm>
            <a:custGeom>
              <a:avLst/>
              <a:gdLst>
                <a:gd name="T0" fmla="*/ 91 w 110"/>
                <a:gd name="T1" fmla="*/ 91 h 110"/>
                <a:gd name="T2" fmla="*/ 20 w 110"/>
                <a:gd name="T3" fmla="*/ 91 h 110"/>
                <a:gd name="T4" fmla="*/ 20 w 110"/>
                <a:gd name="T5" fmla="*/ 20 h 110"/>
                <a:gd name="T6" fmla="*/ 91 w 110"/>
                <a:gd name="T7" fmla="*/ 20 h 110"/>
                <a:gd name="T8" fmla="*/ 91 w 110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1" y="91"/>
                  </a:moveTo>
                  <a:cubicBezTo>
                    <a:pt x="71" y="110"/>
                    <a:pt x="40" y="110"/>
                    <a:pt x="20" y="91"/>
                  </a:cubicBezTo>
                  <a:cubicBezTo>
                    <a:pt x="0" y="71"/>
                    <a:pt x="0" y="39"/>
                    <a:pt x="20" y="20"/>
                  </a:cubicBezTo>
                  <a:cubicBezTo>
                    <a:pt x="40" y="0"/>
                    <a:pt x="71" y="0"/>
                    <a:pt x="91" y="20"/>
                  </a:cubicBezTo>
                  <a:cubicBezTo>
                    <a:pt x="110" y="39"/>
                    <a:pt x="110" y="71"/>
                    <a:pt x="91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376" name="Freeform 364">
              <a:extLst>
                <a:ext uri="{FF2B5EF4-FFF2-40B4-BE49-F238E27FC236}">
                  <a16:creationId xmlns:a16="http://schemas.microsoft.com/office/drawing/2014/main" id="{5ABBC965-A392-4357-8DDE-D7C433A1423A}"/>
                </a:ext>
              </a:extLst>
            </p:cNvPr>
            <p:cNvSpPr>
              <a:spLocks/>
            </p:cNvSpPr>
            <p:nvPr/>
          </p:nvSpPr>
          <p:spPr bwMode="auto">
            <a:xfrm>
              <a:off x="3589338" y="2922588"/>
              <a:ext cx="11113" cy="11112"/>
            </a:xfrm>
            <a:custGeom>
              <a:avLst/>
              <a:gdLst>
                <a:gd name="T0" fmla="*/ 91 w 110"/>
                <a:gd name="T1" fmla="*/ 91 h 110"/>
                <a:gd name="T2" fmla="*/ 20 w 110"/>
                <a:gd name="T3" fmla="*/ 91 h 110"/>
                <a:gd name="T4" fmla="*/ 20 w 110"/>
                <a:gd name="T5" fmla="*/ 20 h 110"/>
                <a:gd name="T6" fmla="*/ 91 w 110"/>
                <a:gd name="T7" fmla="*/ 20 h 110"/>
                <a:gd name="T8" fmla="*/ 91 w 110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1" y="91"/>
                  </a:moveTo>
                  <a:cubicBezTo>
                    <a:pt x="71" y="110"/>
                    <a:pt x="40" y="110"/>
                    <a:pt x="20" y="91"/>
                  </a:cubicBezTo>
                  <a:cubicBezTo>
                    <a:pt x="0" y="71"/>
                    <a:pt x="0" y="39"/>
                    <a:pt x="20" y="20"/>
                  </a:cubicBezTo>
                  <a:cubicBezTo>
                    <a:pt x="40" y="0"/>
                    <a:pt x="71" y="0"/>
                    <a:pt x="91" y="20"/>
                  </a:cubicBezTo>
                  <a:cubicBezTo>
                    <a:pt x="110" y="39"/>
                    <a:pt x="110" y="71"/>
                    <a:pt x="91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377" name="Freeform 365">
              <a:extLst>
                <a:ext uri="{FF2B5EF4-FFF2-40B4-BE49-F238E27FC236}">
                  <a16:creationId xmlns:a16="http://schemas.microsoft.com/office/drawing/2014/main" id="{D80261F4-9B4C-4325-B036-289F0C833A6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5" y="2924175"/>
              <a:ext cx="9525" cy="9525"/>
            </a:xfrm>
            <a:custGeom>
              <a:avLst/>
              <a:gdLst>
                <a:gd name="T0" fmla="*/ 50 w 100"/>
                <a:gd name="T1" fmla="*/ 100 h 101"/>
                <a:gd name="T2" fmla="*/ 0 w 100"/>
                <a:gd name="T3" fmla="*/ 50 h 101"/>
                <a:gd name="T4" fmla="*/ 50 w 100"/>
                <a:gd name="T5" fmla="*/ 0 h 101"/>
                <a:gd name="T6" fmla="*/ 100 w 100"/>
                <a:gd name="T7" fmla="*/ 50 h 101"/>
                <a:gd name="T8" fmla="*/ 50 w 100"/>
                <a:gd name="T9" fmla="*/ 10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01">
                  <a:moveTo>
                    <a:pt x="50" y="100"/>
                  </a:moveTo>
                  <a:cubicBezTo>
                    <a:pt x="22" y="100"/>
                    <a:pt x="0" y="78"/>
                    <a:pt x="0" y="50"/>
                  </a:cubicBezTo>
                  <a:cubicBezTo>
                    <a:pt x="0" y="23"/>
                    <a:pt x="22" y="0"/>
                    <a:pt x="50" y="0"/>
                  </a:cubicBezTo>
                  <a:cubicBezTo>
                    <a:pt x="77" y="0"/>
                    <a:pt x="100" y="23"/>
                    <a:pt x="100" y="50"/>
                  </a:cubicBezTo>
                  <a:cubicBezTo>
                    <a:pt x="100" y="78"/>
                    <a:pt x="77" y="101"/>
                    <a:pt x="50" y="10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378" name="Freeform 366">
              <a:extLst>
                <a:ext uri="{FF2B5EF4-FFF2-40B4-BE49-F238E27FC236}">
                  <a16:creationId xmlns:a16="http://schemas.microsoft.com/office/drawing/2014/main" id="{5B983EDD-5F56-4368-A366-635DC390971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5" y="2924175"/>
              <a:ext cx="9525" cy="9525"/>
            </a:xfrm>
            <a:custGeom>
              <a:avLst/>
              <a:gdLst>
                <a:gd name="T0" fmla="*/ 50 w 100"/>
                <a:gd name="T1" fmla="*/ 100 h 101"/>
                <a:gd name="T2" fmla="*/ 0 w 100"/>
                <a:gd name="T3" fmla="*/ 50 h 101"/>
                <a:gd name="T4" fmla="*/ 50 w 100"/>
                <a:gd name="T5" fmla="*/ 0 h 101"/>
                <a:gd name="T6" fmla="*/ 100 w 100"/>
                <a:gd name="T7" fmla="*/ 50 h 101"/>
                <a:gd name="T8" fmla="*/ 50 w 100"/>
                <a:gd name="T9" fmla="*/ 10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01">
                  <a:moveTo>
                    <a:pt x="50" y="100"/>
                  </a:moveTo>
                  <a:cubicBezTo>
                    <a:pt x="22" y="100"/>
                    <a:pt x="0" y="78"/>
                    <a:pt x="0" y="50"/>
                  </a:cubicBezTo>
                  <a:cubicBezTo>
                    <a:pt x="0" y="23"/>
                    <a:pt x="22" y="0"/>
                    <a:pt x="50" y="0"/>
                  </a:cubicBezTo>
                  <a:cubicBezTo>
                    <a:pt x="77" y="0"/>
                    <a:pt x="100" y="23"/>
                    <a:pt x="100" y="50"/>
                  </a:cubicBezTo>
                  <a:cubicBezTo>
                    <a:pt x="100" y="78"/>
                    <a:pt x="77" y="101"/>
                    <a:pt x="50" y="10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379" name="Freeform 367">
              <a:extLst>
                <a:ext uri="{FF2B5EF4-FFF2-40B4-BE49-F238E27FC236}">
                  <a16:creationId xmlns:a16="http://schemas.microsoft.com/office/drawing/2014/main" id="{FB618999-7F30-427F-900E-15B2763944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7925" y="2922588"/>
              <a:ext cx="9525" cy="11112"/>
            </a:xfrm>
            <a:custGeom>
              <a:avLst/>
              <a:gdLst>
                <a:gd name="T0" fmla="*/ 91 w 110"/>
                <a:gd name="T1" fmla="*/ 90 h 110"/>
                <a:gd name="T2" fmla="*/ 20 w 110"/>
                <a:gd name="T3" fmla="*/ 90 h 110"/>
                <a:gd name="T4" fmla="*/ 20 w 110"/>
                <a:gd name="T5" fmla="*/ 19 h 110"/>
                <a:gd name="T6" fmla="*/ 91 w 110"/>
                <a:gd name="T7" fmla="*/ 19 h 110"/>
                <a:gd name="T8" fmla="*/ 91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1" y="90"/>
                  </a:moveTo>
                  <a:cubicBezTo>
                    <a:pt x="71" y="110"/>
                    <a:pt x="39" y="110"/>
                    <a:pt x="20" y="90"/>
                  </a:cubicBezTo>
                  <a:cubicBezTo>
                    <a:pt x="0" y="71"/>
                    <a:pt x="0" y="39"/>
                    <a:pt x="20" y="19"/>
                  </a:cubicBezTo>
                  <a:cubicBezTo>
                    <a:pt x="39" y="0"/>
                    <a:pt x="71" y="0"/>
                    <a:pt x="91" y="19"/>
                  </a:cubicBezTo>
                  <a:cubicBezTo>
                    <a:pt x="110" y="39"/>
                    <a:pt x="110" y="71"/>
                    <a:pt x="91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380" name="Freeform 368">
              <a:extLst>
                <a:ext uri="{FF2B5EF4-FFF2-40B4-BE49-F238E27FC236}">
                  <a16:creationId xmlns:a16="http://schemas.microsoft.com/office/drawing/2014/main" id="{55201751-6137-4F4C-B717-9CF9FF118165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7925" y="2922588"/>
              <a:ext cx="9525" cy="11112"/>
            </a:xfrm>
            <a:custGeom>
              <a:avLst/>
              <a:gdLst>
                <a:gd name="T0" fmla="*/ 91 w 110"/>
                <a:gd name="T1" fmla="*/ 90 h 110"/>
                <a:gd name="T2" fmla="*/ 20 w 110"/>
                <a:gd name="T3" fmla="*/ 90 h 110"/>
                <a:gd name="T4" fmla="*/ 20 w 110"/>
                <a:gd name="T5" fmla="*/ 19 h 110"/>
                <a:gd name="T6" fmla="*/ 91 w 110"/>
                <a:gd name="T7" fmla="*/ 19 h 110"/>
                <a:gd name="T8" fmla="*/ 91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1" y="90"/>
                  </a:moveTo>
                  <a:cubicBezTo>
                    <a:pt x="71" y="110"/>
                    <a:pt x="39" y="110"/>
                    <a:pt x="20" y="90"/>
                  </a:cubicBezTo>
                  <a:cubicBezTo>
                    <a:pt x="0" y="71"/>
                    <a:pt x="0" y="39"/>
                    <a:pt x="20" y="19"/>
                  </a:cubicBezTo>
                  <a:cubicBezTo>
                    <a:pt x="39" y="0"/>
                    <a:pt x="71" y="0"/>
                    <a:pt x="91" y="19"/>
                  </a:cubicBezTo>
                  <a:cubicBezTo>
                    <a:pt x="110" y="39"/>
                    <a:pt x="110" y="71"/>
                    <a:pt x="91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381" name="Freeform 369">
              <a:extLst>
                <a:ext uri="{FF2B5EF4-FFF2-40B4-BE49-F238E27FC236}">
                  <a16:creationId xmlns:a16="http://schemas.microsoft.com/office/drawing/2014/main" id="{8CC29A25-9DEE-4CB8-8D46-66538E1034D8}"/>
                </a:ext>
              </a:extLst>
            </p:cNvPr>
            <p:cNvSpPr>
              <a:spLocks/>
            </p:cNvSpPr>
            <p:nvPr/>
          </p:nvSpPr>
          <p:spPr bwMode="auto">
            <a:xfrm>
              <a:off x="3781425" y="2922588"/>
              <a:ext cx="9525" cy="11112"/>
            </a:xfrm>
            <a:custGeom>
              <a:avLst/>
              <a:gdLst>
                <a:gd name="T0" fmla="*/ 91 w 111"/>
                <a:gd name="T1" fmla="*/ 90 h 110"/>
                <a:gd name="T2" fmla="*/ 20 w 111"/>
                <a:gd name="T3" fmla="*/ 90 h 110"/>
                <a:gd name="T4" fmla="*/ 20 w 111"/>
                <a:gd name="T5" fmla="*/ 19 h 110"/>
                <a:gd name="T6" fmla="*/ 91 w 111"/>
                <a:gd name="T7" fmla="*/ 19 h 110"/>
                <a:gd name="T8" fmla="*/ 91 w 111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" h="110">
                  <a:moveTo>
                    <a:pt x="91" y="90"/>
                  </a:moveTo>
                  <a:cubicBezTo>
                    <a:pt x="71" y="110"/>
                    <a:pt x="40" y="110"/>
                    <a:pt x="20" y="90"/>
                  </a:cubicBezTo>
                  <a:cubicBezTo>
                    <a:pt x="0" y="71"/>
                    <a:pt x="0" y="39"/>
                    <a:pt x="20" y="19"/>
                  </a:cubicBezTo>
                  <a:cubicBezTo>
                    <a:pt x="40" y="0"/>
                    <a:pt x="71" y="0"/>
                    <a:pt x="91" y="19"/>
                  </a:cubicBezTo>
                  <a:cubicBezTo>
                    <a:pt x="111" y="39"/>
                    <a:pt x="111" y="71"/>
                    <a:pt x="91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382" name="Freeform 370">
              <a:extLst>
                <a:ext uri="{FF2B5EF4-FFF2-40B4-BE49-F238E27FC236}">
                  <a16:creationId xmlns:a16="http://schemas.microsoft.com/office/drawing/2014/main" id="{898EEAC2-65A2-457F-A578-9C0E4A5CC858}"/>
                </a:ext>
              </a:extLst>
            </p:cNvPr>
            <p:cNvSpPr>
              <a:spLocks/>
            </p:cNvSpPr>
            <p:nvPr/>
          </p:nvSpPr>
          <p:spPr bwMode="auto">
            <a:xfrm>
              <a:off x="3781425" y="2922588"/>
              <a:ext cx="9525" cy="11112"/>
            </a:xfrm>
            <a:custGeom>
              <a:avLst/>
              <a:gdLst>
                <a:gd name="T0" fmla="*/ 91 w 111"/>
                <a:gd name="T1" fmla="*/ 90 h 110"/>
                <a:gd name="T2" fmla="*/ 20 w 111"/>
                <a:gd name="T3" fmla="*/ 90 h 110"/>
                <a:gd name="T4" fmla="*/ 20 w 111"/>
                <a:gd name="T5" fmla="*/ 19 h 110"/>
                <a:gd name="T6" fmla="*/ 91 w 111"/>
                <a:gd name="T7" fmla="*/ 19 h 110"/>
                <a:gd name="T8" fmla="*/ 91 w 111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" h="110">
                  <a:moveTo>
                    <a:pt x="91" y="90"/>
                  </a:moveTo>
                  <a:cubicBezTo>
                    <a:pt x="71" y="110"/>
                    <a:pt x="40" y="110"/>
                    <a:pt x="20" y="90"/>
                  </a:cubicBezTo>
                  <a:cubicBezTo>
                    <a:pt x="0" y="71"/>
                    <a:pt x="0" y="39"/>
                    <a:pt x="20" y="19"/>
                  </a:cubicBezTo>
                  <a:cubicBezTo>
                    <a:pt x="40" y="0"/>
                    <a:pt x="71" y="0"/>
                    <a:pt x="91" y="19"/>
                  </a:cubicBezTo>
                  <a:cubicBezTo>
                    <a:pt x="111" y="39"/>
                    <a:pt x="111" y="71"/>
                    <a:pt x="91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383" name="Freeform 371">
              <a:extLst>
                <a:ext uri="{FF2B5EF4-FFF2-40B4-BE49-F238E27FC236}">
                  <a16:creationId xmlns:a16="http://schemas.microsoft.com/office/drawing/2014/main" id="{F6CDE950-A22C-49B2-A043-C6E35BA81DC2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8750" y="2859088"/>
              <a:ext cx="9525" cy="9525"/>
            </a:xfrm>
            <a:custGeom>
              <a:avLst/>
              <a:gdLst>
                <a:gd name="T0" fmla="*/ 50 w 100"/>
                <a:gd name="T1" fmla="*/ 100 h 100"/>
                <a:gd name="T2" fmla="*/ 0 w 100"/>
                <a:gd name="T3" fmla="*/ 50 h 100"/>
                <a:gd name="T4" fmla="*/ 50 w 100"/>
                <a:gd name="T5" fmla="*/ 0 h 100"/>
                <a:gd name="T6" fmla="*/ 100 w 100"/>
                <a:gd name="T7" fmla="*/ 50 h 100"/>
                <a:gd name="T8" fmla="*/ 50 w 100"/>
                <a:gd name="T9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00">
                  <a:moveTo>
                    <a:pt x="50" y="100"/>
                  </a:moveTo>
                  <a:cubicBezTo>
                    <a:pt x="23" y="100"/>
                    <a:pt x="0" y="77"/>
                    <a:pt x="0" y="50"/>
                  </a:cubicBezTo>
                  <a:cubicBezTo>
                    <a:pt x="0" y="22"/>
                    <a:pt x="23" y="0"/>
                    <a:pt x="50" y="0"/>
                  </a:cubicBezTo>
                  <a:cubicBezTo>
                    <a:pt x="77" y="0"/>
                    <a:pt x="100" y="22"/>
                    <a:pt x="100" y="50"/>
                  </a:cubicBezTo>
                  <a:cubicBezTo>
                    <a:pt x="100" y="77"/>
                    <a:pt x="78" y="99"/>
                    <a:pt x="50" y="10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384" name="Freeform 372">
              <a:extLst>
                <a:ext uri="{FF2B5EF4-FFF2-40B4-BE49-F238E27FC236}">
                  <a16:creationId xmlns:a16="http://schemas.microsoft.com/office/drawing/2014/main" id="{21753AD0-3DC4-4DA2-A0F2-5A755B6E1DB5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8750" y="2859088"/>
              <a:ext cx="9525" cy="9525"/>
            </a:xfrm>
            <a:custGeom>
              <a:avLst/>
              <a:gdLst>
                <a:gd name="T0" fmla="*/ 50 w 100"/>
                <a:gd name="T1" fmla="*/ 100 h 100"/>
                <a:gd name="T2" fmla="*/ 0 w 100"/>
                <a:gd name="T3" fmla="*/ 50 h 100"/>
                <a:gd name="T4" fmla="*/ 50 w 100"/>
                <a:gd name="T5" fmla="*/ 0 h 100"/>
                <a:gd name="T6" fmla="*/ 100 w 100"/>
                <a:gd name="T7" fmla="*/ 50 h 100"/>
                <a:gd name="T8" fmla="*/ 50 w 100"/>
                <a:gd name="T9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00">
                  <a:moveTo>
                    <a:pt x="50" y="100"/>
                  </a:moveTo>
                  <a:cubicBezTo>
                    <a:pt x="23" y="100"/>
                    <a:pt x="0" y="77"/>
                    <a:pt x="0" y="50"/>
                  </a:cubicBezTo>
                  <a:cubicBezTo>
                    <a:pt x="0" y="22"/>
                    <a:pt x="23" y="0"/>
                    <a:pt x="50" y="0"/>
                  </a:cubicBezTo>
                  <a:cubicBezTo>
                    <a:pt x="77" y="0"/>
                    <a:pt x="100" y="22"/>
                    <a:pt x="100" y="50"/>
                  </a:cubicBezTo>
                  <a:cubicBezTo>
                    <a:pt x="100" y="77"/>
                    <a:pt x="78" y="99"/>
                    <a:pt x="50" y="10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385" name="Freeform 373">
              <a:extLst>
                <a:ext uri="{FF2B5EF4-FFF2-40B4-BE49-F238E27FC236}">
                  <a16:creationId xmlns:a16="http://schemas.microsoft.com/office/drawing/2014/main" id="{55127D6E-713A-4F9F-B88E-2FA72A2E2F59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2250" y="2859088"/>
              <a:ext cx="9525" cy="9525"/>
            </a:xfrm>
            <a:custGeom>
              <a:avLst/>
              <a:gdLst>
                <a:gd name="T0" fmla="*/ 50 w 100"/>
                <a:gd name="T1" fmla="*/ 100 h 100"/>
                <a:gd name="T2" fmla="*/ 0 w 100"/>
                <a:gd name="T3" fmla="*/ 50 h 100"/>
                <a:gd name="T4" fmla="*/ 50 w 100"/>
                <a:gd name="T5" fmla="*/ 0 h 100"/>
                <a:gd name="T6" fmla="*/ 100 w 100"/>
                <a:gd name="T7" fmla="*/ 50 h 100"/>
                <a:gd name="T8" fmla="*/ 50 w 100"/>
                <a:gd name="T9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00">
                  <a:moveTo>
                    <a:pt x="50" y="100"/>
                  </a:moveTo>
                  <a:cubicBezTo>
                    <a:pt x="22" y="100"/>
                    <a:pt x="0" y="78"/>
                    <a:pt x="0" y="50"/>
                  </a:cubicBezTo>
                  <a:cubicBezTo>
                    <a:pt x="0" y="23"/>
                    <a:pt x="22" y="0"/>
                    <a:pt x="50" y="0"/>
                  </a:cubicBezTo>
                  <a:cubicBezTo>
                    <a:pt x="77" y="0"/>
                    <a:pt x="100" y="23"/>
                    <a:pt x="100" y="50"/>
                  </a:cubicBezTo>
                  <a:cubicBezTo>
                    <a:pt x="99" y="78"/>
                    <a:pt x="77" y="100"/>
                    <a:pt x="50" y="10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386" name="Freeform 374">
              <a:extLst>
                <a:ext uri="{FF2B5EF4-FFF2-40B4-BE49-F238E27FC236}">
                  <a16:creationId xmlns:a16="http://schemas.microsoft.com/office/drawing/2014/main" id="{A2F27117-7120-4F71-B802-4FD5D3A8D51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2250" y="2859088"/>
              <a:ext cx="9525" cy="9525"/>
            </a:xfrm>
            <a:custGeom>
              <a:avLst/>
              <a:gdLst>
                <a:gd name="T0" fmla="*/ 50 w 100"/>
                <a:gd name="T1" fmla="*/ 100 h 100"/>
                <a:gd name="T2" fmla="*/ 0 w 100"/>
                <a:gd name="T3" fmla="*/ 50 h 100"/>
                <a:gd name="T4" fmla="*/ 50 w 100"/>
                <a:gd name="T5" fmla="*/ 0 h 100"/>
                <a:gd name="T6" fmla="*/ 100 w 100"/>
                <a:gd name="T7" fmla="*/ 50 h 100"/>
                <a:gd name="T8" fmla="*/ 50 w 100"/>
                <a:gd name="T9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00">
                  <a:moveTo>
                    <a:pt x="50" y="100"/>
                  </a:moveTo>
                  <a:cubicBezTo>
                    <a:pt x="22" y="100"/>
                    <a:pt x="0" y="78"/>
                    <a:pt x="0" y="50"/>
                  </a:cubicBezTo>
                  <a:cubicBezTo>
                    <a:pt x="0" y="23"/>
                    <a:pt x="22" y="0"/>
                    <a:pt x="50" y="0"/>
                  </a:cubicBezTo>
                  <a:cubicBezTo>
                    <a:pt x="77" y="0"/>
                    <a:pt x="100" y="23"/>
                    <a:pt x="100" y="50"/>
                  </a:cubicBezTo>
                  <a:cubicBezTo>
                    <a:pt x="99" y="78"/>
                    <a:pt x="77" y="100"/>
                    <a:pt x="50" y="10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387" name="Freeform 375">
              <a:extLst>
                <a:ext uri="{FF2B5EF4-FFF2-40B4-BE49-F238E27FC236}">
                  <a16:creationId xmlns:a16="http://schemas.microsoft.com/office/drawing/2014/main" id="{DA1D748D-BCF5-4668-8B12-0A499E1015E9}"/>
                </a:ext>
              </a:extLst>
            </p:cNvPr>
            <p:cNvSpPr>
              <a:spLocks/>
            </p:cNvSpPr>
            <p:nvPr/>
          </p:nvSpPr>
          <p:spPr bwMode="auto">
            <a:xfrm>
              <a:off x="2825750" y="2859088"/>
              <a:ext cx="11113" cy="11112"/>
            </a:xfrm>
            <a:custGeom>
              <a:avLst/>
              <a:gdLst>
                <a:gd name="T0" fmla="*/ 90 w 110"/>
                <a:gd name="T1" fmla="*/ 91 h 110"/>
                <a:gd name="T2" fmla="*/ 19 w 110"/>
                <a:gd name="T3" fmla="*/ 91 h 110"/>
                <a:gd name="T4" fmla="*/ 19 w 110"/>
                <a:gd name="T5" fmla="*/ 20 h 110"/>
                <a:gd name="T6" fmla="*/ 90 w 110"/>
                <a:gd name="T7" fmla="*/ 20 h 110"/>
                <a:gd name="T8" fmla="*/ 90 w 110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1"/>
                  </a:moveTo>
                  <a:cubicBezTo>
                    <a:pt x="71" y="110"/>
                    <a:pt x="39" y="110"/>
                    <a:pt x="19" y="91"/>
                  </a:cubicBezTo>
                  <a:cubicBezTo>
                    <a:pt x="0" y="71"/>
                    <a:pt x="0" y="39"/>
                    <a:pt x="19" y="20"/>
                  </a:cubicBezTo>
                  <a:cubicBezTo>
                    <a:pt x="39" y="0"/>
                    <a:pt x="71" y="0"/>
                    <a:pt x="90" y="20"/>
                  </a:cubicBezTo>
                  <a:cubicBezTo>
                    <a:pt x="110" y="39"/>
                    <a:pt x="110" y="71"/>
                    <a:pt x="90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388" name="Freeform 376">
              <a:extLst>
                <a:ext uri="{FF2B5EF4-FFF2-40B4-BE49-F238E27FC236}">
                  <a16:creationId xmlns:a16="http://schemas.microsoft.com/office/drawing/2014/main" id="{0BE3A099-9B14-4445-B242-4C3C0B2B65B0}"/>
                </a:ext>
              </a:extLst>
            </p:cNvPr>
            <p:cNvSpPr>
              <a:spLocks/>
            </p:cNvSpPr>
            <p:nvPr/>
          </p:nvSpPr>
          <p:spPr bwMode="auto">
            <a:xfrm>
              <a:off x="2825750" y="2859088"/>
              <a:ext cx="11113" cy="11112"/>
            </a:xfrm>
            <a:custGeom>
              <a:avLst/>
              <a:gdLst>
                <a:gd name="T0" fmla="*/ 90 w 110"/>
                <a:gd name="T1" fmla="*/ 91 h 110"/>
                <a:gd name="T2" fmla="*/ 19 w 110"/>
                <a:gd name="T3" fmla="*/ 91 h 110"/>
                <a:gd name="T4" fmla="*/ 19 w 110"/>
                <a:gd name="T5" fmla="*/ 20 h 110"/>
                <a:gd name="T6" fmla="*/ 90 w 110"/>
                <a:gd name="T7" fmla="*/ 20 h 110"/>
                <a:gd name="T8" fmla="*/ 90 w 110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1"/>
                  </a:moveTo>
                  <a:cubicBezTo>
                    <a:pt x="71" y="110"/>
                    <a:pt x="39" y="110"/>
                    <a:pt x="19" y="91"/>
                  </a:cubicBezTo>
                  <a:cubicBezTo>
                    <a:pt x="0" y="71"/>
                    <a:pt x="0" y="39"/>
                    <a:pt x="19" y="20"/>
                  </a:cubicBezTo>
                  <a:cubicBezTo>
                    <a:pt x="39" y="0"/>
                    <a:pt x="71" y="0"/>
                    <a:pt x="90" y="20"/>
                  </a:cubicBezTo>
                  <a:cubicBezTo>
                    <a:pt x="110" y="39"/>
                    <a:pt x="110" y="71"/>
                    <a:pt x="90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389" name="Oval 377">
              <a:extLst>
                <a:ext uri="{FF2B5EF4-FFF2-40B4-BE49-F238E27FC236}">
                  <a16:creationId xmlns:a16="http://schemas.microsoft.com/office/drawing/2014/main" id="{469461B5-EF7F-44F8-AA00-8930E5042D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90838" y="2859088"/>
              <a:ext cx="9525" cy="9525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390" name="Oval 378">
              <a:extLst>
                <a:ext uri="{FF2B5EF4-FFF2-40B4-BE49-F238E27FC236}">
                  <a16:creationId xmlns:a16="http://schemas.microsoft.com/office/drawing/2014/main" id="{07B83EFA-E554-41D7-A8A5-AD4F6FCDF3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90838" y="2859088"/>
              <a:ext cx="9525" cy="9525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391" name="Freeform 379">
              <a:extLst>
                <a:ext uri="{FF2B5EF4-FFF2-40B4-BE49-F238E27FC236}">
                  <a16:creationId xmlns:a16="http://schemas.microsoft.com/office/drawing/2014/main" id="{D2602831-E3BE-4C28-9270-700D64EDFCB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52750" y="2859088"/>
              <a:ext cx="11113" cy="11112"/>
            </a:xfrm>
            <a:custGeom>
              <a:avLst/>
              <a:gdLst>
                <a:gd name="T0" fmla="*/ 91 w 110"/>
                <a:gd name="T1" fmla="*/ 91 h 110"/>
                <a:gd name="T2" fmla="*/ 20 w 110"/>
                <a:gd name="T3" fmla="*/ 91 h 110"/>
                <a:gd name="T4" fmla="*/ 20 w 110"/>
                <a:gd name="T5" fmla="*/ 20 h 110"/>
                <a:gd name="T6" fmla="*/ 91 w 110"/>
                <a:gd name="T7" fmla="*/ 20 h 110"/>
                <a:gd name="T8" fmla="*/ 91 w 110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1" y="91"/>
                  </a:moveTo>
                  <a:cubicBezTo>
                    <a:pt x="71" y="110"/>
                    <a:pt x="39" y="110"/>
                    <a:pt x="20" y="91"/>
                  </a:cubicBezTo>
                  <a:cubicBezTo>
                    <a:pt x="0" y="71"/>
                    <a:pt x="0" y="39"/>
                    <a:pt x="20" y="20"/>
                  </a:cubicBezTo>
                  <a:cubicBezTo>
                    <a:pt x="39" y="0"/>
                    <a:pt x="71" y="0"/>
                    <a:pt x="91" y="20"/>
                  </a:cubicBezTo>
                  <a:cubicBezTo>
                    <a:pt x="110" y="39"/>
                    <a:pt x="110" y="71"/>
                    <a:pt x="91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392" name="Freeform 380">
              <a:extLst>
                <a:ext uri="{FF2B5EF4-FFF2-40B4-BE49-F238E27FC236}">
                  <a16:creationId xmlns:a16="http://schemas.microsoft.com/office/drawing/2014/main" id="{707CE71E-2D07-4C2D-8F36-9A14BB95B9D3}"/>
                </a:ext>
              </a:extLst>
            </p:cNvPr>
            <p:cNvSpPr>
              <a:spLocks/>
            </p:cNvSpPr>
            <p:nvPr/>
          </p:nvSpPr>
          <p:spPr bwMode="auto">
            <a:xfrm>
              <a:off x="2952750" y="2859088"/>
              <a:ext cx="11113" cy="11112"/>
            </a:xfrm>
            <a:custGeom>
              <a:avLst/>
              <a:gdLst>
                <a:gd name="T0" fmla="*/ 91 w 110"/>
                <a:gd name="T1" fmla="*/ 91 h 110"/>
                <a:gd name="T2" fmla="*/ 20 w 110"/>
                <a:gd name="T3" fmla="*/ 91 h 110"/>
                <a:gd name="T4" fmla="*/ 20 w 110"/>
                <a:gd name="T5" fmla="*/ 20 h 110"/>
                <a:gd name="T6" fmla="*/ 91 w 110"/>
                <a:gd name="T7" fmla="*/ 20 h 110"/>
                <a:gd name="T8" fmla="*/ 91 w 110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1" y="91"/>
                  </a:moveTo>
                  <a:cubicBezTo>
                    <a:pt x="71" y="110"/>
                    <a:pt x="39" y="110"/>
                    <a:pt x="20" y="91"/>
                  </a:cubicBezTo>
                  <a:cubicBezTo>
                    <a:pt x="0" y="71"/>
                    <a:pt x="0" y="39"/>
                    <a:pt x="20" y="20"/>
                  </a:cubicBezTo>
                  <a:cubicBezTo>
                    <a:pt x="39" y="0"/>
                    <a:pt x="71" y="0"/>
                    <a:pt x="91" y="20"/>
                  </a:cubicBezTo>
                  <a:cubicBezTo>
                    <a:pt x="110" y="39"/>
                    <a:pt x="110" y="71"/>
                    <a:pt x="91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393" name="Freeform 381">
              <a:extLst>
                <a:ext uri="{FF2B5EF4-FFF2-40B4-BE49-F238E27FC236}">
                  <a16:creationId xmlns:a16="http://schemas.microsoft.com/office/drawing/2014/main" id="{8F797C78-BAE9-455D-AC6E-854A81A160A1}"/>
                </a:ext>
              </a:extLst>
            </p:cNvPr>
            <p:cNvSpPr>
              <a:spLocks/>
            </p:cNvSpPr>
            <p:nvPr/>
          </p:nvSpPr>
          <p:spPr bwMode="auto">
            <a:xfrm>
              <a:off x="3016250" y="2859088"/>
              <a:ext cx="11113" cy="11112"/>
            </a:xfrm>
            <a:custGeom>
              <a:avLst/>
              <a:gdLst>
                <a:gd name="T0" fmla="*/ 91 w 111"/>
                <a:gd name="T1" fmla="*/ 91 h 110"/>
                <a:gd name="T2" fmla="*/ 20 w 111"/>
                <a:gd name="T3" fmla="*/ 91 h 110"/>
                <a:gd name="T4" fmla="*/ 20 w 111"/>
                <a:gd name="T5" fmla="*/ 20 h 110"/>
                <a:gd name="T6" fmla="*/ 91 w 111"/>
                <a:gd name="T7" fmla="*/ 20 h 110"/>
                <a:gd name="T8" fmla="*/ 91 w 111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" h="110">
                  <a:moveTo>
                    <a:pt x="91" y="91"/>
                  </a:moveTo>
                  <a:cubicBezTo>
                    <a:pt x="71" y="110"/>
                    <a:pt x="40" y="110"/>
                    <a:pt x="20" y="91"/>
                  </a:cubicBezTo>
                  <a:cubicBezTo>
                    <a:pt x="0" y="71"/>
                    <a:pt x="0" y="39"/>
                    <a:pt x="20" y="20"/>
                  </a:cubicBezTo>
                  <a:cubicBezTo>
                    <a:pt x="40" y="0"/>
                    <a:pt x="71" y="0"/>
                    <a:pt x="91" y="20"/>
                  </a:cubicBezTo>
                  <a:cubicBezTo>
                    <a:pt x="111" y="39"/>
                    <a:pt x="111" y="71"/>
                    <a:pt x="91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394" name="Freeform 382">
              <a:extLst>
                <a:ext uri="{FF2B5EF4-FFF2-40B4-BE49-F238E27FC236}">
                  <a16:creationId xmlns:a16="http://schemas.microsoft.com/office/drawing/2014/main" id="{882DD42A-3A0C-4EE9-AE20-D239230F7090}"/>
                </a:ext>
              </a:extLst>
            </p:cNvPr>
            <p:cNvSpPr>
              <a:spLocks/>
            </p:cNvSpPr>
            <p:nvPr/>
          </p:nvSpPr>
          <p:spPr bwMode="auto">
            <a:xfrm>
              <a:off x="3016250" y="2859088"/>
              <a:ext cx="11113" cy="11112"/>
            </a:xfrm>
            <a:custGeom>
              <a:avLst/>
              <a:gdLst>
                <a:gd name="T0" fmla="*/ 91 w 111"/>
                <a:gd name="T1" fmla="*/ 91 h 110"/>
                <a:gd name="T2" fmla="*/ 20 w 111"/>
                <a:gd name="T3" fmla="*/ 91 h 110"/>
                <a:gd name="T4" fmla="*/ 20 w 111"/>
                <a:gd name="T5" fmla="*/ 20 h 110"/>
                <a:gd name="T6" fmla="*/ 91 w 111"/>
                <a:gd name="T7" fmla="*/ 20 h 110"/>
                <a:gd name="T8" fmla="*/ 91 w 111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" h="110">
                  <a:moveTo>
                    <a:pt x="91" y="91"/>
                  </a:moveTo>
                  <a:cubicBezTo>
                    <a:pt x="71" y="110"/>
                    <a:pt x="40" y="110"/>
                    <a:pt x="20" y="91"/>
                  </a:cubicBezTo>
                  <a:cubicBezTo>
                    <a:pt x="0" y="71"/>
                    <a:pt x="0" y="39"/>
                    <a:pt x="20" y="20"/>
                  </a:cubicBezTo>
                  <a:cubicBezTo>
                    <a:pt x="40" y="0"/>
                    <a:pt x="71" y="0"/>
                    <a:pt x="91" y="20"/>
                  </a:cubicBezTo>
                  <a:cubicBezTo>
                    <a:pt x="111" y="39"/>
                    <a:pt x="111" y="71"/>
                    <a:pt x="91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395" name="Freeform 383">
              <a:extLst>
                <a:ext uri="{FF2B5EF4-FFF2-40B4-BE49-F238E27FC236}">
                  <a16:creationId xmlns:a16="http://schemas.microsoft.com/office/drawing/2014/main" id="{FA439FD8-4F84-4479-B5CC-739021D1C1BB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1338" y="2859088"/>
              <a:ext cx="9525" cy="9525"/>
            </a:xfrm>
            <a:custGeom>
              <a:avLst/>
              <a:gdLst>
                <a:gd name="T0" fmla="*/ 50 w 100"/>
                <a:gd name="T1" fmla="*/ 100 h 101"/>
                <a:gd name="T2" fmla="*/ 0 w 100"/>
                <a:gd name="T3" fmla="*/ 50 h 101"/>
                <a:gd name="T4" fmla="*/ 50 w 100"/>
                <a:gd name="T5" fmla="*/ 0 h 101"/>
                <a:gd name="T6" fmla="*/ 100 w 100"/>
                <a:gd name="T7" fmla="*/ 50 h 101"/>
                <a:gd name="T8" fmla="*/ 50 w 100"/>
                <a:gd name="T9" fmla="*/ 10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01">
                  <a:moveTo>
                    <a:pt x="50" y="100"/>
                  </a:moveTo>
                  <a:cubicBezTo>
                    <a:pt x="22" y="100"/>
                    <a:pt x="0" y="78"/>
                    <a:pt x="0" y="50"/>
                  </a:cubicBezTo>
                  <a:cubicBezTo>
                    <a:pt x="0" y="23"/>
                    <a:pt x="22" y="0"/>
                    <a:pt x="50" y="0"/>
                  </a:cubicBezTo>
                  <a:cubicBezTo>
                    <a:pt x="77" y="0"/>
                    <a:pt x="100" y="23"/>
                    <a:pt x="100" y="50"/>
                  </a:cubicBezTo>
                  <a:cubicBezTo>
                    <a:pt x="100" y="78"/>
                    <a:pt x="78" y="101"/>
                    <a:pt x="50" y="10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396" name="Freeform 384">
              <a:extLst>
                <a:ext uri="{FF2B5EF4-FFF2-40B4-BE49-F238E27FC236}">
                  <a16:creationId xmlns:a16="http://schemas.microsoft.com/office/drawing/2014/main" id="{B3099035-B02D-44D1-81E7-3ABB2FBEC0D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1338" y="2859088"/>
              <a:ext cx="9525" cy="9525"/>
            </a:xfrm>
            <a:custGeom>
              <a:avLst/>
              <a:gdLst>
                <a:gd name="T0" fmla="*/ 50 w 100"/>
                <a:gd name="T1" fmla="*/ 100 h 101"/>
                <a:gd name="T2" fmla="*/ 0 w 100"/>
                <a:gd name="T3" fmla="*/ 50 h 101"/>
                <a:gd name="T4" fmla="*/ 50 w 100"/>
                <a:gd name="T5" fmla="*/ 0 h 101"/>
                <a:gd name="T6" fmla="*/ 100 w 100"/>
                <a:gd name="T7" fmla="*/ 50 h 101"/>
                <a:gd name="T8" fmla="*/ 50 w 100"/>
                <a:gd name="T9" fmla="*/ 10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01">
                  <a:moveTo>
                    <a:pt x="50" y="100"/>
                  </a:moveTo>
                  <a:cubicBezTo>
                    <a:pt x="22" y="100"/>
                    <a:pt x="0" y="78"/>
                    <a:pt x="0" y="50"/>
                  </a:cubicBezTo>
                  <a:cubicBezTo>
                    <a:pt x="0" y="23"/>
                    <a:pt x="22" y="0"/>
                    <a:pt x="50" y="0"/>
                  </a:cubicBezTo>
                  <a:cubicBezTo>
                    <a:pt x="77" y="0"/>
                    <a:pt x="100" y="23"/>
                    <a:pt x="100" y="50"/>
                  </a:cubicBezTo>
                  <a:cubicBezTo>
                    <a:pt x="100" y="78"/>
                    <a:pt x="78" y="101"/>
                    <a:pt x="50" y="10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397" name="Freeform 385">
              <a:extLst>
                <a:ext uri="{FF2B5EF4-FFF2-40B4-BE49-F238E27FC236}">
                  <a16:creationId xmlns:a16="http://schemas.microsoft.com/office/drawing/2014/main" id="{C5F44A87-2508-466B-86CE-798EFE7CF4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4838" y="2859088"/>
              <a:ext cx="9525" cy="11112"/>
            </a:xfrm>
            <a:custGeom>
              <a:avLst/>
              <a:gdLst>
                <a:gd name="T0" fmla="*/ 90 w 110"/>
                <a:gd name="T1" fmla="*/ 91 h 110"/>
                <a:gd name="T2" fmla="*/ 20 w 110"/>
                <a:gd name="T3" fmla="*/ 91 h 110"/>
                <a:gd name="T4" fmla="*/ 20 w 110"/>
                <a:gd name="T5" fmla="*/ 20 h 110"/>
                <a:gd name="T6" fmla="*/ 90 w 110"/>
                <a:gd name="T7" fmla="*/ 20 h 110"/>
                <a:gd name="T8" fmla="*/ 90 w 110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1"/>
                  </a:moveTo>
                  <a:cubicBezTo>
                    <a:pt x="71" y="110"/>
                    <a:pt x="39" y="110"/>
                    <a:pt x="20" y="91"/>
                  </a:cubicBezTo>
                  <a:cubicBezTo>
                    <a:pt x="0" y="71"/>
                    <a:pt x="0" y="39"/>
                    <a:pt x="20" y="20"/>
                  </a:cubicBezTo>
                  <a:cubicBezTo>
                    <a:pt x="39" y="0"/>
                    <a:pt x="71" y="0"/>
                    <a:pt x="90" y="20"/>
                  </a:cubicBezTo>
                  <a:cubicBezTo>
                    <a:pt x="110" y="39"/>
                    <a:pt x="110" y="71"/>
                    <a:pt x="90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398" name="Freeform 386">
              <a:extLst>
                <a:ext uri="{FF2B5EF4-FFF2-40B4-BE49-F238E27FC236}">
                  <a16:creationId xmlns:a16="http://schemas.microsoft.com/office/drawing/2014/main" id="{9FE889EC-D5D9-44A2-81DF-B5C04510B07F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4838" y="2859088"/>
              <a:ext cx="9525" cy="11112"/>
            </a:xfrm>
            <a:custGeom>
              <a:avLst/>
              <a:gdLst>
                <a:gd name="T0" fmla="*/ 90 w 110"/>
                <a:gd name="T1" fmla="*/ 91 h 110"/>
                <a:gd name="T2" fmla="*/ 20 w 110"/>
                <a:gd name="T3" fmla="*/ 91 h 110"/>
                <a:gd name="T4" fmla="*/ 20 w 110"/>
                <a:gd name="T5" fmla="*/ 20 h 110"/>
                <a:gd name="T6" fmla="*/ 90 w 110"/>
                <a:gd name="T7" fmla="*/ 20 h 110"/>
                <a:gd name="T8" fmla="*/ 90 w 110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1"/>
                  </a:moveTo>
                  <a:cubicBezTo>
                    <a:pt x="71" y="110"/>
                    <a:pt x="39" y="110"/>
                    <a:pt x="20" y="91"/>
                  </a:cubicBezTo>
                  <a:cubicBezTo>
                    <a:pt x="0" y="71"/>
                    <a:pt x="0" y="39"/>
                    <a:pt x="20" y="20"/>
                  </a:cubicBezTo>
                  <a:cubicBezTo>
                    <a:pt x="39" y="0"/>
                    <a:pt x="71" y="0"/>
                    <a:pt x="90" y="20"/>
                  </a:cubicBezTo>
                  <a:cubicBezTo>
                    <a:pt x="110" y="39"/>
                    <a:pt x="110" y="71"/>
                    <a:pt x="90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399" name="Freeform 387">
              <a:extLst>
                <a:ext uri="{FF2B5EF4-FFF2-40B4-BE49-F238E27FC236}">
                  <a16:creationId xmlns:a16="http://schemas.microsoft.com/office/drawing/2014/main" id="{A5F7E3B7-283D-4032-9012-2C4951F575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8338" y="2859088"/>
              <a:ext cx="9525" cy="11112"/>
            </a:xfrm>
            <a:custGeom>
              <a:avLst/>
              <a:gdLst>
                <a:gd name="T0" fmla="*/ 90 w 110"/>
                <a:gd name="T1" fmla="*/ 90 h 110"/>
                <a:gd name="T2" fmla="*/ 19 w 110"/>
                <a:gd name="T3" fmla="*/ 90 h 110"/>
                <a:gd name="T4" fmla="*/ 19 w 110"/>
                <a:gd name="T5" fmla="*/ 19 h 110"/>
                <a:gd name="T6" fmla="*/ 90 w 110"/>
                <a:gd name="T7" fmla="*/ 19 h 110"/>
                <a:gd name="T8" fmla="*/ 90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0"/>
                  </a:moveTo>
                  <a:cubicBezTo>
                    <a:pt x="71" y="110"/>
                    <a:pt x="39" y="110"/>
                    <a:pt x="19" y="90"/>
                  </a:cubicBezTo>
                  <a:cubicBezTo>
                    <a:pt x="0" y="70"/>
                    <a:pt x="0" y="39"/>
                    <a:pt x="19" y="19"/>
                  </a:cubicBezTo>
                  <a:cubicBezTo>
                    <a:pt x="39" y="0"/>
                    <a:pt x="71" y="0"/>
                    <a:pt x="90" y="19"/>
                  </a:cubicBezTo>
                  <a:cubicBezTo>
                    <a:pt x="110" y="39"/>
                    <a:pt x="110" y="70"/>
                    <a:pt x="90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400" name="Freeform 388">
              <a:extLst>
                <a:ext uri="{FF2B5EF4-FFF2-40B4-BE49-F238E27FC236}">
                  <a16:creationId xmlns:a16="http://schemas.microsoft.com/office/drawing/2014/main" id="{7A20D103-1180-47BB-BE47-23E11F24DE8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8338" y="2859088"/>
              <a:ext cx="9525" cy="11112"/>
            </a:xfrm>
            <a:custGeom>
              <a:avLst/>
              <a:gdLst>
                <a:gd name="T0" fmla="*/ 90 w 110"/>
                <a:gd name="T1" fmla="*/ 90 h 110"/>
                <a:gd name="T2" fmla="*/ 19 w 110"/>
                <a:gd name="T3" fmla="*/ 90 h 110"/>
                <a:gd name="T4" fmla="*/ 19 w 110"/>
                <a:gd name="T5" fmla="*/ 19 h 110"/>
                <a:gd name="T6" fmla="*/ 90 w 110"/>
                <a:gd name="T7" fmla="*/ 19 h 110"/>
                <a:gd name="T8" fmla="*/ 90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0"/>
                  </a:moveTo>
                  <a:cubicBezTo>
                    <a:pt x="71" y="110"/>
                    <a:pt x="39" y="110"/>
                    <a:pt x="19" y="90"/>
                  </a:cubicBezTo>
                  <a:cubicBezTo>
                    <a:pt x="0" y="70"/>
                    <a:pt x="0" y="39"/>
                    <a:pt x="19" y="19"/>
                  </a:cubicBezTo>
                  <a:cubicBezTo>
                    <a:pt x="39" y="0"/>
                    <a:pt x="71" y="0"/>
                    <a:pt x="90" y="19"/>
                  </a:cubicBezTo>
                  <a:cubicBezTo>
                    <a:pt x="110" y="39"/>
                    <a:pt x="110" y="70"/>
                    <a:pt x="90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401" name="Freeform 389">
              <a:extLst>
                <a:ext uri="{FF2B5EF4-FFF2-40B4-BE49-F238E27FC236}">
                  <a16:creationId xmlns:a16="http://schemas.microsoft.com/office/drawing/2014/main" id="{BCFEE120-9740-45EE-BF34-9936141D5C68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1838" y="2859088"/>
              <a:ext cx="9525" cy="9525"/>
            </a:xfrm>
            <a:custGeom>
              <a:avLst/>
              <a:gdLst>
                <a:gd name="T0" fmla="*/ 50 w 100"/>
                <a:gd name="T1" fmla="*/ 101 h 101"/>
                <a:gd name="T2" fmla="*/ 0 w 100"/>
                <a:gd name="T3" fmla="*/ 51 h 101"/>
                <a:gd name="T4" fmla="*/ 50 w 100"/>
                <a:gd name="T5" fmla="*/ 0 h 101"/>
                <a:gd name="T6" fmla="*/ 100 w 100"/>
                <a:gd name="T7" fmla="*/ 51 h 101"/>
                <a:gd name="T8" fmla="*/ 50 w 100"/>
                <a:gd name="T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01">
                  <a:moveTo>
                    <a:pt x="50" y="101"/>
                  </a:moveTo>
                  <a:cubicBezTo>
                    <a:pt x="22" y="101"/>
                    <a:pt x="0" y="78"/>
                    <a:pt x="0" y="51"/>
                  </a:cubicBezTo>
                  <a:cubicBezTo>
                    <a:pt x="0" y="23"/>
                    <a:pt x="22" y="0"/>
                    <a:pt x="50" y="0"/>
                  </a:cubicBezTo>
                  <a:cubicBezTo>
                    <a:pt x="77" y="0"/>
                    <a:pt x="100" y="23"/>
                    <a:pt x="100" y="51"/>
                  </a:cubicBezTo>
                  <a:cubicBezTo>
                    <a:pt x="100" y="78"/>
                    <a:pt x="78" y="100"/>
                    <a:pt x="50" y="10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402" name="Freeform 390">
              <a:extLst>
                <a:ext uri="{FF2B5EF4-FFF2-40B4-BE49-F238E27FC236}">
                  <a16:creationId xmlns:a16="http://schemas.microsoft.com/office/drawing/2014/main" id="{B39E7551-32B6-4843-AC73-D25E12CDC039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1838" y="2859088"/>
              <a:ext cx="9525" cy="9525"/>
            </a:xfrm>
            <a:custGeom>
              <a:avLst/>
              <a:gdLst>
                <a:gd name="T0" fmla="*/ 50 w 100"/>
                <a:gd name="T1" fmla="*/ 101 h 101"/>
                <a:gd name="T2" fmla="*/ 0 w 100"/>
                <a:gd name="T3" fmla="*/ 51 h 101"/>
                <a:gd name="T4" fmla="*/ 50 w 100"/>
                <a:gd name="T5" fmla="*/ 0 h 101"/>
                <a:gd name="T6" fmla="*/ 100 w 100"/>
                <a:gd name="T7" fmla="*/ 51 h 101"/>
                <a:gd name="T8" fmla="*/ 50 w 100"/>
                <a:gd name="T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01">
                  <a:moveTo>
                    <a:pt x="50" y="101"/>
                  </a:moveTo>
                  <a:cubicBezTo>
                    <a:pt x="22" y="101"/>
                    <a:pt x="0" y="78"/>
                    <a:pt x="0" y="51"/>
                  </a:cubicBezTo>
                  <a:cubicBezTo>
                    <a:pt x="0" y="23"/>
                    <a:pt x="22" y="0"/>
                    <a:pt x="50" y="0"/>
                  </a:cubicBezTo>
                  <a:cubicBezTo>
                    <a:pt x="77" y="0"/>
                    <a:pt x="100" y="23"/>
                    <a:pt x="100" y="51"/>
                  </a:cubicBezTo>
                  <a:cubicBezTo>
                    <a:pt x="100" y="78"/>
                    <a:pt x="78" y="100"/>
                    <a:pt x="50" y="10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403" name="Freeform 391">
              <a:extLst>
                <a:ext uri="{FF2B5EF4-FFF2-40B4-BE49-F238E27FC236}">
                  <a16:creationId xmlns:a16="http://schemas.microsoft.com/office/drawing/2014/main" id="{A9FBD7AA-4176-45B1-AA3E-BB52349EDE49}"/>
                </a:ext>
              </a:extLst>
            </p:cNvPr>
            <p:cNvSpPr>
              <a:spLocks/>
            </p:cNvSpPr>
            <p:nvPr/>
          </p:nvSpPr>
          <p:spPr bwMode="auto">
            <a:xfrm>
              <a:off x="3335338" y="2859088"/>
              <a:ext cx="11113" cy="11112"/>
            </a:xfrm>
            <a:custGeom>
              <a:avLst/>
              <a:gdLst>
                <a:gd name="T0" fmla="*/ 90 w 110"/>
                <a:gd name="T1" fmla="*/ 91 h 110"/>
                <a:gd name="T2" fmla="*/ 19 w 110"/>
                <a:gd name="T3" fmla="*/ 91 h 110"/>
                <a:gd name="T4" fmla="*/ 19 w 110"/>
                <a:gd name="T5" fmla="*/ 20 h 110"/>
                <a:gd name="T6" fmla="*/ 90 w 110"/>
                <a:gd name="T7" fmla="*/ 20 h 110"/>
                <a:gd name="T8" fmla="*/ 90 w 110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1"/>
                  </a:moveTo>
                  <a:cubicBezTo>
                    <a:pt x="70" y="110"/>
                    <a:pt x="39" y="110"/>
                    <a:pt x="19" y="91"/>
                  </a:cubicBezTo>
                  <a:cubicBezTo>
                    <a:pt x="0" y="71"/>
                    <a:pt x="0" y="39"/>
                    <a:pt x="19" y="20"/>
                  </a:cubicBezTo>
                  <a:cubicBezTo>
                    <a:pt x="39" y="0"/>
                    <a:pt x="70" y="0"/>
                    <a:pt x="90" y="20"/>
                  </a:cubicBezTo>
                  <a:cubicBezTo>
                    <a:pt x="110" y="39"/>
                    <a:pt x="110" y="71"/>
                    <a:pt x="90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404" name="Freeform 392">
              <a:extLst>
                <a:ext uri="{FF2B5EF4-FFF2-40B4-BE49-F238E27FC236}">
                  <a16:creationId xmlns:a16="http://schemas.microsoft.com/office/drawing/2014/main" id="{4F6198B5-365B-4453-9E50-11DB46B5A1C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35338" y="2859088"/>
              <a:ext cx="11113" cy="11112"/>
            </a:xfrm>
            <a:custGeom>
              <a:avLst/>
              <a:gdLst>
                <a:gd name="T0" fmla="*/ 90 w 110"/>
                <a:gd name="T1" fmla="*/ 91 h 110"/>
                <a:gd name="T2" fmla="*/ 19 w 110"/>
                <a:gd name="T3" fmla="*/ 91 h 110"/>
                <a:gd name="T4" fmla="*/ 19 w 110"/>
                <a:gd name="T5" fmla="*/ 20 h 110"/>
                <a:gd name="T6" fmla="*/ 90 w 110"/>
                <a:gd name="T7" fmla="*/ 20 h 110"/>
                <a:gd name="T8" fmla="*/ 90 w 110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1"/>
                  </a:moveTo>
                  <a:cubicBezTo>
                    <a:pt x="70" y="110"/>
                    <a:pt x="39" y="110"/>
                    <a:pt x="19" y="91"/>
                  </a:cubicBezTo>
                  <a:cubicBezTo>
                    <a:pt x="0" y="71"/>
                    <a:pt x="0" y="39"/>
                    <a:pt x="19" y="20"/>
                  </a:cubicBezTo>
                  <a:cubicBezTo>
                    <a:pt x="39" y="0"/>
                    <a:pt x="70" y="0"/>
                    <a:pt x="90" y="20"/>
                  </a:cubicBezTo>
                  <a:cubicBezTo>
                    <a:pt x="110" y="39"/>
                    <a:pt x="110" y="71"/>
                    <a:pt x="90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405" name="Freeform 393">
              <a:extLst>
                <a:ext uri="{FF2B5EF4-FFF2-40B4-BE49-F238E27FC236}">
                  <a16:creationId xmlns:a16="http://schemas.microsoft.com/office/drawing/2014/main" id="{98FDA144-2071-41EA-8400-D36F6BA778A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8838" y="2859088"/>
              <a:ext cx="11113" cy="11112"/>
            </a:xfrm>
            <a:custGeom>
              <a:avLst/>
              <a:gdLst>
                <a:gd name="T0" fmla="*/ 90 w 110"/>
                <a:gd name="T1" fmla="*/ 91 h 110"/>
                <a:gd name="T2" fmla="*/ 19 w 110"/>
                <a:gd name="T3" fmla="*/ 91 h 110"/>
                <a:gd name="T4" fmla="*/ 19 w 110"/>
                <a:gd name="T5" fmla="*/ 20 h 110"/>
                <a:gd name="T6" fmla="*/ 90 w 110"/>
                <a:gd name="T7" fmla="*/ 20 h 110"/>
                <a:gd name="T8" fmla="*/ 90 w 110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1"/>
                  </a:moveTo>
                  <a:cubicBezTo>
                    <a:pt x="71" y="110"/>
                    <a:pt x="39" y="110"/>
                    <a:pt x="19" y="91"/>
                  </a:cubicBezTo>
                  <a:cubicBezTo>
                    <a:pt x="0" y="71"/>
                    <a:pt x="0" y="39"/>
                    <a:pt x="19" y="20"/>
                  </a:cubicBezTo>
                  <a:cubicBezTo>
                    <a:pt x="39" y="0"/>
                    <a:pt x="71" y="0"/>
                    <a:pt x="90" y="20"/>
                  </a:cubicBezTo>
                  <a:cubicBezTo>
                    <a:pt x="110" y="39"/>
                    <a:pt x="110" y="71"/>
                    <a:pt x="90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406" name="Freeform 394">
              <a:extLst>
                <a:ext uri="{FF2B5EF4-FFF2-40B4-BE49-F238E27FC236}">
                  <a16:creationId xmlns:a16="http://schemas.microsoft.com/office/drawing/2014/main" id="{66BB5A67-16FB-464A-A1A1-98D5C4EF9BC0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8838" y="2859088"/>
              <a:ext cx="11113" cy="11112"/>
            </a:xfrm>
            <a:custGeom>
              <a:avLst/>
              <a:gdLst>
                <a:gd name="T0" fmla="*/ 90 w 110"/>
                <a:gd name="T1" fmla="*/ 91 h 110"/>
                <a:gd name="T2" fmla="*/ 19 w 110"/>
                <a:gd name="T3" fmla="*/ 91 h 110"/>
                <a:gd name="T4" fmla="*/ 19 w 110"/>
                <a:gd name="T5" fmla="*/ 20 h 110"/>
                <a:gd name="T6" fmla="*/ 90 w 110"/>
                <a:gd name="T7" fmla="*/ 20 h 110"/>
                <a:gd name="T8" fmla="*/ 90 w 110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1"/>
                  </a:moveTo>
                  <a:cubicBezTo>
                    <a:pt x="71" y="110"/>
                    <a:pt x="39" y="110"/>
                    <a:pt x="19" y="91"/>
                  </a:cubicBezTo>
                  <a:cubicBezTo>
                    <a:pt x="0" y="71"/>
                    <a:pt x="0" y="39"/>
                    <a:pt x="19" y="20"/>
                  </a:cubicBezTo>
                  <a:cubicBezTo>
                    <a:pt x="39" y="0"/>
                    <a:pt x="71" y="0"/>
                    <a:pt x="90" y="20"/>
                  </a:cubicBezTo>
                  <a:cubicBezTo>
                    <a:pt x="110" y="39"/>
                    <a:pt x="110" y="71"/>
                    <a:pt x="90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407" name="Freeform 395">
              <a:extLst>
                <a:ext uri="{FF2B5EF4-FFF2-40B4-BE49-F238E27FC236}">
                  <a16:creationId xmlns:a16="http://schemas.microsoft.com/office/drawing/2014/main" id="{AB6D29CB-BDDC-4C5A-B7E8-227EFD840F14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2338" y="2859088"/>
              <a:ext cx="11113" cy="11112"/>
            </a:xfrm>
            <a:custGeom>
              <a:avLst/>
              <a:gdLst>
                <a:gd name="T0" fmla="*/ 90 w 110"/>
                <a:gd name="T1" fmla="*/ 91 h 110"/>
                <a:gd name="T2" fmla="*/ 20 w 110"/>
                <a:gd name="T3" fmla="*/ 91 h 110"/>
                <a:gd name="T4" fmla="*/ 20 w 110"/>
                <a:gd name="T5" fmla="*/ 20 h 110"/>
                <a:gd name="T6" fmla="*/ 90 w 110"/>
                <a:gd name="T7" fmla="*/ 20 h 110"/>
                <a:gd name="T8" fmla="*/ 90 w 110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1"/>
                  </a:moveTo>
                  <a:cubicBezTo>
                    <a:pt x="71" y="110"/>
                    <a:pt x="39" y="110"/>
                    <a:pt x="20" y="91"/>
                  </a:cubicBezTo>
                  <a:cubicBezTo>
                    <a:pt x="0" y="71"/>
                    <a:pt x="0" y="39"/>
                    <a:pt x="20" y="20"/>
                  </a:cubicBezTo>
                  <a:cubicBezTo>
                    <a:pt x="39" y="0"/>
                    <a:pt x="71" y="0"/>
                    <a:pt x="90" y="20"/>
                  </a:cubicBezTo>
                  <a:cubicBezTo>
                    <a:pt x="110" y="39"/>
                    <a:pt x="110" y="71"/>
                    <a:pt x="90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408" name="Freeform 396">
              <a:extLst>
                <a:ext uri="{FF2B5EF4-FFF2-40B4-BE49-F238E27FC236}">
                  <a16:creationId xmlns:a16="http://schemas.microsoft.com/office/drawing/2014/main" id="{A9FB37F4-6DD0-4997-B2C2-2D81CF916CBE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2338" y="2859088"/>
              <a:ext cx="11113" cy="11112"/>
            </a:xfrm>
            <a:custGeom>
              <a:avLst/>
              <a:gdLst>
                <a:gd name="T0" fmla="*/ 90 w 110"/>
                <a:gd name="T1" fmla="*/ 91 h 110"/>
                <a:gd name="T2" fmla="*/ 20 w 110"/>
                <a:gd name="T3" fmla="*/ 91 h 110"/>
                <a:gd name="T4" fmla="*/ 20 w 110"/>
                <a:gd name="T5" fmla="*/ 20 h 110"/>
                <a:gd name="T6" fmla="*/ 90 w 110"/>
                <a:gd name="T7" fmla="*/ 20 h 110"/>
                <a:gd name="T8" fmla="*/ 90 w 110"/>
                <a:gd name="T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1"/>
                  </a:moveTo>
                  <a:cubicBezTo>
                    <a:pt x="71" y="110"/>
                    <a:pt x="39" y="110"/>
                    <a:pt x="20" y="91"/>
                  </a:cubicBezTo>
                  <a:cubicBezTo>
                    <a:pt x="0" y="71"/>
                    <a:pt x="0" y="39"/>
                    <a:pt x="20" y="20"/>
                  </a:cubicBezTo>
                  <a:cubicBezTo>
                    <a:pt x="39" y="0"/>
                    <a:pt x="71" y="0"/>
                    <a:pt x="90" y="20"/>
                  </a:cubicBezTo>
                  <a:cubicBezTo>
                    <a:pt x="110" y="39"/>
                    <a:pt x="110" y="71"/>
                    <a:pt x="90" y="9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409" name="Freeform 397">
              <a:extLst>
                <a:ext uri="{FF2B5EF4-FFF2-40B4-BE49-F238E27FC236}">
                  <a16:creationId xmlns:a16="http://schemas.microsoft.com/office/drawing/2014/main" id="{FEC39B1B-BFEE-4ECE-9A15-9D5DA60319AE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5838" y="2859088"/>
              <a:ext cx="11113" cy="11112"/>
            </a:xfrm>
            <a:custGeom>
              <a:avLst/>
              <a:gdLst>
                <a:gd name="T0" fmla="*/ 91 w 110"/>
                <a:gd name="T1" fmla="*/ 90 h 110"/>
                <a:gd name="T2" fmla="*/ 20 w 110"/>
                <a:gd name="T3" fmla="*/ 90 h 110"/>
                <a:gd name="T4" fmla="*/ 20 w 110"/>
                <a:gd name="T5" fmla="*/ 20 h 110"/>
                <a:gd name="T6" fmla="*/ 91 w 110"/>
                <a:gd name="T7" fmla="*/ 20 h 110"/>
                <a:gd name="T8" fmla="*/ 91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1" y="90"/>
                  </a:moveTo>
                  <a:cubicBezTo>
                    <a:pt x="71" y="110"/>
                    <a:pt x="39" y="110"/>
                    <a:pt x="20" y="90"/>
                  </a:cubicBezTo>
                  <a:cubicBezTo>
                    <a:pt x="0" y="71"/>
                    <a:pt x="0" y="39"/>
                    <a:pt x="20" y="20"/>
                  </a:cubicBezTo>
                  <a:cubicBezTo>
                    <a:pt x="39" y="0"/>
                    <a:pt x="71" y="0"/>
                    <a:pt x="91" y="20"/>
                  </a:cubicBezTo>
                  <a:cubicBezTo>
                    <a:pt x="110" y="39"/>
                    <a:pt x="110" y="71"/>
                    <a:pt x="91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410" name="Freeform 398">
              <a:extLst>
                <a:ext uri="{FF2B5EF4-FFF2-40B4-BE49-F238E27FC236}">
                  <a16:creationId xmlns:a16="http://schemas.microsoft.com/office/drawing/2014/main" id="{82D69FE8-6D86-4E5C-B278-A55EAF9A89C9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5838" y="2859088"/>
              <a:ext cx="11113" cy="11112"/>
            </a:xfrm>
            <a:custGeom>
              <a:avLst/>
              <a:gdLst>
                <a:gd name="T0" fmla="*/ 91 w 110"/>
                <a:gd name="T1" fmla="*/ 90 h 110"/>
                <a:gd name="T2" fmla="*/ 20 w 110"/>
                <a:gd name="T3" fmla="*/ 90 h 110"/>
                <a:gd name="T4" fmla="*/ 20 w 110"/>
                <a:gd name="T5" fmla="*/ 20 h 110"/>
                <a:gd name="T6" fmla="*/ 91 w 110"/>
                <a:gd name="T7" fmla="*/ 20 h 110"/>
                <a:gd name="T8" fmla="*/ 91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1" y="90"/>
                  </a:moveTo>
                  <a:cubicBezTo>
                    <a:pt x="71" y="110"/>
                    <a:pt x="39" y="110"/>
                    <a:pt x="20" y="90"/>
                  </a:cubicBezTo>
                  <a:cubicBezTo>
                    <a:pt x="0" y="71"/>
                    <a:pt x="0" y="39"/>
                    <a:pt x="20" y="20"/>
                  </a:cubicBezTo>
                  <a:cubicBezTo>
                    <a:pt x="39" y="0"/>
                    <a:pt x="71" y="0"/>
                    <a:pt x="91" y="20"/>
                  </a:cubicBezTo>
                  <a:cubicBezTo>
                    <a:pt x="110" y="39"/>
                    <a:pt x="110" y="71"/>
                    <a:pt x="91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411" name="Freeform 399">
              <a:extLst>
                <a:ext uri="{FF2B5EF4-FFF2-40B4-BE49-F238E27FC236}">
                  <a16:creationId xmlns:a16="http://schemas.microsoft.com/office/drawing/2014/main" id="{CC7F8BA5-9EA4-44C3-9A12-F8AED5A14AC6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0925" y="2859088"/>
              <a:ext cx="9525" cy="9525"/>
            </a:xfrm>
            <a:custGeom>
              <a:avLst/>
              <a:gdLst>
                <a:gd name="T0" fmla="*/ 50 w 101"/>
                <a:gd name="T1" fmla="*/ 100 h 101"/>
                <a:gd name="T2" fmla="*/ 0 w 101"/>
                <a:gd name="T3" fmla="*/ 50 h 101"/>
                <a:gd name="T4" fmla="*/ 50 w 101"/>
                <a:gd name="T5" fmla="*/ 0 h 101"/>
                <a:gd name="T6" fmla="*/ 100 w 101"/>
                <a:gd name="T7" fmla="*/ 50 h 101"/>
                <a:gd name="T8" fmla="*/ 50 w 101"/>
                <a:gd name="T9" fmla="*/ 10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" h="101">
                  <a:moveTo>
                    <a:pt x="50" y="100"/>
                  </a:moveTo>
                  <a:cubicBezTo>
                    <a:pt x="23" y="100"/>
                    <a:pt x="0" y="77"/>
                    <a:pt x="0" y="50"/>
                  </a:cubicBezTo>
                  <a:cubicBezTo>
                    <a:pt x="0" y="23"/>
                    <a:pt x="23" y="0"/>
                    <a:pt x="50" y="0"/>
                  </a:cubicBezTo>
                  <a:cubicBezTo>
                    <a:pt x="78" y="0"/>
                    <a:pt x="100" y="23"/>
                    <a:pt x="100" y="50"/>
                  </a:cubicBezTo>
                  <a:cubicBezTo>
                    <a:pt x="101" y="78"/>
                    <a:pt x="78" y="101"/>
                    <a:pt x="50" y="10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412" name="Freeform 400">
              <a:extLst>
                <a:ext uri="{FF2B5EF4-FFF2-40B4-BE49-F238E27FC236}">
                  <a16:creationId xmlns:a16="http://schemas.microsoft.com/office/drawing/2014/main" id="{4FE8E1C7-7040-42D7-9251-47E72EC7483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0925" y="2859088"/>
              <a:ext cx="9525" cy="9525"/>
            </a:xfrm>
            <a:custGeom>
              <a:avLst/>
              <a:gdLst>
                <a:gd name="T0" fmla="*/ 50 w 101"/>
                <a:gd name="T1" fmla="*/ 100 h 101"/>
                <a:gd name="T2" fmla="*/ 0 w 101"/>
                <a:gd name="T3" fmla="*/ 50 h 101"/>
                <a:gd name="T4" fmla="*/ 50 w 101"/>
                <a:gd name="T5" fmla="*/ 0 h 101"/>
                <a:gd name="T6" fmla="*/ 100 w 101"/>
                <a:gd name="T7" fmla="*/ 50 h 101"/>
                <a:gd name="T8" fmla="*/ 50 w 101"/>
                <a:gd name="T9" fmla="*/ 10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" h="101">
                  <a:moveTo>
                    <a:pt x="50" y="100"/>
                  </a:moveTo>
                  <a:cubicBezTo>
                    <a:pt x="23" y="100"/>
                    <a:pt x="0" y="77"/>
                    <a:pt x="0" y="50"/>
                  </a:cubicBezTo>
                  <a:cubicBezTo>
                    <a:pt x="0" y="23"/>
                    <a:pt x="23" y="0"/>
                    <a:pt x="50" y="0"/>
                  </a:cubicBezTo>
                  <a:cubicBezTo>
                    <a:pt x="78" y="0"/>
                    <a:pt x="100" y="23"/>
                    <a:pt x="100" y="50"/>
                  </a:cubicBezTo>
                  <a:cubicBezTo>
                    <a:pt x="101" y="78"/>
                    <a:pt x="78" y="101"/>
                    <a:pt x="50" y="10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413" name="Freeform 401">
              <a:extLst>
                <a:ext uri="{FF2B5EF4-FFF2-40B4-BE49-F238E27FC236}">
                  <a16:creationId xmlns:a16="http://schemas.microsoft.com/office/drawing/2014/main" id="{23402CE3-01B9-4952-97AE-D19FBB722A4D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5" y="2859088"/>
              <a:ext cx="9525" cy="11112"/>
            </a:xfrm>
            <a:custGeom>
              <a:avLst/>
              <a:gdLst>
                <a:gd name="T0" fmla="*/ 90 w 110"/>
                <a:gd name="T1" fmla="*/ 90 h 110"/>
                <a:gd name="T2" fmla="*/ 19 w 110"/>
                <a:gd name="T3" fmla="*/ 90 h 110"/>
                <a:gd name="T4" fmla="*/ 19 w 110"/>
                <a:gd name="T5" fmla="*/ 20 h 110"/>
                <a:gd name="T6" fmla="*/ 90 w 110"/>
                <a:gd name="T7" fmla="*/ 20 h 110"/>
                <a:gd name="T8" fmla="*/ 90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0"/>
                  </a:moveTo>
                  <a:cubicBezTo>
                    <a:pt x="70" y="110"/>
                    <a:pt x="39" y="110"/>
                    <a:pt x="19" y="90"/>
                  </a:cubicBezTo>
                  <a:cubicBezTo>
                    <a:pt x="0" y="71"/>
                    <a:pt x="0" y="39"/>
                    <a:pt x="19" y="20"/>
                  </a:cubicBezTo>
                  <a:cubicBezTo>
                    <a:pt x="39" y="0"/>
                    <a:pt x="70" y="0"/>
                    <a:pt x="90" y="20"/>
                  </a:cubicBezTo>
                  <a:cubicBezTo>
                    <a:pt x="110" y="39"/>
                    <a:pt x="110" y="71"/>
                    <a:pt x="90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414" name="Freeform 402">
              <a:extLst>
                <a:ext uri="{FF2B5EF4-FFF2-40B4-BE49-F238E27FC236}">
                  <a16:creationId xmlns:a16="http://schemas.microsoft.com/office/drawing/2014/main" id="{5884AFF5-62F8-49AE-BE65-566CDDB14DF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5" y="2859088"/>
              <a:ext cx="9525" cy="11112"/>
            </a:xfrm>
            <a:custGeom>
              <a:avLst/>
              <a:gdLst>
                <a:gd name="T0" fmla="*/ 90 w 110"/>
                <a:gd name="T1" fmla="*/ 90 h 110"/>
                <a:gd name="T2" fmla="*/ 19 w 110"/>
                <a:gd name="T3" fmla="*/ 90 h 110"/>
                <a:gd name="T4" fmla="*/ 19 w 110"/>
                <a:gd name="T5" fmla="*/ 20 h 110"/>
                <a:gd name="T6" fmla="*/ 90 w 110"/>
                <a:gd name="T7" fmla="*/ 20 h 110"/>
                <a:gd name="T8" fmla="*/ 90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0"/>
                  </a:moveTo>
                  <a:cubicBezTo>
                    <a:pt x="70" y="110"/>
                    <a:pt x="39" y="110"/>
                    <a:pt x="19" y="90"/>
                  </a:cubicBezTo>
                  <a:cubicBezTo>
                    <a:pt x="0" y="71"/>
                    <a:pt x="0" y="39"/>
                    <a:pt x="19" y="20"/>
                  </a:cubicBezTo>
                  <a:cubicBezTo>
                    <a:pt x="39" y="0"/>
                    <a:pt x="70" y="0"/>
                    <a:pt x="90" y="20"/>
                  </a:cubicBezTo>
                  <a:cubicBezTo>
                    <a:pt x="110" y="39"/>
                    <a:pt x="110" y="71"/>
                    <a:pt x="90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415" name="Freeform 403">
              <a:extLst>
                <a:ext uri="{FF2B5EF4-FFF2-40B4-BE49-F238E27FC236}">
                  <a16:creationId xmlns:a16="http://schemas.microsoft.com/office/drawing/2014/main" id="{58C9DBD2-A595-464C-8C6E-0716C0816349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7925" y="2859088"/>
              <a:ext cx="9525" cy="11112"/>
            </a:xfrm>
            <a:custGeom>
              <a:avLst/>
              <a:gdLst>
                <a:gd name="T0" fmla="*/ 90 w 110"/>
                <a:gd name="T1" fmla="*/ 90 h 110"/>
                <a:gd name="T2" fmla="*/ 19 w 110"/>
                <a:gd name="T3" fmla="*/ 90 h 110"/>
                <a:gd name="T4" fmla="*/ 19 w 110"/>
                <a:gd name="T5" fmla="*/ 20 h 110"/>
                <a:gd name="T6" fmla="*/ 90 w 110"/>
                <a:gd name="T7" fmla="*/ 20 h 110"/>
                <a:gd name="T8" fmla="*/ 90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0"/>
                  </a:moveTo>
                  <a:cubicBezTo>
                    <a:pt x="71" y="110"/>
                    <a:pt x="39" y="110"/>
                    <a:pt x="19" y="90"/>
                  </a:cubicBezTo>
                  <a:cubicBezTo>
                    <a:pt x="0" y="71"/>
                    <a:pt x="0" y="39"/>
                    <a:pt x="19" y="20"/>
                  </a:cubicBezTo>
                  <a:cubicBezTo>
                    <a:pt x="39" y="0"/>
                    <a:pt x="71" y="0"/>
                    <a:pt x="90" y="20"/>
                  </a:cubicBezTo>
                  <a:cubicBezTo>
                    <a:pt x="110" y="39"/>
                    <a:pt x="110" y="71"/>
                    <a:pt x="90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416" name="Freeform 404">
              <a:extLst>
                <a:ext uri="{FF2B5EF4-FFF2-40B4-BE49-F238E27FC236}">
                  <a16:creationId xmlns:a16="http://schemas.microsoft.com/office/drawing/2014/main" id="{79DA81C1-848D-42A5-B380-4FF306022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7925" y="2859088"/>
              <a:ext cx="9525" cy="11112"/>
            </a:xfrm>
            <a:custGeom>
              <a:avLst/>
              <a:gdLst>
                <a:gd name="T0" fmla="*/ 90 w 110"/>
                <a:gd name="T1" fmla="*/ 90 h 110"/>
                <a:gd name="T2" fmla="*/ 19 w 110"/>
                <a:gd name="T3" fmla="*/ 90 h 110"/>
                <a:gd name="T4" fmla="*/ 19 w 110"/>
                <a:gd name="T5" fmla="*/ 20 h 110"/>
                <a:gd name="T6" fmla="*/ 90 w 110"/>
                <a:gd name="T7" fmla="*/ 20 h 110"/>
                <a:gd name="T8" fmla="*/ 90 w 110"/>
                <a:gd name="T9" fmla="*/ 9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90" y="90"/>
                  </a:moveTo>
                  <a:cubicBezTo>
                    <a:pt x="71" y="110"/>
                    <a:pt x="39" y="110"/>
                    <a:pt x="19" y="90"/>
                  </a:cubicBezTo>
                  <a:cubicBezTo>
                    <a:pt x="0" y="71"/>
                    <a:pt x="0" y="39"/>
                    <a:pt x="19" y="20"/>
                  </a:cubicBezTo>
                  <a:cubicBezTo>
                    <a:pt x="39" y="0"/>
                    <a:pt x="71" y="0"/>
                    <a:pt x="90" y="20"/>
                  </a:cubicBezTo>
                  <a:cubicBezTo>
                    <a:pt x="110" y="39"/>
                    <a:pt x="110" y="71"/>
                    <a:pt x="90" y="9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417" name="Freeform 405">
              <a:extLst>
                <a:ext uri="{FF2B5EF4-FFF2-40B4-BE49-F238E27FC236}">
                  <a16:creationId xmlns:a16="http://schemas.microsoft.com/office/drawing/2014/main" id="{E4C51D3E-32A8-4E72-B313-427040E8131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81425" y="2859088"/>
              <a:ext cx="9525" cy="9525"/>
            </a:xfrm>
            <a:custGeom>
              <a:avLst/>
              <a:gdLst>
                <a:gd name="T0" fmla="*/ 51 w 101"/>
                <a:gd name="T1" fmla="*/ 101 h 101"/>
                <a:gd name="T2" fmla="*/ 0 w 101"/>
                <a:gd name="T3" fmla="*/ 50 h 101"/>
                <a:gd name="T4" fmla="*/ 51 w 101"/>
                <a:gd name="T5" fmla="*/ 0 h 101"/>
                <a:gd name="T6" fmla="*/ 101 w 101"/>
                <a:gd name="T7" fmla="*/ 50 h 101"/>
                <a:gd name="T8" fmla="*/ 51 w 101"/>
                <a:gd name="T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" h="101">
                  <a:moveTo>
                    <a:pt x="51" y="101"/>
                  </a:moveTo>
                  <a:cubicBezTo>
                    <a:pt x="23" y="101"/>
                    <a:pt x="0" y="78"/>
                    <a:pt x="0" y="50"/>
                  </a:cubicBezTo>
                  <a:cubicBezTo>
                    <a:pt x="0" y="23"/>
                    <a:pt x="23" y="0"/>
                    <a:pt x="51" y="0"/>
                  </a:cubicBezTo>
                  <a:cubicBezTo>
                    <a:pt x="78" y="0"/>
                    <a:pt x="101" y="23"/>
                    <a:pt x="101" y="50"/>
                  </a:cubicBezTo>
                  <a:cubicBezTo>
                    <a:pt x="101" y="78"/>
                    <a:pt x="78" y="100"/>
                    <a:pt x="51" y="10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  <p:sp>
          <p:nvSpPr>
            <p:cNvPr id="418" name="Freeform 406">
              <a:extLst>
                <a:ext uri="{FF2B5EF4-FFF2-40B4-BE49-F238E27FC236}">
                  <a16:creationId xmlns:a16="http://schemas.microsoft.com/office/drawing/2014/main" id="{AA2588C9-5807-4B3C-8B39-A45090F5973F}"/>
                </a:ext>
              </a:extLst>
            </p:cNvPr>
            <p:cNvSpPr>
              <a:spLocks/>
            </p:cNvSpPr>
            <p:nvPr/>
          </p:nvSpPr>
          <p:spPr bwMode="auto">
            <a:xfrm>
              <a:off x="3781425" y="2859088"/>
              <a:ext cx="9525" cy="9525"/>
            </a:xfrm>
            <a:custGeom>
              <a:avLst/>
              <a:gdLst>
                <a:gd name="T0" fmla="*/ 51 w 101"/>
                <a:gd name="T1" fmla="*/ 101 h 101"/>
                <a:gd name="T2" fmla="*/ 0 w 101"/>
                <a:gd name="T3" fmla="*/ 50 h 101"/>
                <a:gd name="T4" fmla="*/ 51 w 101"/>
                <a:gd name="T5" fmla="*/ 0 h 101"/>
                <a:gd name="T6" fmla="*/ 101 w 101"/>
                <a:gd name="T7" fmla="*/ 50 h 101"/>
                <a:gd name="T8" fmla="*/ 51 w 101"/>
                <a:gd name="T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" h="101">
                  <a:moveTo>
                    <a:pt x="51" y="101"/>
                  </a:moveTo>
                  <a:cubicBezTo>
                    <a:pt x="23" y="101"/>
                    <a:pt x="0" y="78"/>
                    <a:pt x="0" y="50"/>
                  </a:cubicBezTo>
                  <a:cubicBezTo>
                    <a:pt x="0" y="23"/>
                    <a:pt x="23" y="0"/>
                    <a:pt x="51" y="0"/>
                  </a:cubicBezTo>
                  <a:cubicBezTo>
                    <a:pt x="78" y="0"/>
                    <a:pt x="101" y="23"/>
                    <a:pt x="101" y="50"/>
                  </a:cubicBezTo>
                  <a:cubicBezTo>
                    <a:pt x="101" y="78"/>
                    <a:pt x="78" y="100"/>
                    <a:pt x="51" y="10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448"/>
            </a:p>
          </p:txBody>
        </p:sp>
      </p:grpSp>
      <p:sp>
        <p:nvSpPr>
          <p:cNvPr id="619" name="타원 1292">
            <a:extLst>
              <a:ext uri="{FF2B5EF4-FFF2-40B4-BE49-F238E27FC236}">
                <a16:creationId xmlns:a16="http://schemas.microsoft.com/office/drawing/2014/main" id="{40C367E8-5445-42F0-8C1D-BD25AAE9A28F}"/>
              </a:ext>
            </a:extLst>
          </p:cNvPr>
          <p:cNvSpPr/>
          <p:nvPr userDrawn="1"/>
        </p:nvSpPr>
        <p:spPr>
          <a:xfrm>
            <a:off x="537620" y="5980767"/>
            <a:ext cx="497985" cy="497915"/>
          </a:xfrm>
          <a:prstGeom prst="ellipse">
            <a:avLst/>
          </a:prstGeom>
          <a:solidFill>
            <a:srgbClr val="D9D9D9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4347" tIns="62174" rIns="124347" bIns="6217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1904" spc="-68">
              <a:ln>
                <a:solidFill>
                  <a:schemeClr val="bg1">
                    <a:lumMod val="75000"/>
                    <a:alpha val="0"/>
                  </a:schemeClr>
                </a:solidFill>
              </a:ln>
              <a:solidFill>
                <a:schemeClr val="bg1"/>
              </a:solidFill>
              <a:latin typeface="KoPubDotum Bold" panose="02020603020101020101" pitchFamily="18" charset="-127"/>
              <a:ea typeface="KoPubDotum Bold" panose="02020603020101020101" pitchFamily="18" charset="-127"/>
            </a:endParaRPr>
          </a:p>
        </p:txBody>
      </p:sp>
      <p:sp>
        <p:nvSpPr>
          <p:cNvPr id="620" name="원호 1270">
            <a:extLst>
              <a:ext uri="{FF2B5EF4-FFF2-40B4-BE49-F238E27FC236}">
                <a16:creationId xmlns:a16="http://schemas.microsoft.com/office/drawing/2014/main" id="{62D4026D-A3B0-4812-8E2B-898FA89295D3}"/>
              </a:ext>
            </a:extLst>
          </p:cNvPr>
          <p:cNvSpPr>
            <a:spLocks noChangeAspect="1"/>
          </p:cNvSpPr>
          <p:nvPr userDrawn="1"/>
        </p:nvSpPr>
        <p:spPr>
          <a:xfrm flipH="1">
            <a:off x="8833015" y="3228293"/>
            <a:ext cx="6209723" cy="6208842"/>
          </a:xfrm>
          <a:prstGeom prst="arc">
            <a:avLst>
              <a:gd name="adj1" fmla="val 17028278"/>
              <a:gd name="adj2" fmla="val 0"/>
            </a:avLst>
          </a:prstGeom>
          <a:noFill/>
          <a:ln w="12700" cap="flat">
            <a:solidFill>
              <a:srgbClr val="DBDBDB"/>
            </a:solidFill>
            <a:prstDash val="sysDot"/>
            <a:miter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 sz="2448"/>
          </a:p>
        </p:txBody>
      </p:sp>
      <p:grpSp>
        <p:nvGrpSpPr>
          <p:cNvPr id="621" name="그룹 1301">
            <a:extLst>
              <a:ext uri="{FF2B5EF4-FFF2-40B4-BE49-F238E27FC236}">
                <a16:creationId xmlns:a16="http://schemas.microsoft.com/office/drawing/2014/main" id="{A5DAD087-FC4A-4820-B617-98394BAE38AB}"/>
              </a:ext>
            </a:extLst>
          </p:cNvPr>
          <p:cNvGrpSpPr/>
          <p:nvPr userDrawn="1"/>
        </p:nvGrpSpPr>
        <p:grpSpPr>
          <a:xfrm>
            <a:off x="8516174" y="2979339"/>
            <a:ext cx="3920302" cy="4015189"/>
            <a:chOff x="6261572" y="1960383"/>
            <a:chExt cx="2882428" cy="2952613"/>
          </a:xfrm>
        </p:grpSpPr>
        <p:pic>
          <p:nvPicPr>
            <p:cNvPr id="622" name="그림 1295">
              <a:extLst>
                <a:ext uri="{FF2B5EF4-FFF2-40B4-BE49-F238E27FC236}">
                  <a16:creationId xmlns:a16="http://schemas.microsoft.com/office/drawing/2014/main" id="{BDA33EB1-E291-4EF9-8FA8-E4F0264BD48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r="34578" b="29534"/>
            <a:stretch/>
          </p:blipFill>
          <p:spPr>
            <a:xfrm>
              <a:off x="7584511" y="3228973"/>
              <a:ext cx="1559489" cy="1684022"/>
            </a:xfrm>
            <a:prstGeom prst="rect">
              <a:avLst/>
            </a:prstGeom>
          </p:spPr>
        </p:pic>
        <p:pic>
          <p:nvPicPr>
            <p:cNvPr id="623" name="그래픽 1271">
              <a:extLst>
                <a:ext uri="{FF2B5EF4-FFF2-40B4-BE49-F238E27FC236}">
                  <a16:creationId xmlns:a16="http://schemas.microsoft.com/office/drawing/2014/main" id="{EE2E675A-0D3A-4E6B-88BC-58BCB080EE1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l="40669" b="37615"/>
            <a:stretch/>
          </p:blipFill>
          <p:spPr>
            <a:xfrm flipH="1">
              <a:off x="6811694" y="2460621"/>
              <a:ext cx="2332303" cy="2452374"/>
            </a:xfrm>
            <a:prstGeom prst="rect">
              <a:avLst/>
            </a:prstGeom>
          </p:spPr>
        </p:pic>
        <p:pic>
          <p:nvPicPr>
            <p:cNvPr id="624" name="그래픽 1272">
              <a:extLst>
                <a:ext uri="{FF2B5EF4-FFF2-40B4-BE49-F238E27FC236}">
                  <a16:creationId xmlns:a16="http://schemas.microsoft.com/office/drawing/2014/main" id="{AC6A1B6A-1BBF-48AB-A8D7-D8402754C4D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l="39354" b="35869"/>
            <a:stretch/>
          </p:blipFill>
          <p:spPr>
            <a:xfrm flipH="1">
              <a:off x="7054464" y="2703391"/>
              <a:ext cx="2089533" cy="2209604"/>
            </a:xfrm>
            <a:prstGeom prst="rect">
              <a:avLst/>
            </a:prstGeom>
          </p:spPr>
        </p:pic>
        <p:pic>
          <p:nvPicPr>
            <p:cNvPr id="625" name="그래픽 1273">
              <a:extLst>
                <a:ext uri="{FF2B5EF4-FFF2-40B4-BE49-F238E27FC236}">
                  <a16:creationId xmlns:a16="http://schemas.microsoft.com/office/drawing/2014/main" id="{79A44709-62E6-4CE0-A92A-5B98FAB3732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 l="38060" b="34151"/>
            <a:stretch/>
          </p:blipFill>
          <p:spPr>
            <a:xfrm flipH="1">
              <a:off x="7241210" y="2890137"/>
              <a:ext cx="1902787" cy="2022858"/>
            </a:xfrm>
            <a:prstGeom prst="rect">
              <a:avLst/>
            </a:prstGeom>
          </p:spPr>
        </p:pic>
        <p:pic>
          <p:nvPicPr>
            <p:cNvPr id="626" name="그래픽 1275">
              <a:extLst>
                <a:ext uri="{FF2B5EF4-FFF2-40B4-BE49-F238E27FC236}">
                  <a16:creationId xmlns:a16="http://schemas.microsoft.com/office/drawing/2014/main" id="{B7BF432F-5D4F-45FF-AC5E-070C1FF40011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 flipH="1">
              <a:off x="7096361" y="2712798"/>
              <a:ext cx="1671378" cy="1718064"/>
            </a:xfrm>
            <a:prstGeom prst="rect">
              <a:avLst/>
            </a:prstGeom>
          </p:spPr>
        </p:pic>
        <p:pic>
          <p:nvPicPr>
            <p:cNvPr id="627" name="그래픽 1276">
              <a:extLst>
                <a:ext uri="{FF2B5EF4-FFF2-40B4-BE49-F238E27FC236}">
                  <a16:creationId xmlns:a16="http://schemas.microsoft.com/office/drawing/2014/main" id="{F4917B33-C064-4E3A-BE6B-B38575D7259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rcRect b="37057"/>
            <a:stretch/>
          </p:blipFill>
          <p:spPr>
            <a:xfrm flipH="1">
              <a:off x="6816239" y="3960896"/>
              <a:ext cx="1951497" cy="952100"/>
            </a:xfrm>
            <a:prstGeom prst="rect">
              <a:avLst/>
            </a:prstGeom>
          </p:spPr>
        </p:pic>
        <p:sp>
          <p:nvSpPr>
            <p:cNvPr id="628" name="타원 1281">
              <a:extLst>
                <a:ext uri="{FF2B5EF4-FFF2-40B4-BE49-F238E27FC236}">
                  <a16:creationId xmlns:a16="http://schemas.microsoft.com/office/drawing/2014/main" id="{D48CABFF-0505-45B3-936E-6C791E578CEC}"/>
                </a:ext>
              </a:extLst>
            </p:cNvPr>
            <p:cNvSpPr>
              <a:spLocks noChangeAspect="1"/>
            </p:cNvSpPr>
            <p:nvPr/>
          </p:nvSpPr>
          <p:spPr>
            <a:xfrm flipH="1">
              <a:off x="6595370" y="3594035"/>
              <a:ext cx="74043" cy="74043"/>
            </a:xfrm>
            <a:prstGeom prst="ellipse">
              <a:avLst/>
            </a:prstGeom>
            <a:solidFill>
              <a:srgbClr val="0040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1904" spc="-68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Dotum Bold" panose="02020603020101020101" pitchFamily="18" charset="-127"/>
                <a:ea typeface="KoPubDotum Bold" panose="02020603020101020101" pitchFamily="18" charset="-127"/>
              </a:endParaRPr>
            </a:p>
          </p:txBody>
        </p:sp>
        <p:sp>
          <p:nvSpPr>
            <p:cNvPr id="629" name="타원 1282">
              <a:extLst>
                <a:ext uri="{FF2B5EF4-FFF2-40B4-BE49-F238E27FC236}">
                  <a16:creationId xmlns:a16="http://schemas.microsoft.com/office/drawing/2014/main" id="{D2007FC6-DF96-4548-8EB8-235BF5BA1A77}"/>
                </a:ext>
              </a:extLst>
            </p:cNvPr>
            <p:cNvSpPr>
              <a:spLocks noChangeAspect="1"/>
            </p:cNvSpPr>
            <p:nvPr/>
          </p:nvSpPr>
          <p:spPr>
            <a:xfrm flipH="1">
              <a:off x="7541520" y="2454210"/>
              <a:ext cx="74043" cy="74043"/>
            </a:xfrm>
            <a:prstGeom prst="ellipse">
              <a:avLst/>
            </a:prstGeom>
            <a:solidFill>
              <a:srgbClr val="0040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1904" spc="-68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Dotum Bold" panose="02020603020101020101" pitchFamily="18" charset="-127"/>
                <a:ea typeface="KoPubDotum Bold" panose="02020603020101020101" pitchFamily="18" charset="-127"/>
              </a:endParaRPr>
            </a:p>
          </p:txBody>
        </p:sp>
        <p:grpSp>
          <p:nvGrpSpPr>
            <p:cNvPr id="630" name="그룹 1283">
              <a:extLst>
                <a:ext uri="{FF2B5EF4-FFF2-40B4-BE49-F238E27FC236}">
                  <a16:creationId xmlns:a16="http://schemas.microsoft.com/office/drawing/2014/main" id="{B0C2897A-3445-4652-8586-2FFDE024EAB9}"/>
                </a:ext>
              </a:extLst>
            </p:cNvPr>
            <p:cNvGrpSpPr/>
            <p:nvPr/>
          </p:nvGrpSpPr>
          <p:grpSpPr>
            <a:xfrm>
              <a:off x="8058622" y="1960383"/>
              <a:ext cx="502921" cy="502921"/>
              <a:chOff x="5679113" y="209550"/>
              <a:chExt cx="502921" cy="502921"/>
            </a:xfrm>
          </p:grpSpPr>
          <p:sp>
            <p:nvSpPr>
              <p:cNvPr id="639" name="타원 1284">
                <a:extLst>
                  <a:ext uri="{FF2B5EF4-FFF2-40B4-BE49-F238E27FC236}">
                    <a16:creationId xmlns:a16="http://schemas.microsoft.com/office/drawing/2014/main" id="{7531CB95-1092-40B7-8C25-E46F32D07653}"/>
                  </a:ext>
                </a:extLst>
              </p:cNvPr>
              <p:cNvSpPr/>
              <p:nvPr/>
            </p:nvSpPr>
            <p:spPr>
              <a:xfrm>
                <a:off x="5679113" y="209550"/>
                <a:ext cx="502921" cy="502921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rgbClr val="DBDBDB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ko-KR" altLang="en-US" sz="1904" spc="-68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Dotum Bold" panose="02020603020101020101" pitchFamily="18" charset="-127"/>
                  <a:ea typeface="KoPubDotum Bold" panose="02020603020101020101" pitchFamily="18" charset="-127"/>
                </a:endParaRPr>
              </a:p>
            </p:txBody>
          </p:sp>
          <p:pic>
            <p:nvPicPr>
              <p:cNvPr id="640" name="그래픽 1285">
                <a:extLst>
                  <a:ext uri="{FF2B5EF4-FFF2-40B4-BE49-F238E27FC236}">
                    <a16:creationId xmlns:a16="http://schemas.microsoft.com/office/drawing/2014/main" id="{CDB889CA-8BBF-4A6A-BE30-DDCC4B2B19A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tretch>
                <a:fillRect/>
              </a:stretch>
            </p:blipFill>
            <p:spPr>
              <a:xfrm>
                <a:off x="5778826" y="305500"/>
                <a:ext cx="303495" cy="311021"/>
              </a:xfrm>
              <a:prstGeom prst="rect">
                <a:avLst/>
              </a:prstGeom>
            </p:spPr>
          </p:pic>
        </p:grpSp>
        <p:grpSp>
          <p:nvGrpSpPr>
            <p:cNvPr id="631" name="그룹 1286">
              <a:extLst>
                <a:ext uri="{FF2B5EF4-FFF2-40B4-BE49-F238E27FC236}">
                  <a16:creationId xmlns:a16="http://schemas.microsoft.com/office/drawing/2014/main" id="{DCD13C1C-F1FE-471F-A6D9-BAC024B1BFB3}"/>
                </a:ext>
              </a:extLst>
            </p:cNvPr>
            <p:cNvGrpSpPr/>
            <p:nvPr/>
          </p:nvGrpSpPr>
          <p:grpSpPr>
            <a:xfrm>
              <a:off x="6261572" y="4109858"/>
              <a:ext cx="502921" cy="502921"/>
              <a:chOff x="3882063" y="2359025"/>
              <a:chExt cx="502921" cy="502921"/>
            </a:xfrm>
          </p:grpSpPr>
          <p:sp>
            <p:nvSpPr>
              <p:cNvPr id="637" name="타원 1287">
                <a:extLst>
                  <a:ext uri="{FF2B5EF4-FFF2-40B4-BE49-F238E27FC236}">
                    <a16:creationId xmlns:a16="http://schemas.microsoft.com/office/drawing/2014/main" id="{DE448FE4-5BB1-432D-B14E-A82BFDB2BBB2}"/>
                  </a:ext>
                </a:extLst>
              </p:cNvPr>
              <p:cNvSpPr/>
              <p:nvPr/>
            </p:nvSpPr>
            <p:spPr>
              <a:xfrm>
                <a:off x="3882063" y="2359025"/>
                <a:ext cx="502921" cy="502921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rgbClr val="DBDBDB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ko-KR" altLang="en-US" sz="1904" spc="-68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Dotum Bold" panose="02020603020101020101" pitchFamily="18" charset="-127"/>
                  <a:ea typeface="KoPubDotum Bold" panose="02020603020101020101" pitchFamily="18" charset="-127"/>
                </a:endParaRPr>
              </a:p>
            </p:txBody>
          </p:sp>
          <p:pic>
            <p:nvPicPr>
              <p:cNvPr id="638" name="그래픽 1288">
                <a:extLst>
                  <a:ext uri="{FF2B5EF4-FFF2-40B4-BE49-F238E27FC236}">
                    <a16:creationId xmlns:a16="http://schemas.microsoft.com/office/drawing/2014/main" id="{27AD8948-891D-4FC6-99D2-6624B3FC076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6"/>
                  </a:ext>
                </a:extLst>
              </a:blip>
              <a:stretch>
                <a:fillRect/>
              </a:stretch>
            </p:blipFill>
            <p:spPr>
              <a:xfrm>
                <a:off x="3965121" y="2487898"/>
                <a:ext cx="336804" cy="245174"/>
              </a:xfrm>
              <a:prstGeom prst="rect">
                <a:avLst/>
              </a:prstGeom>
            </p:spPr>
          </p:pic>
        </p:grpSp>
        <p:grpSp>
          <p:nvGrpSpPr>
            <p:cNvPr id="632" name="그룹 1289">
              <a:extLst>
                <a:ext uri="{FF2B5EF4-FFF2-40B4-BE49-F238E27FC236}">
                  <a16:creationId xmlns:a16="http://schemas.microsoft.com/office/drawing/2014/main" id="{86110614-C36A-4797-94FA-F4985622DE1C}"/>
                </a:ext>
              </a:extLst>
            </p:cNvPr>
            <p:cNvGrpSpPr/>
            <p:nvPr/>
          </p:nvGrpSpPr>
          <p:grpSpPr>
            <a:xfrm>
              <a:off x="6715852" y="2738925"/>
              <a:ext cx="502921" cy="502921"/>
              <a:chOff x="4336343" y="988092"/>
              <a:chExt cx="502921" cy="502921"/>
            </a:xfrm>
          </p:grpSpPr>
          <p:sp>
            <p:nvSpPr>
              <p:cNvPr id="635" name="타원 1290">
                <a:extLst>
                  <a:ext uri="{FF2B5EF4-FFF2-40B4-BE49-F238E27FC236}">
                    <a16:creationId xmlns:a16="http://schemas.microsoft.com/office/drawing/2014/main" id="{9C8A524A-4A0E-494A-9C72-64474E3E2F59}"/>
                  </a:ext>
                </a:extLst>
              </p:cNvPr>
              <p:cNvSpPr/>
              <p:nvPr/>
            </p:nvSpPr>
            <p:spPr>
              <a:xfrm>
                <a:off x="4336343" y="988092"/>
                <a:ext cx="502921" cy="502921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rgbClr val="DBDBDB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ko-KR" altLang="en-US" sz="1904" spc="-68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Dotum Bold" panose="02020603020101020101" pitchFamily="18" charset="-127"/>
                  <a:ea typeface="KoPubDotum Bold" panose="02020603020101020101" pitchFamily="18" charset="-127"/>
                </a:endParaRPr>
              </a:p>
            </p:txBody>
          </p:sp>
          <p:pic>
            <p:nvPicPr>
              <p:cNvPr id="636" name="그래픽 1291">
                <a:extLst>
                  <a:ext uri="{FF2B5EF4-FFF2-40B4-BE49-F238E27FC236}">
                    <a16:creationId xmlns:a16="http://schemas.microsoft.com/office/drawing/2014/main" id="{1F9D0021-F56F-450D-BCB6-946A8DD27BC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7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8"/>
                  </a:ext>
                </a:extLst>
              </a:blip>
              <a:stretch>
                <a:fillRect/>
              </a:stretch>
            </p:blipFill>
            <p:spPr>
              <a:xfrm>
                <a:off x="4456549" y="1088486"/>
                <a:ext cx="262509" cy="302133"/>
              </a:xfrm>
              <a:prstGeom prst="rect">
                <a:avLst/>
              </a:prstGeom>
            </p:spPr>
          </p:pic>
        </p:grpSp>
        <p:sp>
          <p:nvSpPr>
            <p:cNvPr id="633" name="타원 1293">
              <a:extLst>
                <a:ext uri="{FF2B5EF4-FFF2-40B4-BE49-F238E27FC236}">
                  <a16:creationId xmlns:a16="http://schemas.microsoft.com/office/drawing/2014/main" id="{D74DADAB-B8E8-4CC4-AF96-9FCFE20BE021}"/>
                </a:ext>
              </a:extLst>
            </p:cNvPr>
            <p:cNvSpPr/>
            <p:nvPr/>
          </p:nvSpPr>
          <p:spPr>
            <a:xfrm>
              <a:off x="6438393" y="3153099"/>
              <a:ext cx="177493" cy="177493"/>
            </a:xfrm>
            <a:prstGeom prst="ellipse">
              <a:avLst/>
            </a:prstGeom>
            <a:solidFill>
              <a:srgbClr val="D9D9D9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1904" spc="-68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Dotum Bold" panose="02020603020101020101" pitchFamily="18" charset="-127"/>
                <a:ea typeface="KoPubDotum Bold" panose="02020603020101020101" pitchFamily="18" charset="-127"/>
              </a:endParaRPr>
            </a:p>
          </p:txBody>
        </p:sp>
        <p:sp>
          <p:nvSpPr>
            <p:cNvPr id="634" name="타원 1294">
              <a:extLst>
                <a:ext uri="{FF2B5EF4-FFF2-40B4-BE49-F238E27FC236}">
                  <a16:creationId xmlns:a16="http://schemas.microsoft.com/office/drawing/2014/main" id="{84B4705D-74B7-4D63-A9BE-5FF01388C2D9}"/>
                </a:ext>
              </a:extLst>
            </p:cNvPr>
            <p:cNvSpPr/>
            <p:nvPr/>
          </p:nvSpPr>
          <p:spPr>
            <a:xfrm>
              <a:off x="6327268" y="2977768"/>
              <a:ext cx="108349" cy="108349"/>
            </a:xfrm>
            <a:prstGeom prst="ellipse">
              <a:avLst/>
            </a:prstGeom>
            <a:solidFill>
              <a:srgbClr val="D9D9D9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1904" spc="-68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Dotum Bold" panose="02020603020101020101" pitchFamily="18" charset="-127"/>
                <a:ea typeface="KoPubDotum Bold" panose="02020603020101020101" pitchFamily="18" charset="-127"/>
              </a:endParaRPr>
            </a:p>
          </p:txBody>
        </p:sp>
      </p:grpSp>
      <p:sp>
        <p:nvSpPr>
          <p:cNvPr id="641" name="타원 1296">
            <a:extLst>
              <a:ext uri="{FF2B5EF4-FFF2-40B4-BE49-F238E27FC236}">
                <a16:creationId xmlns:a16="http://schemas.microsoft.com/office/drawing/2014/main" id="{C2809C59-AE60-41A1-A0B5-8AB909B2F4F3}"/>
              </a:ext>
            </a:extLst>
          </p:cNvPr>
          <p:cNvSpPr/>
          <p:nvPr userDrawn="1"/>
        </p:nvSpPr>
        <p:spPr>
          <a:xfrm>
            <a:off x="9714922" y="799640"/>
            <a:ext cx="337128" cy="337080"/>
          </a:xfrm>
          <a:prstGeom prst="ellipse">
            <a:avLst/>
          </a:prstGeom>
          <a:solidFill>
            <a:srgbClr val="D9D9D9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4347" tIns="62174" rIns="124347" bIns="6217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1904" spc="-68">
              <a:ln>
                <a:solidFill>
                  <a:schemeClr val="bg1">
                    <a:lumMod val="75000"/>
                    <a:alpha val="0"/>
                  </a:schemeClr>
                </a:solidFill>
              </a:ln>
              <a:solidFill>
                <a:schemeClr val="bg1"/>
              </a:solidFill>
              <a:latin typeface="KoPubDotum Bold" panose="02020603020101020101" pitchFamily="18" charset="-127"/>
              <a:ea typeface="KoPubDotum Bold" panose="02020603020101020101" pitchFamily="18" charset="-127"/>
            </a:endParaRPr>
          </a:p>
        </p:txBody>
      </p:sp>
      <p:grpSp>
        <p:nvGrpSpPr>
          <p:cNvPr id="642" name="그룹 26">
            <a:extLst>
              <a:ext uri="{FF2B5EF4-FFF2-40B4-BE49-F238E27FC236}">
                <a16:creationId xmlns:a16="http://schemas.microsoft.com/office/drawing/2014/main" id="{ED687050-393F-4628-BE94-002EC7F67E5E}"/>
              </a:ext>
            </a:extLst>
          </p:cNvPr>
          <p:cNvGrpSpPr/>
          <p:nvPr userDrawn="1"/>
        </p:nvGrpSpPr>
        <p:grpSpPr>
          <a:xfrm>
            <a:off x="0" y="0"/>
            <a:ext cx="12436475" cy="48956"/>
            <a:chOff x="0" y="0"/>
            <a:chExt cx="9906000" cy="66675"/>
          </a:xfrm>
        </p:grpSpPr>
        <p:sp>
          <p:nvSpPr>
            <p:cNvPr id="643" name="직사각형 30">
              <a:extLst>
                <a:ext uri="{FF2B5EF4-FFF2-40B4-BE49-F238E27FC236}">
                  <a16:creationId xmlns:a16="http://schemas.microsoft.com/office/drawing/2014/main" id="{C09A0AAA-B78C-4BA6-9FA5-91FCB0F0F4D0}"/>
                </a:ext>
              </a:extLst>
            </p:cNvPr>
            <p:cNvSpPr/>
            <p:nvPr userDrawn="1"/>
          </p:nvSpPr>
          <p:spPr>
            <a:xfrm>
              <a:off x="0" y="0"/>
              <a:ext cx="907256" cy="66675"/>
            </a:xfrm>
            <a:prstGeom prst="rect">
              <a:avLst/>
            </a:prstGeom>
            <a:solidFill>
              <a:srgbClr val="EA002C"/>
            </a:solidFill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lIns="0" tIns="0" rIns="0" bIns="0" anchor="ctr"/>
            <a:lstStyle/>
            <a:p>
              <a:pPr lvl="0" indent="-246096" algn="ctr" defTabSz="1542050" fontAlgn="auto">
                <a:spcBef>
                  <a:spcPts val="0"/>
                </a:spcBef>
                <a:spcAft>
                  <a:spcPts val="0"/>
                </a:spcAft>
                <a:buClr>
                  <a:prstClr val="black">
                    <a:lumMod val="65000"/>
                    <a:lumOff val="35000"/>
                  </a:prstClr>
                </a:buClr>
                <a:buSzPct val="100000"/>
                <a:tabLst>
                  <a:tab pos="3661214" algn="l"/>
                  <a:tab pos="7680777" algn="l"/>
                </a:tabLst>
              </a:pPr>
              <a:endParaRPr kumimoji="0" lang="ko-KR" altLang="en-US" sz="1428" spc="-28" baseline="0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644" name="직사각형 36">
              <a:extLst>
                <a:ext uri="{FF2B5EF4-FFF2-40B4-BE49-F238E27FC236}">
                  <a16:creationId xmlns:a16="http://schemas.microsoft.com/office/drawing/2014/main" id="{C7251C30-5B80-426D-A8D2-605C40032301}"/>
                </a:ext>
              </a:extLst>
            </p:cNvPr>
            <p:cNvSpPr/>
            <p:nvPr userDrawn="1"/>
          </p:nvSpPr>
          <p:spPr>
            <a:xfrm>
              <a:off x="2278856" y="0"/>
              <a:ext cx="7627144" cy="66675"/>
            </a:xfrm>
            <a:prstGeom prst="rect">
              <a:avLst/>
            </a:prstGeom>
            <a:solidFill>
              <a:srgbClr val="DDDDD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latinLnBrk="0"/>
              <a:endParaRPr lang="ko-KR" altLang="en-US" sz="2448" spc="-28" baseline="0">
                <a:solidFill>
                  <a:prstClr val="white"/>
                </a:solidFill>
              </a:endParaRPr>
            </a:p>
          </p:txBody>
        </p:sp>
        <p:sp>
          <p:nvSpPr>
            <p:cNvPr id="645" name="자유형 23">
              <a:extLst>
                <a:ext uri="{FF2B5EF4-FFF2-40B4-BE49-F238E27FC236}">
                  <a16:creationId xmlns:a16="http://schemas.microsoft.com/office/drawing/2014/main" id="{7AA25D70-6943-4835-86EA-52D9C560D392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821949" y="0"/>
              <a:ext cx="1548107" cy="66675"/>
            </a:xfrm>
            <a:custGeom>
              <a:avLst/>
              <a:gdLst>
                <a:gd name="connsiteX0" fmla="*/ 6738247 w 6738296"/>
                <a:gd name="connsiteY0" fmla="*/ 0 h 297718"/>
                <a:gd name="connsiteX1" fmla="*/ 6327086 w 6738296"/>
                <a:gd name="connsiteY1" fmla="*/ 0 h 297718"/>
                <a:gd name="connsiteX2" fmla="*/ 411210 w 6738296"/>
                <a:gd name="connsiteY2" fmla="*/ 0 h 297718"/>
                <a:gd name="connsiteX3" fmla="*/ 49 w 6738296"/>
                <a:gd name="connsiteY3" fmla="*/ 0 h 297718"/>
                <a:gd name="connsiteX4" fmla="*/ 281036 w 6738296"/>
                <a:gd name="connsiteY4" fmla="*/ 297718 h 297718"/>
                <a:gd name="connsiteX5" fmla="*/ 3369148 w 6738296"/>
                <a:gd name="connsiteY5" fmla="*/ 295285 h 297718"/>
                <a:gd name="connsiteX6" fmla="*/ 6457260 w 6738296"/>
                <a:gd name="connsiteY6" fmla="*/ 297718 h 297718"/>
                <a:gd name="connsiteX7" fmla="*/ 6738247 w 6738296"/>
                <a:gd name="connsiteY7" fmla="*/ 0 h 2977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738296" h="297718">
                  <a:moveTo>
                    <a:pt x="6738247" y="0"/>
                  </a:moveTo>
                  <a:lnTo>
                    <a:pt x="6327086" y="0"/>
                  </a:lnTo>
                  <a:lnTo>
                    <a:pt x="411210" y="0"/>
                  </a:lnTo>
                  <a:lnTo>
                    <a:pt x="49" y="0"/>
                  </a:lnTo>
                  <a:cubicBezTo>
                    <a:pt x="-3126" y="165914"/>
                    <a:pt x="146098" y="293729"/>
                    <a:pt x="281036" y="297718"/>
                  </a:cubicBezTo>
                  <a:lnTo>
                    <a:pt x="3369148" y="295285"/>
                  </a:lnTo>
                  <a:lnTo>
                    <a:pt x="6457260" y="297718"/>
                  </a:lnTo>
                  <a:cubicBezTo>
                    <a:pt x="6592198" y="293729"/>
                    <a:pt x="6741422" y="165914"/>
                    <a:pt x="6738247" y="0"/>
                  </a:cubicBezTo>
                  <a:close/>
                </a:path>
              </a:pathLst>
            </a:custGeom>
            <a:solidFill>
              <a:srgbClr val="BFBFB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latinLnBrk="0"/>
              <a:endParaRPr lang="ko-KR" altLang="en-US" sz="2448" spc="-28" baseline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40089385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8959411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6DE5163A-CDFE-42DD-B1D7-13DD3AC1240C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 r="323"/>
          <a:stretch>
            <a:fillRect/>
          </a:stretch>
        </p:blipFill>
        <p:spPr>
          <a:xfrm>
            <a:off x="20058" y="0"/>
            <a:ext cx="12396360" cy="6994525"/>
          </a:xfrm>
          <a:custGeom>
            <a:avLst/>
            <a:gdLst>
              <a:gd name="connsiteX0" fmla="*/ 0 w 12152674"/>
              <a:gd name="connsiteY0" fmla="*/ 0 h 6858000"/>
              <a:gd name="connsiteX1" fmla="*/ 12152674 w 12152674"/>
              <a:gd name="connsiteY1" fmla="*/ 0 h 6858000"/>
              <a:gd name="connsiteX2" fmla="*/ 12152674 w 12152674"/>
              <a:gd name="connsiteY2" fmla="*/ 6858000 h 6858000"/>
              <a:gd name="connsiteX3" fmla="*/ 0 w 12152674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52674" h="6858000">
                <a:moveTo>
                  <a:pt x="0" y="0"/>
                </a:moveTo>
                <a:lnTo>
                  <a:pt x="12152674" y="0"/>
                </a:lnTo>
                <a:lnTo>
                  <a:pt x="12152674" y="6858000"/>
                </a:lnTo>
                <a:lnTo>
                  <a:pt x="0" y="6858000"/>
                </a:lnTo>
                <a:close/>
              </a:path>
            </a:pathLst>
          </a:cu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78" imgH="377" progId="TCLayout.ActiveDocument.1">
                  <p:embed/>
                </p:oleObj>
              </mc:Choice>
              <mc:Fallback>
                <p:oleObj name="think-cell Slide" r:id="rId5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31DEE97-E811-410B-BF55-E5CA41D9D992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61933" cy="16191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9510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5507" b="0" i="0" baseline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Semibold"/>
              <a:ea typeface="+mn-ea"/>
              <a:cs typeface="Segoe UI" pitchFamily="34" charset="0"/>
              <a:sym typeface="Segoe Semibold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69547BE-6F3A-4046-9157-E376202F281F}"/>
              </a:ext>
            </a:extLst>
          </p:cNvPr>
          <p:cNvSpPr/>
          <p:nvPr userDrawn="1"/>
        </p:nvSpPr>
        <p:spPr bwMode="auto">
          <a:xfrm>
            <a:off x="0" y="0"/>
            <a:ext cx="12436472" cy="6994525"/>
          </a:xfrm>
          <a:prstGeom prst="rect">
            <a:avLst/>
          </a:prstGeom>
          <a:gradFill flip="none" rotWithShape="1">
            <a:gsLst>
              <a:gs pos="23000">
                <a:srgbClr val="000000">
                  <a:alpha val="80000"/>
                </a:srgbClr>
              </a:gs>
              <a:gs pos="100000">
                <a:srgbClr val="000000">
                  <a:alpha val="0"/>
                </a:srgbClr>
              </a:gs>
            </a:gsLst>
            <a:lin ang="18900000" scaled="1"/>
            <a:tileRect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510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48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EB17A96-2128-45B5-A40A-BAA11B0631C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57200" y="454024"/>
            <a:ext cx="1645920" cy="352580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554872"/>
            <a:ext cx="11093591" cy="1828786"/>
          </a:xfrm>
          <a:noFill/>
        </p:spPr>
        <p:txBody>
          <a:bodyPr lIns="146304" tIns="91440" rIns="146304" bIns="91440" anchor="b" anchorCtr="0"/>
          <a:lstStyle>
            <a:lvl1pPr>
              <a:defRPr sz="5507" spc="-10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4" y="4384983"/>
            <a:ext cx="7315137" cy="1828007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2856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6" name="Text Placeholder 2"/>
          <p:cNvSpPr txBox="1">
            <a:spLocks/>
          </p:cNvSpPr>
          <p:nvPr userDrawn="1"/>
        </p:nvSpPr>
        <p:spPr bwMode="auto">
          <a:xfrm>
            <a:off x="292992" y="6135482"/>
            <a:ext cx="3017487" cy="548634"/>
          </a:xfrm>
          <a:prstGeom prst="rect">
            <a:avLst/>
          </a:prstGeom>
        </p:spPr>
        <p:txBody>
          <a:bodyPr vert="horz" wrap="square" lIns="146241" tIns="109681" rIns="146241" bIns="109681" rtlCol="0">
            <a:noAutofit/>
          </a:bodyPr>
          <a:lstStyle>
            <a:lvl1pPr marL="0" marR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3200" kern="1200" spc="0" baseline="0">
                <a:gradFill>
                  <a:gsLst>
                    <a:gs pos="4040">
                      <a:srgbClr val="525252"/>
                    </a:gs>
                    <a:gs pos="17000">
                      <a:srgbClr val="525252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8001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48" b="0">
                <a:solidFill>
                  <a:schemeClr val="tx1"/>
                </a:solidFill>
                <a:latin typeface="+mn-lt"/>
              </a:rPr>
              <a:t>Microsoft</a:t>
            </a:r>
          </a:p>
        </p:txBody>
      </p:sp>
    </p:spTree>
    <p:extLst>
      <p:ext uri="{BB962C8B-B14F-4D97-AF65-F5344CB8AC3E}">
        <p14:creationId xmlns:p14="http://schemas.microsoft.com/office/powerpoint/2010/main" val="23512995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er Line 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0059" y="466301"/>
            <a:ext cx="11239464" cy="565027"/>
          </a:xfrm>
        </p:spPr>
        <p:txBody>
          <a:bodyPr anchor="ctr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altLang="ko-KR"/>
              <a:t>Click to edit Master title styl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95914" y="1463669"/>
            <a:ext cx="5316593" cy="1682523"/>
          </a:xfrm>
        </p:spPr>
        <p:txBody>
          <a:bodyPr wrap="square">
            <a:spAutoFit/>
          </a:bodyPr>
          <a:lstStyle>
            <a:lvl1pPr marL="0" indent="0">
              <a:spcBef>
                <a:spcPts val="1248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56" b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60674" indent="0">
              <a:buFont typeface="Wingdings" panose="05000000000000000000" pitchFamily="2" charset="2"/>
              <a:buNone/>
              <a:defRPr sz="2040" b="0"/>
            </a:lvl2pPr>
            <a:lvl3pPr marL="459822" indent="0">
              <a:buFont typeface="Wingdings" panose="05000000000000000000" pitchFamily="2" charset="2"/>
              <a:buNone/>
              <a:tabLst/>
              <a:defRPr sz="1632" b="0"/>
            </a:lvl3pPr>
            <a:lvl4pPr marL="665446" indent="0">
              <a:buFont typeface="Wingdings" panose="05000000000000000000" pitchFamily="2" charset="2"/>
              <a:buNone/>
              <a:defRPr sz="1428" b="0"/>
            </a:lvl4pPr>
            <a:lvl5pPr marL="871071" indent="0">
              <a:buFont typeface="Wingdings" panose="05000000000000000000" pitchFamily="2" charset="2"/>
              <a:buNone/>
              <a:tabLst/>
              <a:defRPr sz="1428" b="0"/>
            </a:lvl5pPr>
          </a:lstStyle>
          <a:p>
            <a:pPr lvl="0"/>
            <a:r>
              <a:rPr lang="en-US" altLang="ko-KR"/>
              <a:t>Click to edit Master text styles</a:t>
            </a:r>
          </a:p>
          <a:p>
            <a:pPr lvl="1"/>
            <a:r>
              <a:rPr lang="en-US" altLang="ko-KR"/>
              <a:t>Second level</a:t>
            </a:r>
          </a:p>
          <a:p>
            <a:pPr lvl="2"/>
            <a:r>
              <a:rPr lang="en-US" altLang="ko-KR"/>
              <a:t>Third level</a:t>
            </a:r>
          </a:p>
          <a:p>
            <a:pPr lvl="3"/>
            <a:r>
              <a:rPr lang="en-US" altLang="ko-KR"/>
              <a:t>Fourth level</a:t>
            </a:r>
          </a:p>
          <a:p>
            <a:pPr lvl="4"/>
            <a:r>
              <a:rPr lang="en-US" altLang="ko-KR"/>
              <a:t>Fifth level</a:t>
            </a:r>
            <a:endParaRPr lang="en-US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9CDCB4-03E1-4763-B83E-A1334BCDB0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525448" y="1463669"/>
            <a:ext cx="5316593" cy="1682523"/>
          </a:xfrm>
        </p:spPr>
        <p:txBody>
          <a:bodyPr wrap="square">
            <a:spAutoFit/>
          </a:bodyPr>
          <a:lstStyle>
            <a:lvl1pPr marL="0" indent="0">
              <a:spcBef>
                <a:spcPts val="1248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56" b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60674" indent="0">
              <a:buFont typeface="Wingdings" panose="05000000000000000000" pitchFamily="2" charset="2"/>
              <a:buNone/>
              <a:defRPr sz="2040" b="0"/>
            </a:lvl2pPr>
            <a:lvl3pPr marL="459822" indent="0">
              <a:buFont typeface="Wingdings" panose="05000000000000000000" pitchFamily="2" charset="2"/>
              <a:buNone/>
              <a:tabLst/>
              <a:defRPr sz="1632" b="0"/>
            </a:lvl3pPr>
            <a:lvl4pPr marL="665446" indent="0">
              <a:buFont typeface="Wingdings" panose="05000000000000000000" pitchFamily="2" charset="2"/>
              <a:buNone/>
              <a:defRPr sz="1428" b="0"/>
            </a:lvl4pPr>
            <a:lvl5pPr marL="871071" indent="0">
              <a:buFont typeface="Wingdings" panose="05000000000000000000" pitchFamily="2" charset="2"/>
              <a:buNone/>
              <a:tabLst/>
              <a:defRPr sz="1428" b="0"/>
            </a:lvl5pPr>
          </a:lstStyle>
          <a:p>
            <a:pPr lvl="0"/>
            <a:r>
              <a:rPr lang="en-US" altLang="ko-KR"/>
              <a:t>Click to edit Master text styles</a:t>
            </a:r>
          </a:p>
          <a:p>
            <a:pPr lvl="1"/>
            <a:r>
              <a:rPr lang="en-US" altLang="ko-KR"/>
              <a:t>Second level</a:t>
            </a:r>
          </a:p>
          <a:p>
            <a:pPr lvl="2"/>
            <a:r>
              <a:rPr lang="en-US" altLang="ko-KR"/>
              <a:t>Third level</a:t>
            </a:r>
          </a:p>
          <a:p>
            <a:pPr lvl="3"/>
            <a:r>
              <a:rPr lang="en-US" altLang="ko-KR"/>
              <a:t>Fourth level</a:t>
            </a:r>
          </a:p>
          <a:p>
            <a:pPr lvl="4"/>
            <a:r>
              <a:rPr lang="en-US" altLang="ko-KR"/>
              <a:t>Fifth level</a:t>
            </a:r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161C8D7-A314-D146-8B0F-88DAD8C243A2}"/>
              </a:ext>
            </a:extLst>
          </p:cNvPr>
          <p:cNvCxnSpPr/>
          <p:nvPr userDrawn="1"/>
        </p:nvCxnSpPr>
        <p:spPr>
          <a:xfrm>
            <a:off x="595914" y="1243471"/>
            <a:ext cx="11246266" cy="0"/>
          </a:xfrm>
          <a:prstGeom prst="line">
            <a:avLst/>
          </a:prstGeom>
          <a:ln w="25400">
            <a:solidFill>
              <a:schemeClr val="tx2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0750018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3" orient="horz" pos="904">
          <p15:clr>
            <a:srgbClr val="5ACBF0"/>
          </p15:clr>
        </p15:guide>
        <p15:guide id="4" pos="3656">
          <p15:clr>
            <a:srgbClr val="5ACBF0"/>
          </p15:clr>
        </p15:guide>
        <p15:guide id="5" pos="4024">
          <p15:clr>
            <a:srgbClr val="5ACBF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er Line 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0059" y="466301"/>
            <a:ext cx="11239464" cy="565027"/>
          </a:xfrm>
        </p:spPr>
        <p:txBody>
          <a:bodyPr anchor="ctr"/>
          <a:lstStyle>
            <a:lvl1pPr>
              <a:defRPr sz="3670">
                <a:solidFill>
                  <a:schemeClr val="tx1"/>
                </a:solidFill>
              </a:defRPr>
            </a:lvl1pPr>
          </a:lstStyle>
          <a:p>
            <a:r>
              <a:rPr lang="ko-KR" altLang="en-US"/>
              <a:t>한글버전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95914" y="1463669"/>
            <a:ext cx="5316593" cy="1682523"/>
          </a:xfrm>
        </p:spPr>
        <p:txBody>
          <a:bodyPr wrap="square">
            <a:spAutoFit/>
          </a:bodyPr>
          <a:lstStyle>
            <a:lvl1pPr marL="0" indent="0">
              <a:spcBef>
                <a:spcPts val="1248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56" b="0">
                <a:latin typeface="+mn-ea"/>
                <a:ea typeface="+mn-ea"/>
                <a:cs typeface="Segoe UI" panose="020B0502040204020203" pitchFamily="34" charset="0"/>
              </a:defRPr>
            </a:lvl1pPr>
            <a:lvl2pPr marL="260674" indent="0">
              <a:buFont typeface="Wingdings" panose="05000000000000000000" pitchFamily="2" charset="2"/>
              <a:buNone/>
              <a:defRPr sz="2040" b="0">
                <a:latin typeface="+mn-ea"/>
                <a:ea typeface="+mn-ea"/>
              </a:defRPr>
            </a:lvl2pPr>
            <a:lvl3pPr marL="459822" indent="0">
              <a:buFont typeface="Wingdings" panose="05000000000000000000" pitchFamily="2" charset="2"/>
              <a:buNone/>
              <a:tabLst/>
              <a:defRPr sz="1632" b="0">
                <a:latin typeface="+mn-ea"/>
                <a:ea typeface="+mn-ea"/>
              </a:defRPr>
            </a:lvl3pPr>
            <a:lvl4pPr marL="665446" indent="0">
              <a:buFont typeface="Wingdings" panose="05000000000000000000" pitchFamily="2" charset="2"/>
              <a:buNone/>
              <a:defRPr sz="1428" b="0">
                <a:latin typeface="+mn-ea"/>
                <a:ea typeface="+mn-ea"/>
              </a:defRPr>
            </a:lvl4pPr>
            <a:lvl5pPr marL="871071" indent="0">
              <a:buFont typeface="Wingdings" panose="05000000000000000000" pitchFamily="2" charset="2"/>
              <a:buNone/>
              <a:tabLst/>
              <a:defRPr sz="1428" b="0">
                <a:latin typeface="+mn-ea"/>
                <a:ea typeface="+mn-ea"/>
              </a:defRPr>
            </a:lvl5pPr>
          </a:lstStyle>
          <a:p>
            <a:pPr lvl="0"/>
            <a:r>
              <a:rPr lang="en-US" altLang="ko-KR"/>
              <a:t>Click to edit Master text styles</a:t>
            </a:r>
          </a:p>
          <a:p>
            <a:pPr lvl="1"/>
            <a:r>
              <a:rPr lang="en-US" altLang="ko-KR"/>
              <a:t>Second level</a:t>
            </a:r>
          </a:p>
          <a:p>
            <a:pPr lvl="2"/>
            <a:r>
              <a:rPr lang="en-US" altLang="ko-KR"/>
              <a:t>Third level</a:t>
            </a:r>
          </a:p>
          <a:p>
            <a:pPr lvl="3"/>
            <a:r>
              <a:rPr lang="en-US" altLang="ko-KR"/>
              <a:t>Fourth level</a:t>
            </a:r>
          </a:p>
          <a:p>
            <a:pPr lvl="4"/>
            <a:r>
              <a:rPr lang="en-US" altLang="ko-KR"/>
              <a:t>Fifth level</a:t>
            </a:r>
            <a:endParaRPr lang="en-US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9CDCB4-03E1-4763-B83E-A1334BCDB0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525448" y="1463669"/>
            <a:ext cx="5316593" cy="1682523"/>
          </a:xfrm>
        </p:spPr>
        <p:txBody>
          <a:bodyPr wrap="square">
            <a:spAutoFit/>
          </a:bodyPr>
          <a:lstStyle>
            <a:lvl1pPr marL="0" indent="0">
              <a:spcBef>
                <a:spcPts val="1248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56" b="0">
                <a:latin typeface="+mn-ea"/>
                <a:ea typeface="+mn-ea"/>
                <a:cs typeface="Segoe UI" panose="020B0502040204020203" pitchFamily="34" charset="0"/>
              </a:defRPr>
            </a:lvl1pPr>
            <a:lvl2pPr marL="260674" indent="0">
              <a:buFont typeface="Wingdings" panose="05000000000000000000" pitchFamily="2" charset="2"/>
              <a:buNone/>
              <a:defRPr sz="2040" b="0">
                <a:latin typeface="+mn-ea"/>
                <a:ea typeface="+mn-ea"/>
              </a:defRPr>
            </a:lvl2pPr>
            <a:lvl3pPr marL="459822" indent="0">
              <a:buFont typeface="Wingdings" panose="05000000000000000000" pitchFamily="2" charset="2"/>
              <a:buNone/>
              <a:tabLst/>
              <a:defRPr sz="1632" b="0">
                <a:latin typeface="+mn-ea"/>
                <a:ea typeface="+mn-ea"/>
              </a:defRPr>
            </a:lvl3pPr>
            <a:lvl4pPr marL="665446" indent="0">
              <a:buFont typeface="Wingdings" panose="05000000000000000000" pitchFamily="2" charset="2"/>
              <a:buNone/>
              <a:defRPr sz="1428" b="0">
                <a:latin typeface="+mn-ea"/>
                <a:ea typeface="+mn-ea"/>
              </a:defRPr>
            </a:lvl4pPr>
            <a:lvl5pPr marL="871071" indent="0">
              <a:buFont typeface="Wingdings" panose="05000000000000000000" pitchFamily="2" charset="2"/>
              <a:buNone/>
              <a:tabLst/>
              <a:defRPr sz="1428" b="0">
                <a:latin typeface="+mn-ea"/>
                <a:ea typeface="+mn-ea"/>
              </a:defRPr>
            </a:lvl5pPr>
          </a:lstStyle>
          <a:p>
            <a:pPr lvl="0"/>
            <a:r>
              <a:rPr lang="en-US" altLang="ko-KR"/>
              <a:t>Click to edit Master text styles</a:t>
            </a:r>
          </a:p>
          <a:p>
            <a:pPr lvl="1"/>
            <a:r>
              <a:rPr lang="en-US" altLang="ko-KR"/>
              <a:t>Second level</a:t>
            </a:r>
          </a:p>
          <a:p>
            <a:pPr lvl="2"/>
            <a:r>
              <a:rPr lang="en-US" altLang="ko-KR"/>
              <a:t>Third level</a:t>
            </a:r>
          </a:p>
          <a:p>
            <a:pPr lvl="3"/>
            <a:r>
              <a:rPr lang="en-US" altLang="ko-KR"/>
              <a:t>Fourth level</a:t>
            </a:r>
          </a:p>
          <a:p>
            <a:pPr lvl="4"/>
            <a:r>
              <a:rPr lang="en-US" altLang="ko-KR"/>
              <a:t>Fifth level</a:t>
            </a:r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161C8D7-A314-D146-8B0F-88DAD8C243A2}"/>
              </a:ext>
            </a:extLst>
          </p:cNvPr>
          <p:cNvCxnSpPr/>
          <p:nvPr userDrawn="1"/>
        </p:nvCxnSpPr>
        <p:spPr>
          <a:xfrm>
            <a:off x="595914" y="1243471"/>
            <a:ext cx="11246266" cy="0"/>
          </a:xfrm>
          <a:prstGeom prst="line">
            <a:avLst/>
          </a:prstGeom>
          <a:ln w="25400">
            <a:solidFill>
              <a:schemeClr val="tx2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9002462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3" orient="horz" pos="904">
          <p15:clr>
            <a:srgbClr val="5ACBF0"/>
          </p15:clr>
        </p15:guide>
        <p15:guide id="4" pos="3656">
          <p15:clr>
            <a:srgbClr val="5ACBF0"/>
          </p15:clr>
        </p15:guide>
        <p15:guide id="5" pos="4024">
          <p15:clr>
            <a:srgbClr val="5ACBF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49"/>
            <a:ext cx="5486399" cy="2425279"/>
          </a:xfrm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2"/>
              </a:buClr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31166" indent="-233195">
              <a:defRPr sz="2400"/>
            </a:lvl2pPr>
            <a:lvl3pPr marL="699585" indent="-168419">
              <a:tabLst/>
              <a:defRPr sz="2000"/>
            </a:lvl3pPr>
            <a:lvl4pPr marL="880958" indent="-181374">
              <a:defRPr/>
            </a:lvl4pPr>
            <a:lvl5pPr marL="1049377" indent="-168419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2425279"/>
          </a:xfrm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2"/>
              </a:buClr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31166" indent="-233195">
              <a:defRPr sz="2400"/>
            </a:lvl2pPr>
            <a:lvl3pPr marL="699585" indent="-168419">
              <a:tabLst/>
              <a:defRPr sz="2000"/>
            </a:lvl3pPr>
            <a:lvl4pPr marL="880958" indent="-181374">
              <a:defRPr/>
            </a:lvl4pPr>
            <a:lvl5pPr marL="1049377" indent="-168419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98371309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heme" Target="../theme/theme1.xml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slideLayout" Target="../slideLayouts/slideLayout47.xml"/><Relationship Id="rId18" Type="http://schemas.openxmlformats.org/officeDocument/2006/relationships/slideLayout" Target="../slideLayouts/slideLayout52.xml"/><Relationship Id="rId3" Type="http://schemas.openxmlformats.org/officeDocument/2006/relationships/slideLayout" Target="../slideLayouts/slideLayout37.xml"/><Relationship Id="rId21" Type="http://schemas.openxmlformats.org/officeDocument/2006/relationships/slideLayout" Target="../slideLayouts/slideLayout55.xml"/><Relationship Id="rId7" Type="http://schemas.openxmlformats.org/officeDocument/2006/relationships/slideLayout" Target="../slideLayouts/slideLayout41.xml"/><Relationship Id="rId12" Type="http://schemas.openxmlformats.org/officeDocument/2006/relationships/slideLayout" Target="../slideLayouts/slideLayout46.xml"/><Relationship Id="rId17" Type="http://schemas.openxmlformats.org/officeDocument/2006/relationships/slideLayout" Target="../slideLayouts/slideLayout51.xml"/><Relationship Id="rId2" Type="http://schemas.openxmlformats.org/officeDocument/2006/relationships/slideLayout" Target="../slideLayouts/slideLayout36.xml"/><Relationship Id="rId16" Type="http://schemas.openxmlformats.org/officeDocument/2006/relationships/slideLayout" Target="../slideLayouts/slideLayout50.xml"/><Relationship Id="rId20" Type="http://schemas.openxmlformats.org/officeDocument/2006/relationships/slideLayout" Target="../slideLayouts/slideLayout54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5" Type="http://schemas.openxmlformats.org/officeDocument/2006/relationships/slideLayout" Target="../slideLayouts/slideLayout39.xml"/><Relationship Id="rId15" Type="http://schemas.openxmlformats.org/officeDocument/2006/relationships/slideLayout" Target="../slideLayouts/slideLayout49.xml"/><Relationship Id="rId23" Type="http://schemas.openxmlformats.org/officeDocument/2006/relationships/image" Target="../media/image1.png"/><Relationship Id="rId10" Type="http://schemas.openxmlformats.org/officeDocument/2006/relationships/slideLayout" Target="../slideLayouts/slideLayout44.xml"/><Relationship Id="rId19" Type="http://schemas.openxmlformats.org/officeDocument/2006/relationships/slideLayout" Target="../slideLayouts/slideLayout53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4" Type="http://schemas.openxmlformats.org/officeDocument/2006/relationships/slideLayout" Target="../slideLayouts/slideLayout48.xml"/><Relationship Id="rId22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.xml"/><Relationship Id="rId13" Type="http://schemas.openxmlformats.org/officeDocument/2006/relationships/slideLayout" Target="../slideLayouts/slideLayout68.xml"/><Relationship Id="rId18" Type="http://schemas.openxmlformats.org/officeDocument/2006/relationships/slideLayout" Target="../slideLayouts/slideLayout73.xml"/><Relationship Id="rId26" Type="http://schemas.openxmlformats.org/officeDocument/2006/relationships/image" Target="../media/image1.png"/><Relationship Id="rId3" Type="http://schemas.openxmlformats.org/officeDocument/2006/relationships/slideLayout" Target="../slideLayouts/slideLayout58.xml"/><Relationship Id="rId21" Type="http://schemas.openxmlformats.org/officeDocument/2006/relationships/slideLayout" Target="../slideLayouts/slideLayout76.xml"/><Relationship Id="rId7" Type="http://schemas.openxmlformats.org/officeDocument/2006/relationships/slideLayout" Target="../slideLayouts/slideLayout62.xml"/><Relationship Id="rId12" Type="http://schemas.openxmlformats.org/officeDocument/2006/relationships/slideLayout" Target="../slideLayouts/slideLayout67.xml"/><Relationship Id="rId17" Type="http://schemas.openxmlformats.org/officeDocument/2006/relationships/slideLayout" Target="../slideLayouts/slideLayout72.xml"/><Relationship Id="rId25" Type="http://schemas.openxmlformats.org/officeDocument/2006/relationships/theme" Target="../theme/theme3.xml"/><Relationship Id="rId2" Type="http://schemas.openxmlformats.org/officeDocument/2006/relationships/slideLayout" Target="../slideLayouts/slideLayout57.xml"/><Relationship Id="rId16" Type="http://schemas.openxmlformats.org/officeDocument/2006/relationships/slideLayout" Target="../slideLayouts/slideLayout71.xml"/><Relationship Id="rId20" Type="http://schemas.openxmlformats.org/officeDocument/2006/relationships/slideLayout" Target="../slideLayouts/slideLayout75.xml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slideLayout" Target="../slideLayouts/slideLayout66.xml"/><Relationship Id="rId24" Type="http://schemas.openxmlformats.org/officeDocument/2006/relationships/slideLayout" Target="../slideLayouts/slideLayout79.xml"/><Relationship Id="rId5" Type="http://schemas.openxmlformats.org/officeDocument/2006/relationships/slideLayout" Target="../slideLayouts/slideLayout60.xml"/><Relationship Id="rId15" Type="http://schemas.openxmlformats.org/officeDocument/2006/relationships/slideLayout" Target="../slideLayouts/slideLayout70.xml"/><Relationship Id="rId23" Type="http://schemas.openxmlformats.org/officeDocument/2006/relationships/slideLayout" Target="../slideLayouts/slideLayout78.xml"/><Relationship Id="rId10" Type="http://schemas.openxmlformats.org/officeDocument/2006/relationships/slideLayout" Target="../slideLayouts/slideLayout65.xml"/><Relationship Id="rId19" Type="http://schemas.openxmlformats.org/officeDocument/2006/relationships/slideLayout" Target="../slideLayouts/slideLayout74.xml"/><Relationship Id="rId4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4.xml"/><Relationship Id="rId14" Type="http://schemas.openxmlformats.org/officeDocument/2006/relationships/slideLayout" Target="../slideLayouts/slideLayout69.xml"/><Relationship Id="rId22" Type="http://schemas.openxmlformats.org/officeDocument/2006/relationships/slideLayout" Target="../slideLayouts/slideLayout7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7.xml"/><Relationship Id="rId3" Type="http://schemas.openxmlformats.org/officeDocument/2006/relationships/slideLayout" Target="../slideLayouts/slideLayout82.xml"/><Relationship Id="rId7" Type="http://schemas.openxmlformats.org/officeDocument/2006/relationships/slideLayout" Target="../slideLayouts/slideLayout86.xml"/><Relationship Id="rId2" Type="http://schemas.openxmlformats.org/officeDocument/2006/relationships/slideLayout" Target="../slideLayouts/slideLayout81.xml"/><Relationship Id="rId1" Type="http://schemas.openxmlformats.org/officeDocument/2006/relationships/slideLayout" Target="../slideLayouts/slideLayout80.xml"/><Relationship Id="rId6" Type="http://schemas.openxmlformats.org/officeDocument/2006/relationships/slideLayout" Target="../slideLayouts/slideLayout85.xml"/><Relationship Id="rId11" Type="http://schemas.openxmlformats.org/officeDocument/2006/relationships/theme" Target="../theme/theme4.xml"/><Relationship Id="rId5" Type="http://schemas.openxmlformats.org/officeDocument/2006/relationships/slideLayout" Target="../slideLayouts/slideLayout84.xml"/><Relationship Id="rId10" Type="http://schemas.openxmlformats.org/officeDocument/2006/relationships/slideLayout" Target="../slideLayouts/slideLayout89.xml"/><Relationship Id="rId4" Type="http://schemas.openxmlformats.org/officeDocument/2006/relationships/slideLayout" Target="../slideLayouts/slideLayout83.xml"/><Relationship Id="rId9" Type="http://schemas.openxmlformats.org/officeDocument/2006/relationships/slideLayout" Target="../slideLayouts/slideLayout8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6"/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02708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70" r:id="rId1"/>
    <p:sldLayoutId id="2147484167" r:id="rId2"/>
    <p:sldLayoutId id="2147484087" r:id="rId3"/>
    <p:sldLayoutId id="2147484098" r:id="rId4"/>
    <p:sldLayoutId id="2147484107" r:id="rId5"/>
    <p:sldLayoutId id="2147484086" r:id="rId6"/>
    <p:sldLayoutId id="2147484099" r:id="rId7"/>
    <p:sldLayoutId id="2147484100" r:id="rId8"/>
    <p:sldLayoutId id="2147484106" r:id="rId9"/>
    <p:sldLayoutId id="2147484089" r:id="rId10"/>
    <p:sldLayoutId id="2147484092" r:id="rId11"/>
    <p:sldLayoutId id="2147484105" r:id="rId12"/>
    <p:sldLayoutId id="2147484182" r:id="rId13"/>
    <p:sldLayoutId id="2147484130" r:id="rId14"/>
    <p:sldLayoutId id="2147484101" r:id="rId15"/>
    <p:sldLayoutId id="2147484102" r:id="rId16"/>
    <p:sldLayoutId id="2147484093" r:id="rId17"/>
    <p:sldLayoutId id="2147484127" r:id="rId18"/>
    <p:sldLayoutId id="2147484128" r:id="rId19"/>
    <p:sldLayoutId id="2147484129" r:id="rId20"/>
    <p:sldLayoutId id="2147484094" r:id="rId21"/>
    <p:sldLayoutId id="2147484195" r:id="rId22"/>
    <p:sldLayoutId id="2147484096" r:id="rId23"/>
    <p:sldLayoutId id="2147484295" r:id="rId24"/>
    <p:sldLayoutId id="2147484307" r:id="rId25"/>
    <p:sldLayoutId id="2147484316" r:id="rId26"/>
    <p:sldLayoutId id="2147484308" r:id="rId27"/>
    <p:sldLayoutId id="2147484309" r:id="rId28"/>
    <p:sldLayoutId id="2147484310" r:id="rId29"/>
    <p:sldLayoutId id="2147484311" r:id="rId30"/>
    <p:sldLayoutId id="2147484312" r:id="rId31"/>
    <p:sldLayoutId id="2147484313" r:id="rId32"/>
    <p:sldLayoutId id="2147484314" r:id="rId33"/>
    <p:sldLayoutId id="2147484315" r:id="rId34"/>
  </p:sldLayoutIdLst>
  <p:transition>
    <p:fade/>
  </p:transition>
  <p:hf sldNum="0" hdr="0" ftr="0" dt="0"/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900" marR="0" indent="-3429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4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200" marR="0" indent="-2413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8001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7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3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3"/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842767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266" r:id="rId1"/>
    <p:sldLayoutId id="2147484236" r:id="rId2"/>
    <p:sldLayoutId id="2147484240" r:id="rId3"/>
    <p:sldLayoutId id="2147484241" r:id="rId4"/>
    <p:sldLayoutId id="2147484244" r:id="rId5"/>
    <p:sldLayoutId id="2147484245" r:id="rId6"/>
    <p:sldLayoutId id="2147484247" r:id="rId7"/>
    <p:sldLayoutId id="2147484249" r:id="rId8"/>
    <p:sldLayoutId id="2147484250" r:id="rId9"/>
    <p:sldLayoutId id="2147484264" r:id="rId10"/>
    <p:sldLayoutId id="2147484251" r:id="rId11"/>
    <p:sldLayoutId id="2147484252" r:id="rId12"/>
    <p:sldLayoutId id="2147484253" r:id="rId13"/>
    <p:sldLayoutId id="2147484254" r:id="rId14"/>
    <p:sldLayoutId id="2147484256" r:id="rId15"/>
    <p:sldLayoutId id="2147484257" r:id="rId16"/>
    <p:sldLayoutId id="2147484258" r:id="rId17"/>
    <p:sldLayoutId id="2147484259" r:id="rId18"/>
    <p:sldLayoutId id="2147484260" r:id="rId19"/>
    <p:sldLayoutId id="2147484261" r:id="rId20"/>
    <p:sldLayoutId id="2147484263" r:id="rId21"/>
  </p:sldLayoutIdLst>
  <p:transition>
    <p:fade/>
  </p:transition>
  <p:hf sldNum="0" hdr="0" ftr="0" dt="0"/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900" marR="0" indent="-3429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4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200" marR="0" indent="-2413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8001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7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3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6"/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33451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70" r:id="rId1"/>
    <p:sldLayoutId id="2147484271" r:id="rId2"/>
    <p:sldLayoutId id="2147484272" r:id="rId3"/>
    <p:sldLayoutId id="2147484273" r:id="rId4"/>
    <p:sldLayoutId id="2147484274" r:id="rId5"/>
    <p:sldLayoutId id="2147484275" r:id="rId6"/>
    <p:sldLayoutId id="2147484276" r:id="rId7"/>
    <p:sldLayoutId id="2147484277" r:id="rId8"/>
    <p:sldLayoutId id="2147484278" r:id="rId9"/>
    <p:sldLayoutId id="2147484279" r:id="rId10"/>
    <p:sldLayoutId id="2147484280" r:id="rId11"/>
    <p:sldLayoutId id="2147484281" r:id="rId12"/>
    <p:sldLayoutId id="2147484282" r:id="rId13"/>
    <p:sldLayoutId id="2147484283" r:id="rId14"/>
    <p:sldLayoutId id="2147484284" r:id="rId15"/>
    <p:sldLayoutId id="2147484285" r:id="rId16"/>
    <p:sldLayoutId id="2147484286" r:id="rId17"/>
    <p:sldLayoutId id="2147484287" r:id="rId18"/>
    <p:sldLayoutId id="2147484288" r:id="rId19"/>
    <p:sldLayoutId id="2147484289" r:id="rId20"/>
    <p:sldLayoutId id="2147484290" r:id="rId21"/>
    <p:sldLayoutId id="2147484291" r:id="rId22"/>
    <p:sldLayoutId id="2147484292" r:id="rId23"/>
    <p:sldLayoutId id="2147484294" r:id="rId24"/>
  </p:sldLayoutIdLst>
  <p:transition>
    <p:fade/>
  </p:transition>
  <p:hf sldNum="0" hdr="0" ftr="0" dt="0"/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900" marR="0" indent="-3429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4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200" marR="0" indent="-2413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8001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7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3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256610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97" r:id="rId1"/>
    <p:sldLayoutId id="2147484298" r:id="rId2"/>
    <p:sldLayoutId id="2147484299" r:id="rId3"/>
    <p:sldLayoutId id="2147484300" r:id="rId4"/>
    <p:sldLayoutId id="2147484301" r:id="rId5"/>
    <p:sldLayoutId id="2147484302" r:id="rId6"/>
    <p:sldLayoutId id="2147484303" r:id="rId7"/>
    <p:sldLayoutId id="2147484304" r:id="rId8"/>
    <p:sldLayoutId id="2147484305" r:id="rId9"/>
    <p:sldLayoutId id="2147484306" r:id="rId10"/>
  </p:sldLayoutIdLst>
  <p:txStyles>
    <p:titleStyle>
      <a:lvl1pPr algn="l" rtl="0" fontAlgn="base" latinLnBrk="1">
        <a:lnSpc>
          <a:spcPct val="90000"/>
        </a:lnSpc>
        <a:spcBef>
          <a:spcPct val="0"/>
        </a:spcBef>
        <a:spcAft>
          <a:spcPct val="0"/>
        </a:spcAft>
        <a:defRPr sz="5984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fontAlgn="base" latinLnBrk="1">
        <a:lnSpc>
          <a:spcPct val="90000"/>
        </a:lnSpc>
        <a:spcBef>
          <a:spcPct val="0"/>
        </a:spcBef>
        <a:spcAft>
          <a:spcPct val="0"/>
        </a:spcAft>
        <a:defRPr sz="5984">
          <a:solidFill>
            <a:schemeClr val="tx1"/>
          </a:solidFill>
          <a:latin typeface="Calibri Light" panose="020F0302020204030204" pitchFamily="34" charset="0"/>
        </a:defRPr>
      </a:lvl2pPr>
      <a:lvl3pPr algn="l" rtl="0" fontAlgn="base" latinLnBrk="1">
        <a:lnSpc>
          <a:spcPct val="90000"/>
        </a:lnSpc>
        <a:spcBef>
          <a:spcPct val="0"/>
        </a:spcBef>
        <a:spcAft>
          <a:spcPct val="0"/>
        </a:spcAft>
        <a:defRPr sz="5984">
          <a:solidFill>
            <a:schemeClr val="tx1"/>
          </a:solidFill>
          <a:latin typeface="Calibri Light" panose="020F0302020204030204" pitchFamily="34" charset="0"/>
        </a:defRPr>
      </a:lvl3pPr>
      <a:lvl4pPr algn="l" rtl="0" fontAlgn="base" latinLnBrk="1">
        <a:lnSpc>
          <a:spcPct val="90000"/>
        </a:lnSpc>
        <a:spcBef>
          <a:spcPct val="0"/>
        </a:spcBef>
        <a:spcAft>
          <a:spcPct val="0"/>
        </a:spcAft>
        <a:defRPr sz="5984">
          <a:solidFill>
            <a:schemeClr val="tx1"/>
          </a:solidFill>
          <a:latin typeface="Calibri Light" panose="020F0302020204030204" pitchFamily="34" charset="0"/>
        </a:defRPr>
      </a:lvl4pPr>
      <a:lvl5pPr algn="l" rtl="0" fontAlgn="base" latinLnBrk="1">
        <a:lnSpc>
          <a:spcPct val="90000"/>
        </a:lnSpc>
        <a:spcBef>
          <a:spcPct val="0"/>
        </a:spcBef>
        <a:spcAft>
          <a:spcPct val="0"/>
        </a:spcAft>
        <a:defRPr sz="5984">
          <a:solidFill>
            <a:schemeClr val="tx1"/>
          </a:solidFill>
          <a:latin typeface="Calibri Light" panose="020F0302020204030204" pitchFamily="34" charset="0"/>
        </a:defRPr>
      </a:lvl5pPr>
      <a:lvl6pPr marL="621716" algn="l" rtl="0" fontAlgn="base" latinLnBrk="1">
        <a:lnSpc>
          <a:spcPct val="90000"/>
        </a:lnSpc>
        <a:spcBef>
          <a:spcPct val="0"/>
        </a:spcBef>
        <a:spcAft>
          <a:spcPct val="0"/>
        </a:spcAft>
        <a:defRPr sz="5984">
          <a:solidFill>
            <a:schemeClr val="tx1"/>
          </a:solidFill>
          <a:latin typeface="Calibri Light" panose="020F0302020204030204" pitchFamily="34" charset="0"/>
        </a:defRPr>
      </a:lvl6pPr>
      <a:lvl7pPr marL="1243431" algn="l" rtl="0" fontAlgn="base" latinLnBrk="1">
        <a:lnSpc>
          <a:spcPct val="90000"/>
        </a:lnSpc>
        <a:spcBef>
          <a:spcPct val="0"/>
        </a:spcBef>
        <a:spcAft>
          <a:spcPct val="0"/>
        </a:spcAft>
        <a:defRPr sz="5984">
          <a:solidFill>
            <a:schemeClr val="tx1"/>
          </a:solidFill>
          <a:latin typeface="Calibri Light" panose="020F0302020204030204" pitchFamily="34" charset="0"/>
        </a:defRPr>
      </a:lvl7pPr>
      <a:lvl8pPr marL="1865146" algn="l" rtl="0" fontAlgn="base" latinLnBrk="1">
        <a:lnSpc>
          <a:spcPct val="90000"/>
        </a:lnSpc>
        <a:spcBef>
          <a:spcPct val="0"/>
        </a:spcBef>
        <a:spcAft>
          <a:spcPct val="0"/>
        </a:spcAft>
        <a:defRPr sz="5984">
          <a:solidFill>
            <a:schemeClr val="tx1"/>
          </a:solidFill>
          <a:latin typeface="Calibri Light" panose="020F0302020204030204" pitchFamily="34" charset="0"/>
        </a:defRPr>
      </a:lvl8pPr>
      <a:lvl9pPr marL="2486862" algn="l" rtl="0" fontAlgn="base" latinLnBrk="1">
        <a:lnSpc>
          <a:spcPct val="90000"/>
        </a:lnSpc>
        <a:spcBef>
          <a:spcPct val="0"/>
        </a:spcBef>
        <a:spcAft>
          <a:spcPct val="0"/>
        </a:spcAft>
        <a:defRPr sz="5984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310857" indent="-310857" algn="l" rtl="0" fontAlgn="base" latinLnBrk="1">
        <a:lnSpc>
          <a:spcPct val="90000"/>
        </a:lnSpc>
        <a:spcBef>
          <a:spcPts val="1360"/>
        </a:spcBef>
        <a:spcAft>
          <a:spcPct val="0"/>
        </a:spcAft>
        <a:buFont typeface="Arial" panose="020B0604020202020204" pitchFamily="34" charset="0"/>
        <a:buChar char="•"/>
        <a:defRPr sz="3807" kern="1200">
          <a:solidFill>
            <a:schemeClr val="tx1"/>
          </a:solidFill>
          <a:latin typeface="+mn-lt"/>
          <a:ea typeface="+mn-ea"/>
          <a:cs typeface="+mn-cs"/>
        </a:defRPr>
      </a:lvl1pPr>
      <a:lvl2pPr marL="932573" indent="-310857" algn="l" rtl="0" fontAlgn="base" latinLnBrk="1">
        <a:lnSpc>
          <a:spcPct val="90000"/>
        </a:lnSpc>
        <a:spcBef>
          <a:spcPts val="680"/>
        </a:spcBef>
        <a:spcAft>
          <a:spcPct val="0"/>
        </a:spcAft>
        <a:buFont typeface="Arial" panose="020B0604020202020204" pitchFamily="34" charset="0"/>
        <a:buChar char="•"/>
        <a:defRPr sz="3264" kern="1200">
          <a:solidFill>
            <a:schemeClr val="tx1"/>
          </a:solidFill>
          <a:latin typeface="+mn-lt"/>
          <a:ea typeface="+mn-ea"/>
          <a:cs typeface="+mn-cs"/>
        </a:defRPr>
      </a:lvl2pPr>
      <a:lvl3pPr marL="1554289" indent="-310857" algn="l" rtl="0" fontAlgn="base" latinLnBrk="1">
        <a:lnSpc>
          <a:spcPct val="90000"/>
        </a:lnSpc>
        <a:spcBef>
          <a:spcPts val="680"/>
        </a:spcBef>
        <a:spcAft>
          <a:spcPct val="0"/>
        </a:spcAft>
        <a:buFont typeface="Arial" panose="020B0604020202020204" pitchFamily="34" charset="0"/>
        <a:buChar char="•"/>
        <a:defRPr sz="2720" kern="1200">
          <a:solidFill>
            <a:schemeClr val="tx1"/>
          </a:solidFill>
          <a:latin typeface="+mn-lt"/>
          <a:ea typeface="+mn-ea"/>
          <a:cs typeface="+mn-cs"/>
        </a:defRPr>
      </a:lvl3pPr>
      <a:lvl4pPr marL="2176005" indent="-310857" algn="l" rtl="0" fontAlgn="base" latinLnBrk="1">
        <a:lnSpc>
          <a:spcPct val="90000"/>
        </a:lnSpc>
        <a:spcBef>
          <a:spcPts val="68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797719" indent="-310857" algn="l" rtl="0" fontAlgn="base" latinLnBrk="1">
        <a:lnSpc>
          <a:spcPct val="90000"/>
        </a:lnSpc>
        <a:spcBef>
          <a:spcPts val="68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3419435" indent="-310857" algn="l" defTabSz="1243431" rtl="0" eaLnBrk="1" latinLnBrk="1" hangingPunct="1">
        <a:lnSpc>
          <a:spcPct val="90000"/>
        </a:lnSpc>
        <a:spcBef>
          <a:spcPts val="680"/>
        </a:spcBef>
        <a:buFont typeface="Arial" panose="020B0604020202020204" pitchFamily="34" charset="0"/>
        <a:buChar char="•"/>
        <a:defRPr sz="2448" kern="1200">
          <a:solidFill>
            <a:schemeClr val="tx1"/>
          </a:solidFill>
          <a:latin typeface="+mn-lt"/>
          <a:ea typeface="+mn-ea"/>
          <a:cs typeface="+mn-cs"/>
        </a:defRPr>
      </a:lvl6pPr>
      <a:lvl7pPr marL="4041151" indent="-310857" algn="l" defTabSz="1243431" rtl="0" eaLnBrk="1" latinLnBrk="1" hangingPunct="1">
        <a:lnSpc>
          <a:spcPct val="90000"/>
        </a:lnSpc>
        <a:spcBef>
          <a:spcPts val="680"/>
        </a:spcBef>
        <a:buFont typeface="Arial" panose="020B0604020202020204" pitchFamily="34" charset="0"/>
        <a:buChar char="•"/>
        <a:defRPr sz="2448" kern="1200">
          <a:solidFill>
            <a:schemeClr val="tx1"/>
          </a:solidFill>
          <a:latin typeface="+mn-lt"/>
          <a:ea typeface="+mn-ea"/>
          <a:cs typeface="+mn-cs"/>
        </a:defRPr>
      </a:lvl7pPr>
      <a:lvl8pPr marL="4662867" indent="-310857" algn="l" defTabSz="1243431" rtl="0" eaLnBrk="1" latinLnBrk="1" hangingPunct="1">
        <a:lnSpc>
          <a:spcPct val="90000"/>
        </a:lnSpc>
        <a:spcBef>
          <a:spcPts val="680"/>
        </a:spcBef>
        <a:buFont typeface="Arial" panose="020B0604020202020204" pitchFamily="34" charset="0"/>
        <a:buChar char="•"/>
        <a:defRPr sz="2448" kern="1200">
          <a:solidFill>
            <a:schemeClr val="tx1"/>
          </a:solidFill>
          <a:latin typeface="+mn-lt"/>
          <a:ea typeface="+mn-ea"/>
          <a:cs typeface="+mn-cs"/>
        </a:defRPr>
      </a:lvl8pPr>
      <a:lvl9pPr marL="5284581" indent="-310857" algn="l" defTabSz="1243431" rtl="0" eaLnBrk="1" latinLnBrk="1" hangingPunct="1">
        <a:lnSpc>
          <a:spcPct val="90000"/>
        </a:lnSpc>
        <a:spcBef>
          <a:spcPts val="680"/>
        </a:spcBef>
        <a:buFont typeface="Arial" panose="020B0604020202020204" pitchFamily="34" charset="0"/>
        <a:buChar char="•"/>
        <a:defRPr sz="244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43431" rtl="0" eaLnBrk="1" latinLnBrk="1" hangingPunct="1">
        <a:defRPr sz="2448" kern="1200">
          <a:solidFill>
            <a:schemeClr val="tx1"/>
          </a:solidFill>
          <a:latin typeface="+mn-lt"/>
          <a:ea typeface="+mn-ea"/>
          <a:cs typeface="+mn-cs"/>
        </a:defRPr>
      </a:lvl1pPr>
      <a:lvl2pPr marL="621716" algn="l" defTabSz="1243431" rtl="0" eaLnBrk="1" latinLnBrk="1" hangingPunct="1">
        <a:defRPr sz="2448" kern="1200">
          <a:solidFill>
            <a:schemeClr val="tx1"/>
          </a:solidFill>
          <a:latin typeface="+mn-lt"/>
          <a:ea typeface="+mn-ea"/>
          <a:cs typeface="+mn-cs"/>
        </a:defRPr>
      </a:lvl2pPr>
      <a:lvl3pPr marL="1243431" algn="l" defTabSz="1243431" rtl="0" eaLnBrk="1" latinLnBrk="1" hangingPunct="1">
        <a:defRPr sz="2448" kern="1200">
          <a:solidFill>
            <a:schemeClr val="tx1"/>
          </a:solidFill>
          <a:latin typeface="+mn-lt"/>
          <a:ea typeface="+mn-ea"/>
          <a:cs typeface="+mn-cs"/>
        </a:defRPr>
      </a:lvl3pPr>
      <a:lvl4pPr marL="1865146" algn="l" defTabSz="1243431" rtl="0" eaLnBrk="1" latinLnBrk="1" hangingPunct="1">
        <a:defRPr sz="2448" kern="1200">
          <a:solidFill>
            <a:schemeClr val="tx1"/>
          </a:solidFill>
          <a:latin typeface="+mn-lt"/>
          <a:ea typeface="+mn-ea"/>
          <a:cs typeface="+mn-cs"/>
        </a:defRPr>
      </a:lvl4pPr>
      <a:lvl5pPr marL="2486862" algn="l" defTabSz="1243431" rtl="0" eaLnBrk="1" latinLnBrk="1" hangingPunct="1">
        <a:defRPr sz="2448" kern="1200">
          <a:solidFill>
            <a:schemeClr val="tx1"/>
          </a:solidFill>
          <a:latin typeface="+mn-lt"/>
          <a:ea typeface="+mn-ea"/>
          <a:cs typeface="+mn-cs"/>
        </a:defRPr>
      </a:lvl5pPr>
      <a:lvl6pPr marL="3108578" algn="l" defTabSz="1243431" rtl="0" eaLnBrk="1" latinLnBrk="1" hangingPunct="1">
        <a:defRPr sz="2448" kern="1200">
          <a:solidFill>
            <a:schemeClr val="tx1"/>
          </a:solidFill>
          <a:latin typeface="+mn-lt"/>
          <a:ea typeface="+mn-ea"/>
          <a:cs typeface="+mn-cs"/>
        </a:defRPr>
      </a:lvl6pPr>
      <a:lvl7pPr marL="3730293" algn="l" defTabSz="1243431" rtl="0" eaLnBrk="1" latinLnBrk="1" hangingPunct="1">
        <a:defRPr sz="2448" kern="1200">
          <a:solidFill>
            <a:schemeClr val="tx1"/>
          </a:solidFill>
          <a:latin typeface="+mn-lt"/>
          <a:ea typeface="+mn-ea"/>
          <a:cs typeface="+mn-cs"/>
        </a:defRPr>
      </a:lvl7pPr>
      <a:lvl8pPr marL="4352008" algn="l" defTabSz="1243431" rtl="0" eaLnBrk="1" latinLnBrk="1" hangingPunct="1">
        <a:defRPr sz="2448" kern="1200">
          <a:solidFill>
            <a:schemeClr val="tx1"/>
          </a:solidFill>
          <a:latin typeface="+mn-lt"/>
          <a:ea typeface="+mn-ea"/>
          <a:cs typeface="+mn-cs"/>
        </a:defRPr>
      </a:lvl8pPr>
      <a:lvl9pPr marL="4973724" algn="l" defTabSz="1243431" rtl="0" eaLnBrk="1" latinLnBrk="1" hangingPunct="1">
        <a:defRPr sz="244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2880">
          <p15:clr>
            <a:srgbClr val="F26B43"/>
          </p15:clr>
        </p15:guide>
        <p15:guide id="3" pos="2943">
          <p15:clr>
            <a:srgbClr val="F26B43"/>
          </p15:clr>
        </p15:guide>
        <p15:guide id="4" pos="2817">
          <p15:clr>
            <a:srgbClr val="F26B43"/>
          </p15:clr>
        </p15:guide>
        <p15:guide id="6" orient="horz" pos="3026">
          <p15:clr>
            <a:srgbClr val="F26B43"/>
          </p15:clr>
        </p15:guide>
        <p15:guide id="7" pos="249">
          <p15:clr>
            <a:srgbClr val="F26B43"/>
          </p15:clr>
        </p15:guide>
        <p15:guide id="8" pos="5511">
          <p15:clr>
            <a:srgbClr val="F26B43"/>
          </p15:clr>
        </p15:guide>
        <p15:guide id="9" orient="horz" pos="57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learn.microsoft.com/en-us/azure/azure-monitor/app/nodejs" TargetMode="Externa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5.xml"/><Relationship Id="rId5" Type="http://schemas.openxmlformats.org/officeDocument/2006/relationships/image" Target="../media/image60.png"/><Relationship Id="rId4" Type="http://schemas.openxmlformats.org/officeDocument/2006/relationships/image" Target="../media/image59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learn.microsoft.com/en-us/azure/azure-monitor/app/data-model-request-telemetry" TargetMode="Externa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61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learn.microsoft.com/en-us/azure/azure-monitor/app/data-model-request-telemetry#custom-properties" TargetMode="Externa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62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5.xml"/><Relationship Id="rId5" Type="http://schemas.openxmlformats.org/officeDocument/2006/relationships/image" Target="../media/image65.png"/><Relationship Id="rId4" Type="http://schemas.openxmlformats.org/officeDocument/2006/relationships/image" Target="../media/image64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azure.microsoft.com/en-us/pricing/details/monitor/" TargetMode="Externa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67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69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learn.microsoft.com/en-us/azure/azure-monitor/logs/basic-logs-configure?tabs=portal-1%2Cportal-2#which-tables-support-basic-logs" TargetMode="Externa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71.png"/><Relationship Id="rId5" Type="http://schemas.openxmlformats.org/officeDocument/2006/relationships/image" Target="../media/image70.png"/><Relationship Id="rId4" Type="http://schemas.openxmlformats.org/officeDocument/2006/relationships/hyperlink" Target="https://learn.microsoft.com/en-us/azure/azure-monitor/logs/log-analytics-workspace-overview#log-data-plans-preview" TargetMode="Externa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73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75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s://learn.microsoft.com/en-us/azure/azure-monitor/logs/daily-cap" TargetMode="External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5.xml"/><Relationship Id="rId5" Type="http://schemas.openxmlformats.org/officeDocument/2006/relationships/image" Target="../media/image77.png"/><Relationship Id="rId4" Type="http://schemas.openxmlformats.org/officeDocument/2006/relationships/image" Target="../media/image76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hyperlink" Target="https://learn.microsoft.com/en-us/azure/azure-monitor/app/sampling" TargetMode="External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78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hyperlink" Target="https://learn.microsoft.com/en-us/azure/azure-monitor/app/java-standalone-config#sampling" TargetMode="External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5.xml"/><Relationship Id="rId5" Type="http://schemas.openxmlformats.org/officeDocument/2006/relationships/image" Target="../media/image81.png"/><Relationship Id="rId4" Type="http://schemas.openxmlformats.org/officeDocument/2006/relationships/image" Target="../media/image80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hyperlink" Target="https://learn.microsoft.com/en-us/azure/azure-monitor/app/sampling#types-of-sampling" TargetMode="External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82.pn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5.xml"/><Relationship Id="rId5" Type="http://schemas.openxmlformats.org/officeDocument/2006/relationships/image" Target="../media/image52.png"/><Relationship Id="rId4" Type="http://schemas.openxmlformats.org/officeDocument/2006/relationships/image" Target="../media/image5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5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learn.microsoft.com/ko-kr/azure/azure-monitor/app/asp-net-dependencies" TargetMode="Externa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5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279726" y="3321431"/>
            <a:ext cx="6402388" cy="1456560"/>
          </a:xfrm>
        </p:spPr>
        <p:txBody>
          <a:bodyPr/>
          <a:lstStyle/>
          <a:p>
            <a:r>
              <a:rPr lang="en-US" sz="3500" i="1" dirty="0"/>
              <a:t>Application Insights</a:t>
            </a:r>
          </a:p>
        </p:txBody>
      </p:sp>
    </p:spTree>
    <p:extLst>
      <p:ext uri="{BB962C8B-B14F-4D97-AF65-F5344CB8AC3E}">
        <p14:creationId xmlns:p14="http://schemas.microsoft.com/office/powerpoint/2010/main" val="13250588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355748-2E5A-FF43-B041-EDECD4D2DA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ctr"/>
          <a:lstStyle/>
          <a:p>
            <a:r>
              <a:rPr lang="en-US" altLang="ko-KR" sz="3650" b="1" dirty="0">
                <a:latin typeface="맑은 고딕"/>
                <a:ea typeface="맑은 고딕"/>
              </a:rPr>
              <a:t>Performance </a:t>
            </a:r>
            <a:r>
              <a:rPr lang="ko-KR" altLang="en-US" sz="3650" b="1" dirty="0">
                <a:latin typeface="맑은 고딕"/>
                <a:ea typeface="맑은 고딕"/>
              </a:rPr>
              <a:t>종속성 추적</a:t>
            </a:r>
            <a:endParaRPr lang="en-US" altLang="ko-KR" sz="3650" b="1" dirty="0">
              <a:latin typeface="맑은 고딕"/>
              <a:ea typeface="맑은 고딕"/>
            </a:endParaRP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0F85905A-5E01-8F50-E18C-9D227C507F1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95914" y="1463669"/>
            <a:ext cx="11243609" cy="5019836"/>
          </a:xfrm>
        </p:spPr>
        <p:txBody>
          <a:bodyPr vert="horz" wrap="square" lIns="146304" tIns="91440" rIns="146304" bIns="91440" rtlCol="0" anchor="t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ko-KR" altLang="en-US" sz="2000" dirty="0">
                <a:cs typeface="+mn-lt"/>
              </a:rPr>
              <a:t>기본적으로 종속성이 제공되지 않는 리소스에 대해 모니터링을 위해 추가 코드를 통해 모니터링할 수 있는 방법을 제공</a:t>
            </a:r>
            <a:r>
              <a:rPr lang="en-US" altLang="ko-KR" sz="2000" dirty="0">
                <a:cs typeface="+mn-lt"/>
              </a:rPr>
              <a:t>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cs typeface="+mn-lt"/>
              </a:rPr>
              <a:t>Dependency</a:t>
            </a:r>
            <a:r>
              <a:rPr lang="ko-KR" altLang="en-US" sz="2000" dirty="0">
                <a:cs typeface="+mn-lt"/>
              </a:rPr>
              <a:t>에 모니터링 구성을 통해 추적 가능</a:t>
            </a:r>
            <a:r>
              <a:rPr lang="en-US" altLang="ko-KR" sz="2000" dirty="0">
                <a:cs typeface="+mn-lt"/>
              </a:rPr>
              <a:t>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>
              <a:cs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>
              <a:cs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>
              <a:cs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>
              <a:cs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>
              <a:cs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>
              <a:cs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>
              <a:cs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>
              <a:cs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ko-KR" altLang="en-US" sz="2000" dirty="0">
                <a:cs typeface="+mn-lt"/>
              </a:rPr>
              <a:t>참고</a:t>
            </a:r>
            <a:r>
              <a:rPr lang="en-US" altLang="ko-KR" sz="2000" dirty="0">
                <a:cs typeface="+mn-lt"/>
              </a:rPr>
              <a:t>: </a:t>
            </a:r>
            <a:r>
              <a:rPr lang="en-US" sz="2000" dirty="0">
                <a:hlinkClick r:id="rId3"/>
              </a:rPr>
              <a:t>Monitor Node.js services with Application Insights - Azure Monitor | Microsoft Learn</a:t>
            </a:r>
            <a:endParaRPr lang="en-US" sz="2000" dirty="0">
              <a:cs typeface="Segoe UI Light"/>
            </a:endParaRPr>
          </a:p>
        </p:txBody>
      </p:sp>
      <p:graphicFrame>
        <p:nvGraphicFramePr>
          <p:cNvPr id="3" name="표 5">
            <a:extLst>
              <a:ext uri="{FF2B5EF4-FFF2-40B4-BE49-F238E27FC236}">
                <a16:creationId xmlns:a16="http://schemas.microsoft.com/office/drawing/2014/main" id="{EB184574-263B-B983-B8AE-5A757B786E7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18954039"/>
              </p:ext>
            </p:extLst>
          </p:nvPr>
        </p:nvGraphicFramePr>
        <p:xfrm>
          <a:off x="1098054" y="2633219"/>
          <a:ext cx="10457550" cy="322597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228775">
                  <a:extLst>
                    <a:ext uri="{9D8B030D-6E8A-4147-A177-3AD203B41FA5}">
                      <a16:colId xmlns:a16="http://schemas.microsoft.com/office/drawing/2014/main" val="1803683248"/>
                    </a:ext>
                  </a:extLst>
                </a:gridCol>
                <a:gridCol w="5228775">
                  <a:extLst>
                    <a:ext uri="{9D8B030D-6E8A-4147-A177-3AD203B41FA5}">
                      <a16:colId xmlns:a16="http://schemas.microsoft.com/office/drawing/2014/main" val="1924610298"/>
                    </a:ext>
                  </a:extLst>
                </a:gridCol>
              </a:tblGrid>
              <a:tr h="391335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.NE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Node.j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50406186"/>
                  </a:ext>
                </a:extLst>
              </a:tr>
              <a:tr h="1584852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  <a:p>
                      <a:endParaRPr lang="en-US" dirty="0"/>
                    </a:p>
                    <a:p>
                      <a:endParaRPr lang="en-US" dirty="0"/>
                    </a:p>
                    <a:p>
                      <a:endParaRPr lang="en-US" dirty="0"/>
                    </a:p>
                    <a:p>
                      <a:endParaRPr lang="en-US" dirty="0"/>
                    </a:p>
                    <a:p>
                      <a:endParaRPr lang="en-US" dirty="0"/>
                    </a:p>
                    <a:p>
                      <a:endParaRPr lang="en-US" dirty="0"/>
                    </a:p>
                    <a:p>
                      <a:endParaRPr lang="en-US" dirty="0"/>
                    </a:p>
                    <a:p>
                      <a:endParaRPr lang="en-US" dirty="0"/>
                    </a:p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72217782"/>
                  </a:ext>
                </a:extLst>
              </a:tr>
            </a:tbl>
          </a:graphicData>
        </a:graphic>
      </p:graphicFrame>
      <p:pic>
        <p:nvPicPr>
          <p:cNvPr id="7" name="그림 6">
            <a:extLst>
              <a:ext uri="{FF2B5EF4-FFF2-40B4-BE49-F238E27FC236}">
                <a16:creationId xmlns:a16="http://schemas.microsoft.com/office/drawing/2014/main" id="{EBB57815-3D2F-7944-B9BE-A182A51C8A5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98053" y="2997042"/>
            <a:ext cx="5213983" cy="2862152"/>
          </a:xfrm>
          <a:prstGeom prst="rect">
            <a:avLst/>
          </a:prstGeom>
        </p:spPr>
      </p:pic>
      <p:pic>
        <p:nvPicPr>
          <p:cNvPr id="9" name="그림 8">
            <a:extLst>
              <a:ext uri="{FF2B5EF4-FFF2-40B4-BE49-F238E27FC236}">
                <a16:creationId xmlns:a16="http://schemas.microsoft.com/office/drawing/2014/main" id="{5EEA7825-5E4C-198E-21F8-0CCA7B0AA7A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31853" y="2997040"/>
            <a:ext cx="5213983" cy="28621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5954738"/>
      </p:ext>
    </p:extLst>
  </p:cSld>
  <p:clrMapOvr>
    <a:masterClrMapping/>
  </p:clrMapOvr>
  <p:transition advTm="1158"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01C4DE8-FED9-4360-822F-E4430EDF304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0" y="1165753"/>
            <a:ext cx="6156055" cy="2571563"/>
          </a:xfrm>
        </p:spPr>
        <p:txBody>
          <a:bodyPr/>
          <a:lstStyle/>
          <a:p>
            <a:r>
              <a:rPr lang="en-US" sz="3200" dirty="0"/>
              <a:t>Custom </a:t>
            </a:r>
            <a:r>
              <a:rPr lang="ko-KR" altLang="en-US" sz="3200" dirty="0"/>
              <a:t>데이터 저장 및 조회</a:t>
            </a:r>
            <a:endParaRPr lang="en-US" sz="320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3ACEEC4-C091-4D2D-9C86-E2374B1BA1C8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953500" y="635635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FFF257A-30C5-4AFB-911B-BE4CEEA1EA82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112543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355748-2E5A-FF43-B041-EDECD4D2DA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ctr"/>
          <a:lstStyle/>
          <a:p>
            <a:r>
              <a:rPr lang="ko-KR" altLang="en-US" sz="3650" b="1" dirty="0">
                <a:latin typeface="맑은 고딕"/>
                <a:ea typeface="맑은 고딕"/>
              </a:rPr>
              <a:t>개요</a:t>
            </a:r>
            <a:endParaRPr lang="en-US" altLang="ko-KR" sz="3650" b="1" dirty="0">
              <a:latin typeface="맑은 고딕"/>
              <a:ea typeface="맑은 고딕"/>
            </a:endParaRP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0F85905A-5E01-8F50-E18C-9D227C507F1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95914" y="1463669"/>
            <a:ext cx="11243609" cy="4462760"/>
          </a:xfrm>
        </p:spPr>
        <p:txBody>
          <a:bodyPr vert="horz" wrap="square" lIns="146304" tIns="91440" rIns="146304" bIns="91440" rtlCol="0" anchor="t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ko-KR" altLang="en-US" sz="2000" dirty="0">
                <a:cs typeface="+mn-lt"/>
              </a:rPr>
              <a:t>참고</a:t>
            </a:r>
            <a:r>
              <a:rPr lang="en-US" altLang="ko-KR" sz="2000" dirty="0">
                <a:cs typeface="+mn-lt"/>
              </a:rPr>
              <a:t>: </a:t>
            </a:r>
            <a:r>
              <a:rPr lang="en-US" sz="2000" dirty="0">
                <a:hlinkClick r:id="rId3"/>
              </a:rPr>
              <a:t>Data model for request telemetry - Azure Application Insights - Azure Monitor | Microsoft Learn</a:t>
            </a:r>
            <a:endParaRPr lang="en-US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cs typeface="+mn-lt"/>
              </a:rPr>
              <a:t>Application insight</a:t>
            </a:r>
            <a:r>
              <a:rPr lang="ko-KR" altLang="en-US" sz="2000" dirty="0">
                <a:cs typeface="+mn-lt"/>
              </a:rPr>
              <a:t>를 통해 개별 요청은 </a:t>
            </a:r>
            <a:r>
              <a:rPr lang="en-US" altLang="ko-KR" sz="2000" dirty="0">
                <a:cs typeface="+mn-lt"/>
              </a:rPr>
              <a:t>requests </a:t>
            </a:r>
            <a:r>
              <a:rPr lang="ko-KR" altLang="en-US" sz="2000" dirty="0">
                <a:cs typeface="+mn-lt"/>
              </a:rPr>
              <a:t>테이블에 저장되며 기본 수집되는 데이터 목록은 다음과 같이 확인할 수 있음 </a:t>
            </a:r>
            <a:r>
              <a:rPr lang="en-US" altLang="ko-KR" sz="2000" dirty="0">
                <a:cs typeface="+mn-lt"/>
              </a:rPr>
              <a:t>(App insights &gt; Logs </a:t>
            </a:r>
            <a:r>
              <a:rPr lang="ko-KR" altLang="en-US" sz="2000" dirty="0">
                <a:cs typeface="+mn-lt"/>
              </a:rPr>
              <a:t>메뉴 접근</a:t>
            </a:r>
            <a:r>
              <a:rPr lang="en-US" altLang="ko-KR" sz="2000" dirty="0">
                <a:cs typeface="+mn-lt"/>
              </a:rPr>
              <a:t>)</a:t>
            </a:r>
            <a:endParaRPr lang="en-US" sz="2000" dirty="0">
              <a:cs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>
              <a:cs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>
              <a:cs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>
              <a:cs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>
              <a:cs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>
              <a:cs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>
              <a:cs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>
              <a:cs typeface="+mn-lt"/>
            </a:endParaRPr>
          </a:p>
        </p:txBody>
      </p:sp>
      <p:pic>
        <p:nvPicPr>
          <p:cNvPr id="8" name="그림 7">
            <a:extLst>
              <a:ext uri="{FF2B5EF4-FFF2-40B4-BE49-F238E27FC236}">
                <a16:creationId xmlns:a16="http://schemas.microsoft.com/office/drawing/2014/main" id="{71D3DE75-0571-0FAF-3C41-BB0BA5406F6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75173" y="2853124"/>
            <a:ext cx="4149969" cy="3972735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595340580"/>
      </p:ext>
    </p:extLst>
  </p:cSld>
  <p:clrMapOvr>
    <a:masterClrMapping/>
  </p:clrMapOvr>
  <p:transition advTm="1158"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355748-2E5A-FF43-B041-EDECD4D2DA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ctr"/>
          <a:lstStyle/>
          <a:p>
            <a:r>
              <a:rPr lang="en-US" altLang="ko-KR" sz="3650" b="1" dirty="0">
                <a:latin typeface="맑은 고딕"/>
                <a:ea typeface="맑은 고딕"/>
              </a:rPr>
              <a:t>Custom Property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0F85905A-5E01-8F50-E18C-9D227C507F1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95914" y="1463669"/>
            <a:ext cx="11243609" cy="4001095"/>
          </a:xfrm>
        </p:spPr>
        <p:txBody>
          <a:bodyPr vert="horz" wrap="square" lIns="146304" tIns="91440" rIns="146304" bIns="91440" rtlCol="0" anchor="t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ko-KR" altLang="en-US" sz="2000" dirty="0">
                <a:cs typeface="+mn-lt"/>
              </a:rPr>
              <a:t>기본적으로 수집되는 데이터 이외에 요청과 관련된 추가 데이터 수집이 필요한 경우</a:t>
            </a:r>
            <a:r>
              <a:rPr lang="en-US" altLang="ko-KR" sz="2000" dirty="0">
                <a:cs typeface="+mn-lt"/>
              </a:rPr>
              <a:t>, </a:t>
            </a:r>
            <a:r>
              <a:rPr lang="ko-KR" altLang="en-US" sz="2000" dirty="0">
                <a:cs typeface="+mn-lt"/>
              </a:rPr>
              <a:t>추가 코딩을 통해 필요한 정보를 수집할 수 있음</a:t>
            </a:r>
            <a:r>
              <a:rPr lang="en-US" altLang="ko-KR" sz="2000" dirty="0">
                <a:cs typeface="+mn-lt"/>
              </a:rPr>
              <a:t>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ko-KR" altLang="en-US" sz="2000" dirty="0">
                <a:cs typeface="+mn-lt"/>
              </a:rPr>
              <a:t>예를 들어 고객사에서 기존 웹</a:t>
            </a:r>
            <a:r>
              <a:rPr lang="en-US" altLang="ko-KR" sz="2000" dirty="0">
                <a:cs typeface="+mn-lt"/>
              </a:rPr>
              <a:t>-</a:t>
            </a:r>
            <a:r>
              <a:rPr lang="ko-KR" altLang="en-US" sz="2000" dirty="0">
                <a:cs typeface="+mn-lt"/>
              </a:rPr>
              <a:t>서버에서 수집하던 </a:t>
            </a:r>
            <a:r>
              <a:rPr lang="en-US" altLang="ko-KR" sz="2000" dirty="0">
                <a:cs typeface="+mn-lt"/>
              </a:rPr>
              <a:t>client IP </a:t>
            </a:r>
            <a:r>
              <a:rPr lang="ko-KR" altLang="en-US" sz="2000" dirty="0">
                <a:cs typeface="+mn-lt"/>
              </a:rPr>
              <a:t>주소와 쿠키 정보 수집이 필요하나 </a:t>
            </a:r>
            <a:r>
              <a:rPr lang="en-US" altLang="ko-KR" sz="2000" dirty="0">
                <a:cs typeface="+mn-lt"/>
              </a:rPr>
              <a:t>App insight</a:t>
            </a:r>
            <a:r>
              <a:rPr lang="ko-KR" altLang="en-US" sz="2000" dirty="0">
                <a:cs typeface="+mn-lt"/>
              </a:rPr>
              <a:t>에서는 기본으로 수집되지 않기 때문에 </a:t>
            </a:r>
            <a:r>
              <a:rPr lang="en-US" altLang="ko-KR" sz="2000" dirty="0">
                <a:cs typeface="+mn-lt"/>
              </a:rPr>
              <a:t>custom Dimension</a:t>
            </a:r>
            <a:r>
              <a:rPr lang="ko-KR" altLang="en-US" sz="2000" dirty="0">
                <a:cs typeface="+mn-lt"/>
              </a:rPr>
              <a:t>을 사용해서 고객사에서 필요한 데이터를 수집할 수 있음</a:t>
            </a:r>
            <a:r>
              <a:rPr lang="en-US" altLang="ko-KR" sz="2000" dirty="0">
                <a:cs typeface="+mn-lt"/>
              </a:rPr>
              <a:t>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ko-KR" sz="2000" dirty="0">
                <a:cs typeface="+mn-lt"/>
              </a:rPr>
              <a:t>Custom</a:t>
            </a:r>
            <a:r>
              <a:rPr lang="ko-KR" altLang="en-US" sz="2000" dirty="0">
                <a:cs typeface="+mn-lt"/>
              </a:rPr>
              <a:t> </a:t>
            </a:r>
            <a:r>
              <a:rPr lang="en-US" altLang="ko-KR" sz="2000" dirty="0">
                <a:cs typeface="+mn-lt"/>
              </a:rPr>
              <a:t>Property</a:t>
            </a:r>
            <a:r>
              <a:rPr lang="ko-KR" altLang="en-US" sz="2000" dirty="0">
                <a:cs typeface="+mn-lt"/>
              </a:rPr>
              <a:t>는 사용자 지정 속성의 이름</a:t>
            </a:r>
            <a:r>
              <a:rPr lang="en-US" altLang="ko-KR" sz="2000" dirty="0">
                <a:cs typeface="+mn-lt"/>
              </a:rPr>
              <a:t>-</a:t>
            </a:r>
            <a:r>
              <a:rPr lang="ko-KR" altLang="en-US" sz="2000" dirty="0">
                <a:cs typeface="+mn-lt"/>
              </a:rPr>
              <a:t>값 컬렉션이며 사용자 지정 차원으로 표준 원격 분석을 확장하는 데 사용됨</a:t>
            </a:r>
            <a:r>
              <a:rPr lang="en-US" altLang="ko-KR" sz="2000" dirty="0">
                <a:cs typeface="+mn-lt"/>
              </a:rPr>
              <a:t>. </a:t>
            </a:r>
            <a:r>
              <a:rPr lang="ko-KR" altLang="en-US" sz="2000" dirty="0">
                <a:cs typeface="+mn-lt"/>
              </a:rPr>
              <a:t>예를 들어 주문 번호와 같은 특정 요청에 종속적인 데이터</a:t>
            </a:r>
            <a:r>
              <a:rPr lang="en-US" altLang="ko-KR" sz="2000" dirty="0">
                <a:cs typeface="+mn-lt"/>
              </a:rPr>
              <a:t>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ko-KR" altLang="en-US" sz="2000" dirty="0">
                <a:cs typeface="+mn-lt"/>
              </a:rPr>
              <a:t>참고</a:t>
            </a:r>
            <a:r>
              <a:rPr lang="en-US" altLang="ko-KR" sz="2000" dirty="0">
                <a:cs typeface="+mn-lt"/>
              </a:rPr>
              <a:t>: </a:t>
            </a:r>
            <a:r>
              <a:rPr lang="en-US" sz="2000" dirty="0">
                <a:hlinkClick r:id="rId3"/>
              </a:rPr>
              <a:t>Data model for request telemetry - Azure Application Insights - Azure Monitor | Microsoft Learn</a:t>
            </a:r>
            <a:endParaRPr lang="en-US" sz="2000" dirty="0">
              <a:cs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ko-KR" altLang="en-US" sz="2000" dirty="0">
                <a:cs typeface="+mn-lt"/>
              </a:rPr>
              <a:t>키와 값에 대한 최대 크기는 다음과 같이 확인됨</a:t>
            </a:r>
            <a:r>
              <a:rPr lang="en-US" altLang="ko-KR" sz="2000" dirty="0">
                <a:cs typeface="+mn-lt"/>
              </a:rPr>
              <a:t>.</a:t>
            </a:r>
            <a:endParaRPr lang="en-US" sz="2000" dirty="0">
              <a:cs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>
              <a:cs typeface="+mn-lt"/>
            </a:endParaRPr>
          </a:p>
        </p:txBody>
      </p:sp>
      <p:pic>
        <p:nvPicPr>
          <p:cNvPr id="13" name="그림 12">
            <a:extLst>
              <a:ext uri="{FF2B5EF4-FFF2-40B4-BE49-F238E27FC236}">
                <a16:creationId xmlns:a16="http://schemas.microsoft.com/office/drawing/2014/main" id="{E396F3C3-AD9E-1A1C-7A84-110B170739F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61314" y="4991169"/>
            <a:ext cx="5256404" cy="539687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308417048"/>
      </p:ext>
    </p:extLst>
  </p:cSld>
  <p:clrMapOvr>
    <a:masterClrMapping/>
  </p:clrMapOvr>
  <p:transition advTm="1158"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355748-2E5A-FF43-B041-EDECD4D2DA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ctr"/>
          <a:lstStyle/>
          <a:p>
            <a:r>
              <a:rPr lang="en-US" altLang="ko-KR" sz="3650" b="1" dirty="0">
                <a:latin typeface="맑은 고딕"/>
                <a:ea typeface="맑은 고딕"/>
              </a:rPr>
              <a:t>Custom Property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0F85905A-5E01-8F50-E18C-9D227C507F1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95914" y="1463669"/>
            <a:ext cx="11243609" cy="2893100"/>
          </a:xfrm>
        </p:spPr>
        <p:txBody>
          <a:bodyPr vert="horz" wrap="square" lIns="146304" tIns="91440" rIns="146304" bIns="91440" rtlCol="0" anchor="t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ko-KR" altLang="en-US" sz="2000" dirty="0">
                <a:cs typeface="+mn-lt"/>
              </a:rPr>
              <a:t>아래와 같이 </a:t>
            </a:r>
            <a:r>
              <a:rPr lang="en-US" altLang="ko-KR" sz="2000" dirty="0">
                <a:cs typeface="+mn-lt"/>
              </a:rPr>
              <a:t>App</a:t>
            </a:r>
            <a:r>
              <a:rPr lang="ko-KR" altLang="en-US" sz="2000" dirty="0">
                <a:cs typeface="+mn-lt"/>
              </a:rPr>
              <a:t>에서 필요한 속성에 대한 </a:t>
            </a:r>
            <a:r>
              <a:rPr lang="en-US" altLang="ko-KR" sz="2000" dirty="0">
                <a:cs typeface="+mn-lt"/>
              </a:rPr>
              <a:t>key, </a:t>
            </a:r>
            <a:r>
              <a:rPr lang="en-US" altLang="ko-KR" sz="2000" dirty="0" err="1">
                <a:cs typeface="+mn-lt"/>
              </a:rPr>
              <a:t>vaule</a:t>
            </a:r>
            <a:r>
              <a:rPr lang="ko-KR" altLang="en-US" sz="2000" dirty="0">
                <a:cs typeface="+mn-lt"/>
              </a:rPr>
              <a:t>를 명시하여 </a:t>
            </a:r>
            <a:r>
              <a:rPr lang="en-US" altLang="ko-KR" sz="2000" dirty="0">
                <a:cs typeface="+mn-lt"/>
              </a:rPr>
              <a:t>App Insights</a:t>
            </a:r>
            <a:r>
              <a:rPr lang="ko-KR" altLang="en-US" sz="2000" dirty="0">
                <a:cs typeface="+mn-lt"/>
              </a:rPr>
              <a:t>의 </a:t>
            </a:r>
            <a:r>
              <a:rPr lang="en-US" altLang="ko-KR" sz="2000" dirty="0">
                <a:cs typeface="+mn-lt"/>
              </a:rPr>
              <a:t>Requests</a:t>
            </a:r>
            <a:r>
              <a:rPr lang="ko-KR" altLang="en-US" sz="2000" dirty="0">
                <a:cs typeface="+mn-lt"/>
              </a:rPr>
              <a:t>에서 기본 속성과 함께 조회할 수 있음</a:t>
            </a:r>
            <a:r>
              <a:rPr lang="en-US" altLang="ko-KR" sz="2000" dirty="0">
                <a:cs typeface="+mn-lt"/>
              </a:rPr>
              <a:t>.</a:t>
            </a:r>
            <a:endParaRPr lang="en-US" sz="2000" dirty="0">
              <a:cs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>
              <a:cs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>
              <a:cs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>
              <a:cs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>
              <a:cs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>
              <a:cs typeface="+mn-lt"/>
            </a:endParaRPr>
          </a:p>
        </p:txBody>
      </p:sp>
      <p:graphicFrame>
        <p:nvGraphicFramePr>
          <p:cNvPr id="3" name="표 5">
            <a:extLst>
              <a:ext uri="{FF2B5EF4-FFF2-40B4-BE49-F238E27FC236}">
                <a16:creationId xmlns:a16="http://schemas.microsoft.com/office/drawing/2014/main" id="{629E731B-AD35-4B38-11A7-79EF99005D1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39394819"/>
              </p:ext>
            </p:extLst>
          </p:nvPr>
        </p:nvGraphicFramePr>
        <p:xfrm>
          <a:off x="1093029" y="2211189"/>
          <a:ext cx="10457550" cy="385801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228775">
                  <a:extLst>
                    <a:ext uri="{9D8B030D-6E8A-4147-A177-3AD203B41FA5}">
                      <a16:colId xmlns:a16="http://schemas.microsoft.com/office/drawing/2014/main" val="1803683248"/>
                    </a:ext>
                  </a:extLst>
                </a:gridCol>
                <a:gridCol w="5228775">
                  <a:extLst>
                    <a:ext uri="{9D8B030D-6E8A-4147-A177-3AD203B41FA5}">
                      <a16:colId xmlns:a16="http://schemas.microsoft.com/office/drawing/2014/main" val="1924610298"/>
                    </a:ext>
                  </a:extLst>
                </a:gridCol>
              </a:tblGrid>
              <a:tr h="468006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.NE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Node.j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50406186"/>
                  </a:ext>
                </a:extLst>
              </a:tr>
              <a:tr h="3390009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  <a:p>
                      <a:endParaRPr lang="en-US" dirty="0"/>
                    </a:p>
                    <a:p>
                      <a:endParaRPr lang="en-US" dirty="0"/>
                    </a:p>
                    <a:p>
                      <a:endParaRPr lang="en-US" dirty="0"/>
                    </a:p>
                    <a:p>
                      <a:endParaRPr lang="en-US" dirty="0"/>
                    </a:p>
                    <a:p>
                      <a:endParaRPr lang="en-US" dirty="0"/>
                    </a:p>
                    <a:p>
                      <a:endParaRPr lang="en-US" dirty="0"/>
                    </a:p>
                    <a:p>
                      <a:endParaRPr lang="en-US" dirty="0"/>
                    </a:p>
                    <a:p>
                      <a:endParaRPr lang="en-US" dirty="0"/>
                    </a:p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72217782"/>
                  </a:ext>
                </a:extLst>
              </a:tr>
            </a:tbl>
          </a:graphicData>
        </a:graphic>
      </p:graphicFrame>
      <p:pic>
        <p:nvPicPr>
          <p:cNvPr id="6" name="그림 5">
            <a:extLst>
              <a:ext uri="{FF2B5EF4-FFF2-40B4-BE49-F238E27FC236}">
                <a16:creationId xmlns:a16="http://schemas.microsoft.com/office/drawing/2014/main" id="{3D2A49F3-73E9-9985-EA32-DF43EF5C873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3030" y="2638128"/>
            <a:ext cx="5223732" cy="3431076"/>
          </a:xfrm>
          <a:prstGeom prst="rect">
            <a:avLst/>
          </a:prstGeom>
        </p:spPr>
      </p:pic>
      <p:pic>
        <p:nvPicPr>
          <p:cNvPr id="9" name="그림 8">
            <a:extLst>
              <a:ext uri="{FF2B5EF4-FFF2-40B4-BE49-F238E27FC236}">
                <a16:creationId xmlns:a16="http://schemas.microsoft.com/office/drawing/2014/main" id="{B6A8D5B9-5FB6-AF5D-908C-B774B7EE7CA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16762" y="2670450"/>
            <a:ext cx="5223733" cy="1283576"/>
          </a:xfrm>
          <a:prstGeom prst="rect">
            <a:avLst/>
          </a:prstGeom>
        </p:spPr>
      </p:pic>
      <p:pic>
        <p:nvPicPr>
          <p:cNvPr id="11" name="그림 10">
            <a:extLst>
              <a:ext uri="{FF2B5EF4-FFF2-40B4-BE49-F238E27FC236}">
                <a16:creationId xmlns:a16="http://schemas.microsoft.com/office/drawing/2014/main" id="{A53DB4E6-7860-5AA7-DE55-AEC204F6A1F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16762" y="3986349"/>
            <a:ext cx="5223732" cy="20828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3093432"/>
      </p:ext>
    </p:extLst>
  </p:cSld>
  <p:clrMapOvr>
    <a:masterClrMapping/>
  </p:clrMapOvr>
  <p:transition advTm="1158"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355748-2E5A-FF43-B041-EDECD4D2DA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ctr"/>
          <a:lstStyle/>
          <a:p>
            <a:r>
              <a:rPr lang="en-US" altLang="ko-KR" sz="3650" b="1" dirty="0">
                <a:latin typeface="맑은 고딕"/>
                <a:ea typeface="맑은 고딕"/>
              </a:rPr>
              <a:t>Custom Property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0F85905A-5E01-8F50-E18C-9D227C507F1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95914" y="1463669"/>
            <a:ext cx="11243609" cy="1323439"/>
          </a:xfrm>
        </p:spPr>
        <p:txBody>
          <a:bodyPr vert="horz" wrap="square" lIns="146304" tIns="91440" rIns="146304" bIns="91440" rtlCol="0" anchor="t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ko-KR" sz="2000" dirty="0">
                <a:cs typeface="+mn-lt"/>
              </a:rPr>
              <a:t>Application Insights</a:t>
            </a:r>
            <a:r>
              <a:rPr lang="ko-KR" altLang="en-US" sz="2000" dirty="0">
                <a:cs typeface="+mn-lt"/>
              </a:rPr>
              <a:t>의 </a:t>
            </a:r>
            <a:r>
              <a:rPr lang="en-US" altLang="ko-KR" sz="2000" dirty="0">
                <a:cs typeface="+mn-lt"/>
              </a:rPr>
              <a:t>Logs </a:t>
            </a:r>
            <a:r>
              <a:rPr lang="ko-KR" altLang="en-US" sz="2000" dirty="0">
                <a:cs typeface="+mn-lt"/>
              </a:rPr>
              <a:t>메뉴를 통해 수집된 데이터 확인</a:t>
            </a:r>
            <a:r>
              <a:rPr lang="en-US" altLang="ko-KR" sz="2000" dirty="0">
                <a:cs typeface="+mn-lt"/>
              </a:rPr>
              <a:t>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ko-KR" altLang="en-US" sz="2000" dirty="0">
                <a:cs typeface="+mn-lt"/>
              </a:rPr>
              <a:t>다음은 </a:t>
            </a:r>
            <a:r>
              <a:rPr lang="en-US" altLang="ko-KR" sz="2000" dirty="0">
                <a:cs typeface="+mn-lt"/>
              </a:rPr>
              <a:t>App</a:t>
            </a:r>
            <a:r>
              <a:rPr lang="ko-KR" altLang="en-US" sz="2000" dirty="0">
                <a:cs typeface="+mn-lt"/>
              </a:rPr>
              <a:t>에서 </a:t>
            </a:r>
            <a:r>
              <a:rPr lang="en-US" altLang="ko-KR" sz="2000" dirty="0">
                <a:cs typeface="+mn-lt"/>
              </a:rPr>
              <a:t>Cookie</a:t>
            </a:r>
            <a:r>
              <a:rPr lang="ko-KR" altLang="en-US" sz="2000" dirty="0">
                <a:cs typeface="+mn-lt"/>
              </a:rPr>
              <a:t>를 키 값으로 수집한 경우 </a:t>
            </a:r>
            <a:r>
              <a:rPr lang="en-US" altLang="ko-KR" sz="2000" dirty="0">
                <a:cs typeface="+mn-lt"/>
              </a:rPr>
              <a:t>requests</a:t>
            </a:r>
            <a:r>
              <a:rPr lang="ko-KR" altLang="en-US" sz="2000" dirty="0">
                <a:cs typeface="+mn-lt"/>
              </a:rPr>
              <a:t>를 통해 쿠키 값을 확인</a:t>
            </a:r>
            <a:r>
              <a:rPr lang="en-US" altLang="ko-KR" sz="2000" dirty="0">
                <a:cs typeface="+mn-lt"/>
              </a:rPr>
              <a:t>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>
              <a:cs typeface="+mn-lt"/>
            </a:endParaRPr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3CE70F81-F5DE-E462-096A-C38162C4166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65609" y="2399380"/>
            <a:ext cx="9018396" cy="3463769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046528023"/>
      </p:ext>
    </p:extLst>
  </p:cSld>
  <p:clrMapOvr>
    <a:masterClrMapping/>
  </p:clrMapOvr>
  <p:transition advTm="1158"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01C4DE8-FED9-4360-822F-E4430EDF304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0" y="1165753"/>
            <a:ext cx="6156055" cy="2571563"/>
          </a:xfrm>
        </p:spPr>
        <p:txBody>
          <a:bodyPr/>
          <a:lstStyle/>
          <a:p>
            <a:r>
              <a:rPr lang="en-US" sz="3200" dirty="0"/>
              <a:t>Cost Saving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3ACEEC4-C091-4D2D-9C86-E2374B1BA1C8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953500" y="635635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FFF257A-30C5-4AFB-911B-BE4CEEA1EA82}" type="slidenum">
              <a:rPr lang="en-US" smtClean="0"/>
              <a:pPr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556897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355748-2E5A-FF43-B041-EDECD4D2DA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ctr"/>
          <a:lstStyle/>
          <a:p>
            <a:r>
              <a:rPr lang="en-US" altLang="ko-KR" sz="3650" b="1" dirty="0">
                <a:latin typeface="맑은 고딕"/>
                <a:ea typeface="맑은 고딕"/>
              </a:rPr>
              <a:t>Pricing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0F85905A-5E01-8F50-E18C-9D227C507F1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95914" y="1463669"/>
            <a:ext cx="11243609" cy="2585323"/>
          </a:xfrm>
        </p:spPr>
        <p:txBody>
          <a:bodyPr vert="horz" wrap="square" lIns="146304" tIns="91440" rIns="146304" bIns="91440" rtlCol="0" anchor="t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ko-KR" altLang="en-US" sz="2000" dirty="0">
                <a:cs typeface="+mn-lt"/>
              </a:rPr>
              <a:t>참고</a:t>
            </a:r>
            <a:r>
              <a:rPr lang="en-US" altLang="ko-KR" sz="2000" dirty="0">
                <a:cs typeface="+mn-lt"/>
              </a:rPr>
              <a:t>: </a:t>
            </a:r>
            <a:r>
              <a:rPr lang="en-US" sz="2000" dirty="0">
                <a:hlinkClick r:id="rId3"/>
              </a:rPr>
              <a:t>Pricing - Azure Monitor | Microsoft Azure</a:t>
            </a:r>
            <a:endParaRPr lang="en-US" altLang="ko-KR" sz="2000" dirty="0">
              <a:cs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ko-KR" sz="2000" dirty="0">
                <a:cs typeface="+mn-lt"/>
              </a:rPr>
              <a:t>Workspace </a:t>
            </a:r>
            <a:r>
              <a:rPr lang="ko-KR" altLang="en-US" sz="2000" dirty="0">
                <a:cs typeface="+mn-lt"/>
              </a:rPr>
              <a:t>기반의 </a:t>
            </a:r>
            <a:r>
              <a:rPr lang="en-US" altLang="ko-KR" sz="2000" dirty="0">
                <a:cs typeface="+mn-lt"/>
              </a:rPr>
              <a:t>App Insights</a:t>
            </a:r>
            <a:r>
              <a:rPr lang="ko-KR" altLang="en-US" sz="2000" dirty="0">
                <a:cs typeface="+mn-lt"/>
              </a:rPr>
              <a:t>에서 데이터는 분석 로그와 기본 로그의 두 가지 다른 유형의 로그로 수집될 수 있으며</a:t>
            </a:r>
            <a:r>
              <a:rPr lang="en-US" altLang="ko-KR" sz="2000" dirty="0">
                <a:cs typeface="+mn-lt"/>
              </a:rPr>
              <a:t>, </a:t>
            </a:r>
            <a:r>
              <a:rPr lang="ko-KR" altLang="en-US" sz="2000" dirty="0">
                <a:cs typeface="+mn-lt"/>
              </a:rPr>
              <a:t>데이터 수집</a:t>
            </a:r>
            <a:r>
              <a:rPr lang="en-US" altLang="ko-KR" sz="2000" dirty="0">
                <a:cs typeface="+mn-lt"/>
              </a:rPr>
              <a:t>(ingestion)</a:t>
            </a:r>
            <a:r>
              <a:rPr lang="ko-KR" altLang="en-US" sz="2000" dirty="0">
                <a:cs typeface="+mn-lt"/>
              </a:rPr>
              <a:t>에 따라 과금 발생</a:t>
            </a:r>
            <a:r>
              <a:rPr lang="en-US" altLang="ko-KR" sz="2000" dirty="0">
                <a:cs typeface="+mn-lt"/>
              </a:rPr>
              <a:t>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ko-KR" altLang="en-US" sz="2000" dirty="0">
                <a:cs typeface="+mn-lt"/>
              </a:rPr>
              <a:t>분석 로그는 최대 </a:t>
            </a:r>
            <a:r>
              <a:rPr lang="en-US" altLang="ko-KR" sz="2000" dirty="0">
                <a:cs typeface="+mn-lt"/>
              </a:rPr>
              <a:t>2</a:t>
            </a:r>
            <a:r>
              <a:rPr lang="ko-KR" altLang="en-US" sz="2000" dirty="0">
                <a:cs typeface="+mn-lt"/>
              </a:rPr>
              <a:t>년의 보존 옵션과 최대 </a:t>
            </a:r>
            <a:r>
              <a:rPr lang="en-US" altLang="ko-KR" sz="2000" dirty="0">
                <a:cs typeface="+mn-lt"/>
              </a:rPr>
              <a:t>7</a:t>
            </a:r>
            <a:r>
              <a:rPr lang="ko-KR" altLang="en-US" sz="2000" dirty="0">
                <a:cs typeface="+mn-lt"/>
              </a:rPr>
              <a:t>년의 데이터 아카이브를 통해 강력한 분석 쿼리에 데이터를 사용</a:t>
            </a:r>
            <a:r>
              <a:rPr lang="en-US" altLang="ko-KR" sz="2000" dirty="0">
                <a:cs typeface="+mn-lt"/>
              </a:rPr>
              <a:t>. </a:t>
            </a:r>
            <a:r>
              <a:rPr lang="ko-KR" altLang="en-US" sz="2000" dirty="0">
                <a:cs typeface="+mn-lt"/>
              </a:rPr>
              <a:t>종량제</a:t>
            </a:r>
            <a:r>
              <a:rPr lang="en-US" altLang="ko-KR" sz="2000" dirty="0">
                <a:cs typeface="+mn-lt"/>
              </a:rPr>
              <a:t>(pay as you go)</a:t>
            </a:r>
            <a:r>
              <a:rPr lang="ko-KR" altLang="en-US" sz="2000" dirty="0">
                <a:cs typeface="+mn-lt"/>
              </a:rPr>
              <a:t>와 약정</a:t>
            </a:r>
            <a:r>
              <a:rPr lang="en-US" altLang="ko-KR" sz="2000" dirty="0">
                <a:cs typeface="+mn-lt"/>
              </a:rPr>
              <a:t>(commitment)</a:t>
            </a:r>
            <a:r>
              <a:rPr lang="ko-KR" altLang="en-US" sz="2000" dirty="0">
                <a:cs typeface="+mn-lt"/>
              </a:rPr>
              <a:t>을 선택할 수 있으며 일</a:t>
            </a:r>
            <a:r>
              <a:rPr lang="en-US" altLang="ko-KR" sz="2000" dirty="0">
                <a:cs typeface="+mn-lt"/>
              </a:rPr>
              <a:t> </a:t>
            </a:r>
            <a:r>
              <a:rPr lang="ko-KR" altLang="en-US" sz="2000" dirty="0">
                <a:cs typeface="+mn-lt"/>
              </a:rPr>
              <a:t>수집량이 </a:t>
            </a:r>
            <a:r>
              <a:rPr lang="en-US" altLang="ko-KR" sz="2000" dirty="0">
                <a:cs typeface="+mn-lt"/>
              </a:rPr>
              <a:t>100GB </a:t>
            </a:r>
            <a:r>
              <a:rPr lang="ko-KR" altLang="en-US" sz="2000" dirty="0">
                <a:cs typeface="+mn-lt"/>
              </a:rPr>
              <a:t>이상이며</a:t>
            </a:r>
            <a:r>
              <a:rPr lang="en-US" altLang="ko-KR" sz="2000" dirty="0">
                <a:cs typeface="+mn-lt"/>
              </a:rPr>
              <a:t>, work-space </a:t>
            </a:r>
            <a:r>
              <a:rPr lang="ko-KR" altLang="en-US" sz="2000" dirty="0">
                <a:cs typeface="+mn-lt"/>
              </a:rPr>
              <a:t>기반의 </a:t>
            </a:r>
            <a:r>
              <a:rPr lang="en-US" altLang="ko-KR" sz="2000" dirty="0">
                <a:cs typeface="+mn-lt"/>
              </a:rPr>
              <a:t>App insight</a:t>
            </a:r>
            <a:r>
              <a:rPr lang="ko-KR" altLang="en-US" sz="2000" dirty="0">
                <a:cs typeface="+mn-lt"/>
              </a:rPr>
              <a:t>는 약정제를 통해 </a:t>
            </a:r>
            <a:r>
              <a:rPr lang="en-US" altLang="ko-KR" sz="2000" dirty="0">
                <a:cs typeface="+mn-lt"/>
              </a:rPr>
              <a:t>discount</a:t>
            </a:r>
            <a:r>
              <a:rPr lang="ko-KR" altLang="en-US" sz="2000" dirty="0">
                <a:cs typeface="+mn-lt"/>
              </a:rPr>
              <a:t>를 받을 수 있음</a:t>
            </a:r>
            <a:r>
              <a:rPr lang="en-US" altLang="ko-KR" sz="2000" dirty="0">
                <a:cs typeface="+mn-lt"/>
              </a:rPr>
              <a:t>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>
              <a:cs typeface="+mn-lt"/>
            </a:endParaRP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176F09C5-80CA-88C6-DA35-3F0CABAAD9A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01219" y="3764450"/>
            <a:ext cx="10738304" cy="2434795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273086672"/>
      </p:ext>
    </p:extLst>
  </p:cSld>
  <p:clrMapOvr>
    <a:masterClrMapping/>
  </p:clrMapOvr>
  <p:transition advTm="1158"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355748-2E5A-FF43-B041-EDECD4D2DA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ctr"/>
          <a:lstStyle/>
          <a:p>
            <a:r>
              <a:rPr lang="en-US" altLang="ko-KR" sz="3650" b="1" dirty="0">
                <a:latin typeface="맑은 고딕"/>
                <a:ea typeface="맑은 고딕"/>
              </a:rPr>
              <a:t>Pricing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0F85905A-5E01-8F50-E18C-9D227C507F1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95914" y="1463669"/>
            <a:ext cx="11243609" cy="3046988"/>
          </a:xfrm>
        </p:spPr>
        <p:txBody>
          <a:bodyPr vert="horz" wrap="square" lIns="146304" tIns="91440" rIns="146304" bIns="91440" rtlCol="0" anchor="t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ko-KR" altLang="en-US" sz="2000" dirty="0">
                <a:cs typeface="+mn-lt"/>
              </a:rPr>
              <a:t>인입된 데이터는 </a:t>
            </a:r>
            <a:r>
              <a:rPr lang="en-US" altLang="ko-KR" sz="2000" dirty="0">
                <a:cs typeface="+mn-lt"/>
              </a:rPr>
              <a:t>90</a:t>
            </a:r>
            <a:r>
              <a:rPr lang="ko-KR" altLang="en-US" sz="2000" dirty="0">
                <a:cs typeface="+mn-lt"/>
              </a:rPr>
              <a:t>일 동안 무료로 저장</a:t>
            </a:r>
            <a:r>
              <a:rPr lang="en-US" altLang="ko-KR" sz="2000" dirty="0">
                <a:cs typeface="+mn-lt"/>
              </a:rPr>
              <a:t>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>
              <a:cs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>
              <a:cs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>
              <a:cs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>
              <a:cs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>
              <a:cs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cs typeface="+mn-lt"/>
              </a:rPr>
              <a:t>Volume</a:t>
            </a:r>
            <a:r>
              <a:rPr lang="ko-KR" altLang="en-US" sz="2000" dirty="0">
                <a:cs typeface="+mn-lt"/>
              </a:rPr>
              <a:t>이 많은 테이블은 </a:t>
            </a:r>
            <a:r>
              <a:rPr lang="en-US" altLang="ko-KR" sz="2000" dirty="0">
                <a:cs typeface="+mn-lt"/>
              </a:rPr>
              <a:t>Basic Log </a:t>
            </a:r>
            <a:r>
              <a:rPr lang="ko-KR" altLang="en-US" sz="2000" dirty="0">
                <a:cs typeface="+mn-lt"/>
              </a:rPr>
              <a:t>형태로 변환</a:t>
            </a:r>
            <a:r>
              <a:rPr lang="en-US" altLang="ko-KR" sz="2000" dirty="0">
                <a:cs typeface="+mn-lt"/>
              </a:rPr>
              <a:t> </a:t>
            </a:r>
            <a:r>
              <a:rPr lang="ko-KR" altLang="en-US" sz="2000" dirty="0">
                <a:cs typeface="+mn-lt"/>
              </a:rPr>
              <a:t>가능하나 제한된 형태로 가능</a:t>
            </a:r>
            <a:r>
              <a:rPr lang="en-US" altLang="ko-KR" sz="2000" dirty="0">
                <a:cs typeface="+mn-lt"/>
              </a:rPr>
              <a:t>.</a:t>
            </a:r>
            <a:endParaRPr lang="en-US" sz="2000" dirty="0">
              <a:cs typeface="+mn-lt"/>
            </a:endParaRPr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4D6EFD0B-9376-0D78-3C47-3D3FFEB1227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00430" y="1855140"/>
            <a:ext cx="10507191" cy="1822925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4" name="그림 3">
            <a:extLst>
              <a:ext uri="{FF2B5EF4-FFF2-40B4-BE49-F238E27FC236}">
                <a16:creationId xmlns:a16="http://schemas.microsoft.com/office/drawing/2014/main" id="{59EE66C3-0335-2752-7A22-0DF7BC046CF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00430" y="4468074"/>
            <a:ext cx="8801164" cy="1504961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137888336"/>
      </p:ext>
    </p:extLst>
  </p:cSld>
  <p:clrMapOvr>
    <a:masterClrMapping/>
  </p:clrMapOvr>
  <p:transition advTm="1158"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355748-2E5A-FF43-B041-EDECD4D2DA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ctr"/>
          <a:lstStyle/>
          <a:p>
            <a:r>
              <a:rPr lang="en-US" altLang="ko-KR" sz="3650" b="1" dirty="0">
                <a:latin typeface="맑은 고딕"/>
                <a:ea typeface="맑은 고딕"/>
              </a:rPr>
              <a:t>Basic Log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0F85905A-5E01-8F50-E18C-9D227C507F1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95914" y="1463669"/>
            <a:ext cx="11243609" cy="5047536"/>
          </a:xfrm>
        </p:spPr>
        <p:txBody>
          <a:bodyPr vert="horz" wrap="square" lIns="146304" tIns="91440" rIns="146304" bIns="91440" rtlCol="0" anchor="t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ko-KR" altLang="en-US" sz="2000" dirty="0">
                <a:cs typeface="+mn-lt"/>
              </a:rPr>
              <a:t>참고</a:t>
            </a:r>
            <a:r>
              <a:rPr lang="en-US" altLang="ko-KR" sz="2000" dirty="0">
                <a:cs typeface="+mn-lt"/>
              </a:rPr>
              <a:t>: </a:t>
            </a:r>
            <a:r>
              <a:rPr lang="en-US" sz="2000" dirty="0">
                <a:hlinkClick r:id="rId3"/>
              </a:rPr>
              <a:t>Configure Basic Logs in Azure Monitor - Azure Monitor | Microsoft Learn</a:t>
            </a:r>
            <a:br>
              <a:rPr lang="en-US" sz="2000" dirty="0"/>
            </a:br>
            <a:r>
              <a:rPr lang="en-US" sz="2000" dirty="0">
                <a:hlinkClick r:id="rId4"/>
              </a:rPr>
              <a:t>Log Analytics workspace overview - Azure Monitor | Microsoft Learn</a:t>
            </a:r>
            <a:r>
              <a:rPr lang="en-US" altLang="ko-KR" sz="2000" dirty="0">
                <a:cs typeface="+mn-lt"/>
              </a:rPr>
              <a:t> </a:t>
            </a:r>
            <a:endParaRPr lang="en-US" sz="2000" dirty="0">
              <a:cs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ko-KR" altLang="en-US" sz="2000" dirty="0">
                <a:cs typeface="+mn-lt"/>
              </a:rPr>
              <a:t>디버깅 목적의 대용량 </a:t>
            </a:r>
            <a:r>
              <a:rPr lang="en-US" altLang="ko-KR" sz="2000" dirty="0">
                <a:cs typeface="+mn-lt"/>
              </a:rPr>
              <a:t>verbose</a:t>
            </a:r>
            <a:r>
              <a:rPr lang="ko-KR" altLang="en-US" sz="2000" dirty="0">
                <a:cs typeface="+mn-lt"/>
              </a:rPr>
              <a:t>에 대해 구성 가능</a:t>
            </a:r>
            <a:r>
              <a:rPr lang="en-US" altLang="ko-KR" sz="2000" dirty="0">
                <a:cs typeface="+mn-lt"/>
              </a:rPr>
              <a:t>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>
              <a:cs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>
              <a:cs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>
              <a:cs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>
              <a:cs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>
              <a:cs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ko-KR" altLang="en-US" sz="2000" dirty="0">
                <a:cs typeface="+mn-lt"/>
              </a:rPr>
              <a:t>기본 모든 테이블은 </a:t>
            </a:r>
            <a:r>
              <a:rPr lang="en-US" altLang="ko-KR" sz="2000" dirty="0">
                <a:cs typeface="+mn-lt"/>
              </a:rPr>
              <a:t>Analytics</a:t>
            </a:r>
            <a:r>
              <a:rPr lang="ko-KR" altLang="en-US" sz="2000" dirty="0">
                <a:cs typeface="+mn-lt"/>
              </a:rPr>
              <a:t>이며</a:t>
            </a:r>
            <a:r>
              <a:rPr lang="en-US" altLang="ko-KR" sz="2000" dirty="0">
                <a:cs typeface="+mn-lt"/>
              </a:rPr>
              <a:t>, </a:t>
            </a:r>
            <a:r>
              <a:rPr lang="ko-KR" altLang="en-US" sz="2000" dirty="0">
                <a:cs typeface="+mn-lt"/>
              </a:rPr>
              <a:t>다음 테이블에 한해 </a:t>
            </a:r>
            <a:r>
              <a:rPr lang="en-US" altLang="ko-KR" sz="2000" dirty="0">
                <a:cs typeface="+mn-lt"/>
              </a:rPr>
              <a:t>Basic Logs</a:t>
            </a:r>
            <a:r>
              <a:rPr lang="ko-KR" altLang="en-US" sz="2000" dirty="0">
                <a:cs typeface="+mn-lt"/>
              </a:rPr>
              <a:t>로 구성 가능</a:t>
            </a:r>
            <a:r>
              <a:rPr lang="en-US" altLang="ko-KR" sz="2000" dirty="0">
                <a:cs typeface="+mn-lt"/>
              </a:rPr>
              <a:t>.</a:t>
            </a:r>
            <a:endParaRPr lang="en-US" sz="2000" dirty="0">
              <a:cs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>
              <a:cs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>
              <a:cs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>
              <a:cs typeface="+mn-lt"/>
            </a:endParaRPr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C9D745FC-6E1C-D023-3092-CEFAE5597B7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12314" y="2567442"/>
            <a:ext cx="7036316" cy="1999316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9" name="그림 8">
            <a:extLst>
              <a:ext uri="{FF2B5EF4-FFF2-40B4-BE49-F238E27FC236}">
                <a16:creationId xmlns:a16="http://schemas.microsoft.com/office/drawing/2014/main" id="{19F2EF8F-1846-7200-B57B-A6077F2351E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48233" y="5156360"/>
            <a:ext cx="7224765" cy="1595449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092767999"/>
      </p:ext>
    </p:extLst>
  </p:cSld>
  <p:clrMapOvr>
    <a:masterClrMapping/>
  </p:clrMapOvr>
  <p:transition advTm="1158"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olidFill>
                  <a:schemeClr val="accent3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Table of Content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3AEF9BFD-FE95-4029-BBEB-74811694E89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4203" y="1212849"/>
            <a:ext cx="11667827" cy="4764381"/>
          </a:xfrm>
        </p:spPr>
        <p:txBody>
          <a:bodyPr vert="horz" wrap="square" lIns="146304" tIns="91440" rIns="146304" bIns="91440" rtlCol="0" anchor="t">
            <a:spAutoFit/>
          </a:bodyPr>
          <a:lstStyle/>
          <a:p>
            <a:r>
              <a:rPr lang="ko-KR" altLang="en-US" sz="3000" dirty="0">
                <a:latin typeface="Malgun Gothic" panose="020B0503020000020004" pitchFamily="34" charset="-127"/>
                <a:ea typeface="Malgun Gothic" panose="020B0503020000020004" pitchFamily="34" charset="-127"/>
                <a:cs typeface="Segoe UI"/>
              </a:rPr>
              <a:t>주요 기능</a:t>
            </a:r>
            <a:endParaRPr lang="en-US" altLang="ko-KR" sz="3000" dirty="0">
              <a:latin typeface="Malgun Gothic" panose="020B0503020000020004" pitchFamily="34" charset="-127"/>
              <a:ea typeface="Malgun Gothic" panose="020B0503020000020004" pitchFamily="34" charset="-127"/>
              <a:cs typeface="Segoe UI"/>
            </a:endParaRPr>
          </a:p>
          <a:p>
            <a:pPr lvl="1"/>
            <a:r>
              <a:rPr lang="en-US" altLang="ko-KR" sz="1800" dirty="0">
                <a:latin typeface="Malgun Gothic" panose="020B0503020000020004" pitchFamily="34" charset="-127"/>
                <a:ea typeface="Malgun Gothic" panose="020B0503020000020004" pitchFamily="34" charset="-127"/>
                <a:cs typeface="Segoe UI"/>
              </a:rPr>
              <a:t>Live Metrics</a:t>
            </a:r>
            <a:endParaRPr lang="en-US" sz="1800" dirty="0">
              <a:latin typeface="Malgun Gothic" panose="020B0503020000020004" pitchFamily="34" charset="-127"/>
              <a:ea typeface="Malgun Gothic" panose="020B0503020000020004" pitchFamily="34" charset="-127"/>
              <a:cs typeface="Segoe UI"/>
            </a:endParaRPr>
          </a:p>
          <a:p>
            <a:pPr lvl="1"/>
            <a:r>
              <a:rPr lang="en-US" sz="1800" dirty="0">
                <a:latin typeface="Malgun Gothic" panose="020B0503020000020004" pitchFamily="34" charset="-127"/>
                <a:ea typeface="Malgun Gothic" panose="020B0503020000020004" pitchFamily="34" charset="-127"/>
                <a:cs typeface="Segoe UI"/>
              </a:rPr>
              <a:t>Performance </a:t>
            </a:r>
          </a:p>
          <a:p>
            <a:pPr lvl="1"/>
            <a:r>
              <a:rPr lang="en-US" sz="1800" dirty="0">
                <a:latin typeface="Malgun Gothic" panose="020B0503020000020004" pitchFamily="34" charset="-127"/>
                <a:ea typeface="Malgun Gothic" panose="020B0503020000020004" pitchFamily="34" charset="-127"/>
                <a:cs typeface="Segoe UI"/>
              </a:rPr>
              <a:t>End to End Transaction</a:t>
            </a:r>
          </a:p>
          <a:p>
            <a:r>
              <a:rPr lang="en-US" altLang="ko-KR" sz="3000" dirty="0">
                <a:latin typeface="Malgun Gothic" panose="020B0503020000020004" pitchFamily="34" charset="-127"/>
                <a:ea typeface="Malgun Gothic" panose="020B0503020000020004" pitchFamily="34" charset="-127"/>
                <a:cs typeface="Segoe UI"/>
              </a:rPr>
              <a:t>Custom </a:t>
            </a:r>
            <a:r>
              <a:rPr lang="ko-KR" altLang="en-US" sz="3000" dirty="0">
                <a:latin typeface="Malgun Gothic" panose="020B0503020000020004" pitchFamily="34" charset="-127"/>
                <a:ea typeface="Malgun Gothic" panose="020B0503020000020004" pitchFamily="34" charset="-127"/>
                <a:cs typeface="Segoe UI"/>
              </a:rPr>
              <a:t>데이터 저장 및 조회</a:t>
            </a:r>
            <a:endParaRPr lang="en-US" altLang="ko-KR" sz="3000" dirty="0">
              <a:latin typeface="Malgun Gothic" panose="020B0503020000020004" pitchFamily="34" charset="-127"/>
              <a:ea typeface="Malgun Gothic" panose="020B0503020000020004" pitchFamily="34" charset="-127"/>
              <a:cs typeface="Segoe UI"/>
            </a:endParaRPr>
          </a:p>
          <a:p>
            <a:pPr lvl="1"/>
            <a:r>
              <a:rPr lang="ko-KR" altLang="en-US" sz="1800" dirty="0">
                <a:latin typeface="Malgun Gothic" panose="020B0503020000020004" pitchFamily="34" charset="-127"/>
                <a:ea typeface="Malgun Gothic" panose="020B0503020000020004" pitchFamily="34" charset="-127"/>
                <a:cs typeface="Segoe UI"/>
              </a:rPr>
              <a:t>개요</a:t>
            </a:r>
            <a:endParaRPr lang="en-US" altLang="ko-KR" sz="1800" dirty="0">
              <a:latin typeface="Malgun Gothic" panose="020B0503020000020004" pitchFamily="34" charset="-127"/>
              <a:ea typeface="Malgun Gothic" panose="020B0503020000020004" pitchFamily="34" charset="-127"/>
              <a:cs typeface="Segoe UI"/>
            </a:endParaRPr>
          </a:p>
          <a:p>
            <a:pPr lvl="1"/>
            <a:r>
              <a:rPr lang="en-US" altLang="ko-KR" sz="1800" dirty="0">
                <a:latin typeface="Malgun Gothic" panose="020B0503020000020004" pitchFamily="34" charset="-127"/>
                <a:ea typeface="Malgun Gothic" panose="020B0503020000020004" pitchFamily="34" charset="-127"/>
                <a:cs typeface="Segoe UI"/>
              </a:rPr>
              <a:t>Custom Property</a:t>
            </a:r>
          </a:p>
          <a:p>
            <a:r>
              <a:rPr lang="en-US" altLang="ko-KR" sz="3000" dirty="0">
                <a:latin typeface="Malgun Gothic" panose="020B0503020000020004" pitchFamily="34" charset="-127"/>
                <a:ea typeface="Malgun Gothic" panose="020B0503020000020004" pitchFamily="34" charset="-127"/>
                <a:cs typeface="Segoe UI"/>
              </a:rPr>
              <a:t>Cost Saving</a:t>
            </a:r>
          </a:p>
          <a:p>
            <a:endParaRPr lang="en-US" sz="600" dirty="0">
              <a:latin typeface="Malgun Gothic" panose="020B0503020000020004" pitchFamily="34" charset="-127"/>
              <a:ea typeface="Malgun Gothic" panose="020B0503020000020004" pitchFamily="34" charset="-127"/>
              <a:cs typeface="Segoe UI"/>
            </a:endParaRPr>
          </a:p>
          <a:p>
            <a:pPr lvl="1"/>
            <a:r>
              <a:rPr lang="en-US" altLang="ko-KR" sz="1800" dirty="0">
                <a:latin typeface="Malgun Gothic" panose="020B0503020000020004" pitchFamily="34" charset="-127"/>
                <a:ea typeface="Malgun Gothic" panose="020B0503020000020004" pitchFamily="34" charset="-127"/>
                <a:cs typeface="Segoe UI"/>
              </a:rPr>
              <a:t>Pricing</a:t>
            </a:r>
          </a:p>
          <a:p>
            <a:pPr lvl="1"/>
            <a:r>
              <a:rPr lang="en-US" altLang="ko-KR" sz="1800" dirty="0">
                <a:latin typeface="Malgun Gothic" panose="020B0503020000020004" pitchFamily="34" charset="-127"/>
                <a:ea typeface="Malgun Gothic" panose="020B0503020000020004" pitchFamily="34" charset="-127"/>
                <a:cs typeface="Segoe UI"/>
              </a:rPr>
              <a:t>Sampling</a:t>
            </a:r>
          </a:p>
          <a:p>
            <a:pPr lvl="1"/>
            <a:endParaRPr lang="en-US" sz="1800" dirty="0">
              <a:latin typeface="Malgun Gothic" panose="020B0503020000020004" pitchFamily="34" charset="-127"/>
              <a:ea typeface="Malgun Gothic" panose="020B0503020000020004" pitchFamily="34" charset="-127"/>
              <a:cs typeface="Segoe UI Light"/>
            </a:endParaRPr>
          </a:p>
          <a:p>
            <a:pPr marL="0" indent="0">
              <a:buNone/>
            </a:pPr>
            <a:endParaRPr lang="en-US" sz="1800" dirty="0">
              <a:latin typeface="Malgun Gothic" panose="020B0503020000020004" pitchFamily="34" charset="-127"/>
              <a:ea typeface="Malgun Gothic" panose="020B0503020000020004" pitchFamily="34" charset="-127"/>
              <a:cs typeface="Segoe UI Light"/>
            </a:endParaRPr>
          </a:p>
          <a:p>
            <a:pPr marL="0" indent="0">
              <a:buNone/>
            </a:pPr>
            <a:endParaRPr lang="en-US" sz="1800" dirty="0">
              <a:latin typeface="Malgun Gothic" panose="020B0503020000020004" pitchFamily="34" charset="-127"/>
              <a:ea typeface="Malgun Gothic" panose="020B0503020000020004" pitchFamily="34" charset="-127"/>
              <a:cs typeface="Segoe UI Light"/>
            </a:endParaRPr>
          </a:p>
        </p:txBody>
      </p:sp>
    </p:spTree>
    <p:extLst>
      <p:ext uri="{BB962C8B-B14F-4D97-AF65-F5344CB8AC3E}">
        <p14:creationId xmlns:p14="http://schemas.microsoft.com/office/powerpoint/2010/main" val="2125659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355748-2E5A-FF43-B041-EDECD4D2DA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ctr"/>
          <a:lstStyle/>
          <a:p>
            <a:r>
              <a:rPr lang="en-US" altLang="ko-KR" sz="3650" b="1" dirty="0">
                <a:latin typeface="맑은 고딕"/>
                <a:ea typeface="맑은 고딕"/>
              </a:rPr>
              <a:t>Basic Logs </a:t>
            </a:r>
            <a:r>
              <a:rPr lang="ko-KR" altLang="en-US" sz="3650" b="1" dirty="0">
                <a:latin typeface="맑은 고딕"/>
                <a:ea typeface="맑은 고딕"/>
              </a:rPr>
              <a:t>구성</a:t>
            </a:r>
            <a:endParaRPr lang="en-US" altLang="ko-KR" sz="3650" b="1" dirty="0">
              <a:latin typeface="맑은 고딕"/>
              <a:ea typeface="맑은 고딕"/>
            </a:endParaRP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0F85905A-5E01-8F50-E18C-9D227C507F1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95914" y="1463669"/>
            <a:ext cx="11243609" cy="3477875"/>
          </a:xfrm>
        </p:spPr>
        <p:txBody>
          <a:bodyPr vert="horz" wrap="square" lIns="146304" tIns="91440" rIns="146304" bIns="91440" rtlCol="0" anchor="t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ko-KR" altLang="en-US" sz="2000" dirty="0">
                <a:cs typeface="+mn-lt"/>
              </a:rPr>
              <a:t>주로 </a:t>
            </a:r>
            <a:r>
              <a:rPr lang="en-US" altLang="ko-KR" sz="2000" dirty="0">
                <a:cs typeface="+mn-lt"/>
              </a:rPr>
              <a:t>container</a:t>
            </a:r>
            <a:r>
              <a:rPr lang="ko-KR" altLang="en-US" sz="2000" dirty="0">
                <a:cs typeface="+mn-lt"/>
              </a:rPr>
              <a:t>와 관련된 테이블로 아래와 같이 </a:t>
            </a:r>
            <a:r>
              <a:rPr lang="en-US" altLang="ko-KR" sz="2000" dirty="0">
                <a:cs typeface="+mn-lt"/>
              </a:rPr>
              <a:t>workspace </a:t>
            </a:r>
            <a:r>
              <a:rPr lang="ko-KR" altLang="en-US" sz="2000" dirty="0">
                <a:cs typeface="+mn-lt"/>
              </a:rPr>
              <a:t>접속 후 구성 가능</a:t>
            </a:r>
            <a:r>
              <a:rPr lang="en-US" altLang="ko-KR" sz="2000" dirty="0">
                <a:cs typeface="+mn-lt"/>
              </a:rPr>
              <a:t>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>
              <a:cs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>
              <a:cs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>
              <a:cs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>
              <a:cs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>
              <a:cs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>
              <a:cs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>
              <a:cs typeface="+mn-lt"/>
            </a:endParaRP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8CACF335-9F96-1EA0-DCB3-B601966276B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00295" y="1867831"/>
            <a:ext cx="6430946" cy="2441856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8" name="그림 7">
            <a:extLst>
              <a:ext uri="{FF2B5EF4-FFF2-40B4-BE49-F238E27FC236}">
                <a16:creationId xmlns:a16="http://schemas.microsoft.com/office/drawing/2014/main" id="{5FD53CDF-2E10-D900-38A5-02526F58814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00295" y="4479545"/>
            <a:ext cx="3406090" cy="2102621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032239944"/>
      </p:ext>
    </p:extLst>
  </p:cSld>
  <p:clrMapOvr>
    <a:masterClrMapping/>
  </p:clrMapOvr>
  <p:transition advTm="1158"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355748-2E5A-FF43-B041-EDECD4D2DA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ctr"/>
          <a:lstStyle/>
          <a:p>
            <a:r>
              <a:rPr lang="en-US" altLang="ko-KR" sz="3650" b="1" dirty="0">
                <a:latin typeface="맑은 고딕"/>
                <a:ea typeface="맑은 고딕"/>
              </a:rPr>
              <a:t>Retention </a:t>
            </a:r>
            <a:r>
              <a:rPr lang="ko-KR" altLang="en-US" sz="3650" b="1" dirty="0">
                <a:latin typeface="맑은 고딕"/>
                <a:ea typeface="맑은 고딕"/>
              </a:rPr>
              <a:t>주기 설정</a:t>
            </a:r>
            <a:r>
              <a:rPr lang="en-US" altLang="ko-KR" sz="3650" b="1" dirty="0">
                <a:latin typeface="맑은 고딕"/>
                <a:ea typeface="맑은 고딕"/>
              </a:rPr>
              <a:t>.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0F85905A-5E01-8F50-E18C-9D227C507F1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95914" y="1463669"/>
            <a:ext cx="11243609" cy="4339650"/>
          </a:xfrm>
        </p:spPr>
        <p:txBody>
          <a:bodyPr vert="horz" wrap="square" lIns="146304" tIns="91440" rIns="146304" bIns="91440" rtlCol="0" anchor="t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ko-KR" sz="2000" dirty="0">
                <a:cs typeface="+mn-lt"/>
              </a:rPr>
              <a:t>App insights &gt; Overview</a:t>
            </a:r>
            <a:r>
              <a:rPr lang="ko-KR" altLang="en-US" sz="2000" dirty="0">
                <a:cs typeface="+mn-lt"/>
              </a:rPr>
              <a:t>에서 </a:t>
            </a:r>
            <a:r>
              <a:rPr lang="en-US" altLang="ko-KR" sz="2000" dirty="0">
                <a:cs typeface="+mn-lt"/>
              </a:rPr>
              <a:t>workspace link </a:t>
            </a:r>
            <a:r>
              <a:rPr lang="ko-KR" altLang="en-US" sz="2000" dirty="0">
                <a:cs typeface="+mn-lt"/>
              </a:rPr>
              <a:t>클릭</a:t>
            </a:r>
            <a:r>
              <a:rPr lang="en-US" altLang="ko-KR" sz="2000" dirty="0">
                <a:cs typeface="+mn-lt"/>
              </a:rPr>
              <a:t>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ko-KR" sz="2000" dirty="0">
              <a:cs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ko-KR" sz="2000" dirty="0">
              <a:cs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ko-KR" sz="2000" dirty="0">
              <a:cs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ko-KR" sz="2000" dirty="0">
              <a:cs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ko-KR" sz="2000" dirty="0">
                <a:cs typeface="+mn-lt"/>
              </a:rPr>
              <a:t>Usage &amp;</a:t>
            </a:r>
            <a:r>
              <a:rPr lang="ko-KR" altLang="en-US" sz="2000" dirty="0">
                <a:cs typeface="+mn-lt"/>
              </a:rPr>
              <a:t> </a:t>
            </a:r>
            <a:r>
              <a:rPr lang="en-US" altLang="ko-KR" sz="2000" dirty="0">
                <a:cs typeface="+mn-lt"/>
              </a:rPr>
              <a:t>estimated</a:t>
            </a:r>
            <a:r>
              <a:rPr lang="ko-KR" altLang="en-US" sz="2000" dirty="0">
                <a:cs typeface="+mn-lt"/>
              </a:rPr>
              <a:t> </a:t>
            </a:r>
            <a:r>
              <a:rPr lang="en-US" altLang="ko-KR" sz="2000" dirty="0">
                <a:cs typeface="+mn-lt"/>
              </a:rPr>
              <a:t>costs</a:t>
            </a:r>
            <a:r>
              <a:rPr lang="ko-KR" altLang="en-US" sz="2000" dirty="0">
                <a:cs typeface="+mn-lt"/>
              </a:rPr>
              <a:t> 메뉴로 이동 후 </a:t>
            </a:r>
            <a:r>
              <a:rPr lang="en-US" altLang="ko-KR" sz="2000" dirty="0">
                <a:cs typeface="+mn-lt"/>
              </a:rPr>
              <a:t>Data Retention </a:t>
            </a:r>
            <a:r>
              <a:rPr lang="ko-KR" altLang="en-US" sz="2000" dirty="0">
                <a:cs typeface="+mn-lt"/>
              </a:rPr>
              <a:t>메뉴에서 저장 일자 확인 및 구성</a:t>
            </a:r>
            <a:endParaRPr lang="en-US" sz="2000" dirty="0">
              <a:cs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>
              <a:cs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>
              <a:cs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>
              <a:cs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>
              <a:cs typeface="+mn-lt"/>
            </a:endParaRPr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281EBD7C-08C7-EABD-C2D0-FA6AFB0B79F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5411" y="1878170"/>
            <a:ext cx="7274866" cy="1406825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9" name="그림 8">
            <a:extLst>
              <a:ext uri="{FF2B5EF4-FFF2-40B4-BE49-F238E27FC236}">
                <a16:creationId xmlns:a16="http://schemas.microsoft.com/office/drawing/2014/main" id="{A4148AF7-DE30-645C-115F-7EC43984F9A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95411" y="4060290"/>
            <a:ext cx="7477613" cy="2467934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981133471"/>
      </p:ext>
    </p:extLst>
  </p:cSld>
  <p:clrMapOvr>
    <a:masterClrMapping/>
  </p:clrMapOvr>
  <p:transition advTm="1158"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355748-2E5A-FF43-B041-EDECD4D2DA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ctr"/>
          <a:lstStyle/>
          <a:p>
            <a:r>
              <a:rPr lang="en-US" altLang="ko-KR" sz="3650" b="1" dirty="0">
                <a:latin typeface="맑은 고딕"/>
                <a:ea typeface="맑은 고딕"/>
              </a:rPr>
              <a:t>Daily Cap </a:t>
            </a:r>
            <a:r>
              <a:rPr lang="ko-KR" altLang="en-US" sz="3650" b="1" dirty="0">
                <a:latin typeface="맑은 고딕"/>
                <a:ea typeface="맑은 고딕"/>
              </a:rPr>
              <a:t>설정</a:t>
            </a:r>
            <a:endParaRPr lang="en-US" altLang="ko-KR" sz="3650" b="1" dirty="0">
              <a:latin typeface="맑은 고딕"/>
              <a:ea typeface="맑은 고딕"/>
            </a:endParaRP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0F85905A-5E01-8F50-E18C-9D227C507F1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95914" y="1463669"/>
            <a:ext cx="11243609" cy="4462760"/>
          </a:xfrm>
        </p:spPr>
        <p:txBody>
          <a:bodyPr vert="horz" wrap="square" lIns="146304" tIns="91440" rIns="146304" bIns="91440" rtlCol="0" anchor="t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ko-KR" sz="2000" dirty="0">
                <a:cs typeface="+mn-lt"/>
              </a:rPr>
              <a:t>Daily Cap </a:t>
            </a:r>
            <a:r>
              <a:rPr lang="ko-KR" altLang="en-US" sz="2000" dirty="0">
                <a:cs typeface="+mn-lt"/>
              </a:rPr>
              <a:t>메뉴에서 설정할 수 있으며</a:t>
            </a:r>
            <a:r>
              <a:rPr lang="en-US" altLang="ko-KR" sz="2000" dirty="0">
                <a:cs typeface="+mn-lt"/>
              </a:rPr>
              <a:t>, </a:t>
            </a:r>
            <a:r>
              <a:rPr lang="ko-KR" altLang="en-US" sz="2000" dirty="0">
                <a:cs typeface="+mn-lt"/>
              </a:rPr>
              <a:t>서비스</a:t>
            </a:r>
            <a:r>
              <a:rPr lang="en-US" altLang="ko-KR" sz="2000" dirty="0">
                <a:cs typeface="+mn-lt"/>
              </a:rPr>
              <a:t> </a:t>
            </a:r>
            <a:r>
              <a:rPr lang="ko-KR" altLang="en-US" sz="2000" dirty="0">
                <a:cs typeface="+mn-lt"/>
              </a:rPr>
              <a:t>수준에서 특정 크기 이상의 데이터를 초과할 경우</a:t>
            </a:r>
            <a:r>
              <a:rPr lang="en-US" altLang="ko-KR" sz="2000" dirty="0">
                <a:cs typeface="+mn-lt"/>
              </a:rPr>
              <a:t>, </a:t>
            </a:r>
            <a:r>
              <a:rPr lang="ko-KR" altLang="en-US" sz="2000" dirty="0">
                <a:cs typeface="+mn-lt"/>
              </a:rPr>
              <a:t>수집을 중지하는 구성</a:t>
            </a:r>
            <a:r>
              <a:rPr lang="en-US" altLang="ko-KR" sz="2000" dirty="0">
                <a:cs typeface="+mn-lt"/>
              </a:rPr>
              <a:t>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ko-KR" sz="2000" dirty="0">
                <a:cs typeface="+mn-lt"/>
              </a:rPr>
              <a:t>Log Analytics</a:t>
            </a:r>
            <a:r>
              <a:rPr lang="ko-KR" altLang="en-US" sz="2000" dirty="0">
                <a:cs typeface="+mn-lt"/>
              </a:rPr>
              <a:t>의 </a:t>
            </a:r>
            <a:r>
              <a:rPr lang="en-US" altLang="ko-KR" sz="2000" dirty="0">
                <a:cs typeface="+mn-lt"/>
              </a:rPr>
              <a:t>custom </a:t>
            </a:r>
            <a:r>
              <a:rPr lang="ko-KR" altLang="en-US" sz="2000" dirty="0">
                <a:cs typeface="+mn-lt"/>
              </a:rPr>
              <a:t>쿼리 작성을 통해 데이터 수집이 중지되면 </a:t>
            </a:r>
            <a:r>
              <a:rPr lang="en-US" altLang="ko-KR" sz="2000" dirty="0">
                <a:cs typeface="+mn-lt"/>
              </a:rPr>
              <a:t>Alert</a:t>
            </a:r>
            <a:r>
              <a:rPr lang="ko-KR" altLang="en-US" sz="2000" dirty="0">
                <a:cs typeface="+mn-lt"/>
              </a:rPr>
              <a:t>을 생성하도록 구성 가능</a:t>
            </a:r>
            <a:r>
              <a:rPr lang="en-US" altLang="ko-KR" sz="2000" dirty="0">
                <a:cs typeface="+mn-lt"/>
              </a:rPr>
              <a:t>. </a:t>
            </a:r>
            <a:r>
              <a:rPr lang="ko-KR" altLang="en-US" sz="2000" dirty="0">
                <a:cs typeface="+mn-lt"/>
              </a:rPr>
              <a:t>참고</a:t>
            </a:r>
            <a:r>
              <a:rPr lang="en-US" altLang="ko-KR" sz="2000" dirty="0">
                <a:cs typeface="+mn-lt"/>
              </a:rPr>
              <a:t>: </a:t>
            </a:r>
            <a:r>
              <a:rPr lang="en-US" sz="2000" dirty="0">
                <a:hlinkClick r:id="rId3"/>
              </a:rPr>
              <a:t>Set daily cap on Log Analytics workspace - Azure Monitor | Microsoft Learn</a:t>
            </a:r>
            <a:endParaRPr lang="en-US" altLang="ko-KR" sz="2000" dirty="0">
              <a:cs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ko-KR" sz="2000" dirty="0">
              <a:cs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ko-KR" sz="2000" dirty="0">
              <a:cs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ko-KR" sz="2000" dirty="0">
              <a:cs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ko-KR" sz="2000" dirty="0">
              <a:cs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>
              <a:cs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>
              <a:cs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>
              <a:cs typeface="+mn-lt"/>
            </a:endParaRP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736CF8C9-56C2-7848-C9F6-8A7CCDCEDD7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94175" y="2996136"/>
            <a:ext cx="3150167" cy="3698666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8" name="그림 7">
            <a:extLst>
              <a:ext uri="{FF2B5EF4-FFF2-40B4-BE49-F238E27FC236}">
                <a16:creationId xmlns:a16="http://schemas.microsoft.com/office/drawing/2014/main" id="{239A1402-9CF9-D2A5-AB84-7BE2FA79EDC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34137" y="2996136"/>
            <a:ext cx="7348591" cy="2338405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454462470"/>
      </p:ext>
    </p:extLst>
  </p:cSld>
  <p:clrMapOvr>
    <a:masterClrMapping/>
  </p:clrMapOvr>
  <p:transition advTm="1158"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355748-2E5A-FF43-B041-EDECD4D2DA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ctr"/>
          <a:lstStyle/>
          <a:p>
            <a:r>
              <a:rPr lang="en-US" altLang="ko-KR" sz="3650" b="1" dirty="0">
                <a:latin typeface="맑은 고딕"/>
                <a:ea typeface="맑은 고딕"/>
              </a:rPr>
              <a:t>Sampling</a:t>
            </a:r>
            <a:r>
              <a:rPr lang="ko-KR" altLang="en-US" sz="3650" b="1" dirty="0">
                <a:latin typeface="맑은 고딕"/>
                <a:ea typeface="맑은 고딕"/>
              </a:rPr>
              <a:t> </a:t>
            </a:r>
            <a:endParaRPr lang="en-US" altLang="ko-KR" sz="3650" b="1" dirty="0">
              <a:latin typeface="맑은 고딕"/>
              <a:ea typeface="맑은 고딕"/>
            </a:endParaRP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0F85905A-5E01-8F50-E18C-9D227C507F1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95914" y="1463669"/>
            <a:ext cx="11243609" cy="3046988"/>
          </a:xfrm>
        </p:spPr>
        <p:txBody>
          <a:bodyPr vert="horz" wrap="square" lIns="146304" tIns="91440" rIns="146304" bIns="91440" rtlCol="0" anchor="t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ko-KR" altLang="en-US" sz="2000" dirty="0">
                <a:cs typeface="+mn-lt"/>
              </a:rPr>
              <a:t>참고</a:t>
            </a:r>
            <a:r>
              <a:rPr lang="en-US" altLang="ko-KR" sz="2000" dirty="0">
                <a:cs typeface="+mn-lt"/>
              </a:rPr>
              <a:t>: </a:t>
            </a:r>
            <a:r>
              <a:rPr lang="en-US" sz="2000" dirty="0">
                <a:hlinkClick r:id="rId3"/>
              </a:rPr>
              <a:t>Telemetry sampling in Azure Application Insights - Azure Monitor | Microsoft Learn</a:t>
            </a:r>
            <a:endParaRPr lang="en-US" altLang="ko-KR" sz="2000" dirty="0">
              <a:cs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ko-KR" sz="2000" dirty="0">
              <a:cs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ko-KR" sz="2000" dirty="0">
              <a:cs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ko-KR" sz="2000" dirty="0">
              <a:cs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>
              <a:cs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>
              <a:cs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>
              <a:cs typeface="+mn-lt"/>
            </a:endParaRPr>
          </a:p>
        </p:txBody>
      </p:sp>
      <p:graphicFrame>
        <p:nvGraphicFramePr>
          <p:cNvPr id="3" name="표 5">
            <a:extLst>
              <a:ext uri="{FF2B5EF4-FFF2-40B4-BE49-F238E27FC236}">
                <a16:creationId xmlns:a16="http://schemas.microsoft.com/office/drawing/2014/main" id="{FA3B866D-3F93-DB0A-EC3C-1F50ACE66A7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18287093"/>
              </p:ext>
            </p:extLst>
          </p:nvPr>
        </p:nvGraphicFramePr>
        <p:xfrm>
          <a:off x="942525" y="1909258"/>
          <a:ext cx="11058266" cy="2296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82216">
                  <a:extLst>
                    <a:ext uri="{9D8B030D-6E8A-4147-A177-3AD203B41FA5}">
                      <a16:colId xmlns:a16="http://schemas.microsoft.com/office/drawing/2014/main" val="3040407462"/>
                    </a:ext>
                  </a:extLst>
                </a:gridCol>
                <a:gridCol w="8576050">
                  <a:extLst>
                    <a:ext uri="{9D8B030D-6E8A-4147-A177-3AD203B41FA5}">
                      <a16:colId xmlns:a16="http://schemas.microsoft.com/office/drawing/2014/main" val="79836493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ko-KR" altLang="en-US" dirty="0"/>
                        <a:t>종류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dirty="0"/>
                        <a:t>설명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6550063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Ingestion sampl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ko-KR" altLang="en-US" dirty="0"/>
                        <a:t>다른 유형의 </a:t>
                      </a:r>
                      <a:r>
                        <a:rPr lang="en-US" altLang="ko-KR" dirty="0"/>
                        <a:t>sampling </a:t>
                      </a:r>
                      <a:r>
                        <a:rPr lang="ko-KR" altLang="en-US" dirty="0"/>
                        <a:t>사용 시 적용되지 않음</a:t>
                      </a:r>
                      <a:r>
                        <a:rPr lang="en-US" altLang="ko-KR" dirty="0"/>
                        <a:t>. (ex – SDK</a:t>
                      </a:r>
                      <a:r>
                        <a:rPr lang="ko-KR" altLang="en-US" dirty="0"/>
                        <a:t> 추가 시 </a:t>
                      </a:r>
                      <a:r>
                        <a:rPr lang="en-US" altLang="ko-KR" dirty="0"/>
                        <a:t>app</a:t>
                      </a:r>
                      <a:r>
                        <a:rPr lang="ko-KR" altLang="en-US" dirty="0"/>
                        <a:t>은 기본 </a:t>
                      </a:r>
                      <a:r>
                        <a:rPr lang="en-US" altLang="ko-KR" dirty="0"/>
                        <a:t>Adaptive Sampling</a:t>
                      </a:r>
                      <a:r>
                        <a:rPr lang="ko-KR" altLang="en-US" dirty="0"/>
                        <a:t>으로 동작</a:t>
                      </a:r>
                      <a:r>
                        <a:rPr lang="en-US" altLang="ko-KR" dirty="0"/>
                        <a:t>) App</a:t>
                      </a:r>
                      <a:r>
                        <a:rPr lang="ko-KR" altLang="en-US" dirty="0"/>
                        <a:t>의 </a:t>
                      </a:r>
                      <a:r>
                        <a:rPr lang="ko-KR" altLang="en-US" dirty="0" err="1"/>
                        <a:t>재배포</a:t>
                      </a:r>
                      <a:r>
                        <a:rPr lang="ko-KR" altLang="en-US" dirty="0"/>
                        <a:t> 없이</a:t>
                      </a:r>
                      <a:r>
                        <a:rPr lang="en-US" altLang="ko-KR" dirty="0"/>
                        <a:t>, App insight</a:t>
                      </a:r>
                      <a:r>
                        <a:rPr lang="ko-KR" altLang="en-US" dirty="0"/>
                        <a:t>의 </a:t>
                      </a:r>
                      <a:r>
                        <a:rPr lang="en-US" altLang="ko-KR" dirty="0"/>
                        <a:t>endpoint </a:t>
                      </a:r>
                      <a:r>
                        <a:rPr lang="ko-KR" altLang="en-US" dirty="0"/>
                        <a:t>수준에서 </a:t>
                      </a:r>
                      <a:r>
                        <a:rPr lang="en-US" altLang="ko-KR" dirty="0"/>
                        <a:t>telemetry </a:t>
                      </a:r>
                      <a:r>
                        <a:rPr lang="ko-KR" altLang="en-US" dirty="0"/>
                        <a:t>데이터의 일부를 버림</a:t>
                      </a:r>
                      <a:r>
                        <a:rPr lang="en-US" altLang="ko-KR" dirty="0"/>
                        <a:t>. </a:t>
                      </a:r>
                      <a:r>
                        <a:rPr lang="ko-KR" altLang="en-US" dirty="0"/>
                        <a:t>포탈에서 설정</a:t>
                      </a:r>
                      <a:r>
                        <a:rPr lang="en-US" altLang="ko-KR" dirty="0"/>
                        <a:t> </a:t>
                      </a:r>
                      <a:r>
                        <a:rPr lang="ko-KR" altLang="en-US" dirty="0"/>
                        <a:t>가능</a:t>
                      </a:r>
                      <a:r>
                        <a:rPr lang="en-US" altLang="ko-KR" dirty="0"/>
                        <a:t>.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674317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Fixed Rate sampl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dirty="0"/>
                        <a:t>Client(asp.net, java, </a:t>
                      </a:r>
                      <a:r>
                        <a:rPr lang="ko-KR" altLang="en-US" dirty="0"/>
                        <a:t>브라우저</a:t>
                      </a:r>
                      <a:r>
                        <a:rPr lang="en-US" altLang="ko-KR" dirty="0"/>
                        <a:t>)</a:t>
                      </a:r>
                      <a:r>
                        <a:rPr lang="en-US" dirty="0"/>
                        <a:t> </a:t>
                      </a:r>
                      <a:r>
                        <a:rPr lang="ko-KR" altLang="en-US" dirty="0"/>
                        <a:t>쪽에서 적용되어 일부의 데이터만 </a:t>
                      </a:r>
                      <a:r>
                        <a:rPr lang="en-US" altLang="ko-KR" dirty="0"/>
                        <a:t>App insights</a:t>
                      </a:r>
                      <a:r>
                        <a:rPr lang="ko-KR" altLang="en-US" dirty="0"/>
                        <a:t>에 전달</a:t>
                      </a:r>
                      <a:r>
                        <a:rPr lang="en-US" altLang="ko-KR" dirty="0"/>
                        <a:t>. </a:t>
                      </a:r>
                      <a:r>
                        <a:rPr lang="ko-KR" altLang="en-US" dirty="0"/>
                        <a:t>샘플링 비율을 코드에서 명시할 수 있음</a:t>
                      </a:r>
                      <a:r>
                        <a:rPr lang="en-US" altLang="ko-KR" dirty="0"/>
                        <a:t>.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2690283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daptive sampl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ko-KR" altLang="en-US" dirty="0"/>
                        <a:t>기본 설정이며 </a:t>
                      </a:r>
                      <a:r>
                        <a:rPr lang="en-US" altLang="ko-KR" dirty="0"/>
                        <a:t>SDK</a:t>
                      </a:r>
                      <a:r>
                        <a:rPr lang="ko-KR" altLang="en-US" dirty="0"/>
                        <a:t>에서 </a:t>
                      </a:r>
                      <a:r>
                        <a:rPr lang="en-US" altLang="ko-KR" dirty="0"/>
                        <a:t>App insight</a:t>
                      </a:r>
                      <a:r>
                        <a:rPr lang="ko-KR" altLang="en-US" dirty="0"/>
                        <a:t>로 전달되는 데이터를 자동으로 조정</a:t>
                      </a:r>
                      <a:r>
                        <a:rPr lang="en-US" altLang="ko-KR" dirty="0"/>
                        <a:t>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99562053"/>
                  </a:ext>
                </a:extLst>
              </a:tr>
            </a:tbl>
          </a:graphicData>
        </a:graphic>
      </p:graphicFrame>
      <p:pic>
        <p:nvPicPr>
          <p:cNvPr id="7" name="그림 6">
            <a:extLst>
              <a:ext uri="{FF2B5EF4-FFF2-40B4-BE49-F238E27FC236}">
                <a16:creationId xmlns:a16="http://schemas.microsoft.com/office/drawing/2014/main" id="{E0004F46-4A41-3C22-E86D-172C02EE5B5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42525" y="4268875"/>
            <a:ext cx="4396208" cy="2626193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227A37A6-944B-9ED5-8625-526699491027}"/>
              </a:ext>
            </a:extLst>
          </p:cNvPr>
          <p:cNvSpPr txBox="1"/>
          <p:nvPr/>
        </p:nvSpPr>
        <p:spPr>
          <a:xfrm>
            <a:off x="5685344" y="4651007"/>
            <a:ext cx="6451754" cy="6278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Application </a:t>
            </a:r>
            <a:r>
              <a:rPr lang="ko-KR" altLang="en-US" sz="2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유형 별 지원되는 </a:t>
            </a:r>
            <a:r>
              <a:rPr lang="en-US" altLang="ko-KR" sz="2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sampling </a:t>
            </a:r>
            <a:r>
              <a:rPr lang="ko-KR" altLang="en-US" sz="2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종류</a:t>
            </a:r>
            <a:endParaRPr lang="en-US" sz="2400" dirty="0" err="1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cxnSp>
        <p:nvCxnSpPr>
          <p:cNvPr id="11" name="직선 화살표 연결선 10">
            <a:extLst>
              <a:ext uri="{FF2B5EF4-FFF2-40B4-BE49-F238E27FC236}">
                <a16:creationId xmlns:a16="http://schemas.microsoft.com/office/drawing/2014/main" id="{AE545569-1FD5-4D8F-1858-3E2879EA0261}"/>
              </a:ext>
            </a:extLst>
          </p:cNvPr>
          <p:cNvCxnSpPr/>
          <p:nvPr/>
        </p:nvCxnSpPr>
        <p:spPr>
          <a:xfrm flipH="1">
            <a:off x="5446206" y="5004080"/>
            <a:ext cx="361741" cy="0"/>
          </a:xfrm>
          <a:prstGeom prst="straightConnector1">
            <a:avLst/>
          </a:prstGeom>
          <a:ln>
            <a:solidFill>
              <a:srgbClr val="FF0000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47500090"/>
      </p:ext>
    </p:extLst>
  </p:cSld>
  <p:clrMapOvr>
    <a:masterClrMapping/>
  </p:clrMapOvr>
  <p:transition advTm="1158"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355748-2E5A-FF43-B041-EDECD4D2DA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ctr"/>
          <a:lstStyle/>
          <a:p>
            <a:r>
              <a:rPr lang="en-US" altLang="ko-KR" sz="3650" b="1" dirty="0">
                <a:latin typeface="맑은 고딕"/>
                <a:ea typeface="맑은 고딕"/>
              </a:rPr>
              <a:t>Ingestion</a:t>
            </a:r>
            <a:r>
              <a:rPr lang="ko-KR" altLang="en-US" sz="3650" b="1" dirty="0">
                <a:latin typeface="맑은 고딕"/>
                <a:ea typeface="맑은 고딕"/>
              </a:rPr>
              <a:t> </a:t>
            </a:r>
            <a:r>
              <a:rPr lang="en-US" altLang="ko-KR" sz="3650" b="1" dirty="0">
                <a:latin typeface="맑은 고딕"/>
                <a:ea typeface="맑은 고딕"/>
              </a:rPr>
              <a:t>Sampling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0F85905A-5E01-8F50-E18C-9D227C507F1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95914" y="1463669"/>
            <a:ext cx="11243609" cy="3754874"/>
          </a:xfrm>
        </p:spPr>
        <p:txBody>
          <a:bodyPr vert="horz" wrap="square" lIns="146304" tIns="91440" rIns="146304" bIns="91440" rtlCol="0" anchor="t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ko-KR" sz="2000" dirty="0">
                <a:cs typeface="+mn-lt"/>
              </a:rPr>
              <a:t>App</a:t>
            </a:r>
            <a:r>
              <a:rPr lang="ko-KR" altLang="en-US" sz="2000" dirty="0">
                <a:cs typeface="+mn-lt"/>
              </a:rPr>
              <a:t>에서 전송되는 트래픽을 줄이지는 않지만 </a:t>
            </a:r>
            <a:r>
              <a:rPr lang="en-US" altLang="ko-KR" sz="2000" dirty="0">
                <a:cs typeface="+mn-lt"/>
              </a:rPr>
              <a:t>Application Insights</a:t>
            </a:r>
            <a:r>
              <a:rPr lang="ko-KR" altLang="en-US" sz="2000" dirty="0">
                <a:cs typeface="+mn-lt"/>
              </a:rPr>
              <a:t>에서 처리 및 유지</a:t>
            </a:r>
            <a:r>
              <a:rPr lang="en-US" altLang="ko-KR" sz="2000" dirty="0">
                <a:cs typeface="+mn-lt"/>
              </a:rPr>
              <a:t>(</a:t>
            </a:r>
            <a:r>
              <a:rPr lang="ko-KR" altLang="en-US" sz="2000" dirty="0">
                <a:cs typeface="+mn-lt"/>
              </a:rPr>
              <a:t>및 청구</a:t>
            </a:r>
            <a:r>
              <a:rPr lang="en-US" altLang="ko-KR" sz="2000" dirty="0">
                <a:cs typeface="+mn-lt"/>
              </a:rPr>
              <a:t>)</a:t>
            </a:r>
            <a:r>
              <a:rPr lang="ko-KR" altLang="en-US" sz="2000" dirty="0">
                <a:cs typeface="+mn-lt"/>
              </a:rPr>
              <a:t>되는 양을 줄임</a:t>
            </a:r>
            <a:r>
              <a:rPr lang="en-US" altLang="ko-KR" sz="2000" dirty="0">
                <a:cs typeface="+mn-lt"/>
              </a:rPr>
              <a:t>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ko-KR" sz="2000" dirty="0">
                <a:cs typeface="+mn-lt"/>
              </a:rPr>
              <a:t>SDK </a:t>
            </a:r>
            <a:r>
              <a:rPr lang="ko-KR" altLang="en-US" sz="2000" dirty="0">
                <a:cs typeface="+mn-lt"/>
              </a:rPr>
              <a:t>형태로 샘플링 구성이 불가능한 경우 사용</a:t>
            </a:r>
            <a:r>
              <a:rPr lang="en-US" altLang="ko-KR" sz="2000" dirty="0">
                <a:cs typeface="+mn-lt"/>
              </a:rPr>
              <a:t>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ko-KR" sz="2000" dirty="0">
              <a:cs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ko-KR" sz="2000" dirty="0">
              <a:cs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ko-KR" sz="2000" dirty="0">
              <a:cs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>
              <a:cs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>
              <a:cs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>
              <a:cs typeface="+mn-lt"/>
            </a:endParaRPr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E87C1755-2E5B-E441-5468-7AC99E34E19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46386" y="2621259"/>
            <a:ext cx="8875367" cy="384667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4157616219"/>
      </p:ext>
    </p:extLst>
  </p:cSld>
  <p:clrMapOvr>
    <a:masterClrMapping/>
  </p:clrMapOvr>
  <p:transition advTm="1158">
    <p:fad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355748-2E5A-FF43-B041-EDECD4D2DA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ctr"/>
          <a:lstStyle/>
          <a:p>
            <a:r>
              <a:rPr lang="en-US" altLang="ko-KR" sz="3650" b="1" dirty="0">
                <a:latin typeface="맑은 고딕"/>
                <a:ea typeface="맑은 고딕"/>
              </a:rPr>
              <a:t>Fixed Rate Sampling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0F85905A-5E01-8F50-E18C-9D227C507F1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95914" y="1463669"/>
            <a:ext cx="11243609" cy="5324535"/>
          </a:xfrm>
        </p:spPr>
        <p:txBody>
          <a:bodyPr vert="horz" wrap="square" lIns="146304" tIns="91440" rIns="146304" bIns="91440" rtlCol="0" anchor="t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ko-KR" altLang="en-US" sz="2000" dirty="0">
                <a:cs typeface="+mn-lt"/>
              </a:rPr>
              <a:t>웹서버</a:t>
            </a:r>
            <a:r>
              <a:rPr lang="en-US" altLang="ko-KR" sz="2000" dirty="0">
                <a:cs typeface="+mn-lt"/>
              </a:rPr>
              <a:t>, </a:t>
            </a:r>
            <a:r>
              <a:rPr lang="ko-KR" altLang="en-US" sz="2000" dirty="0">
                <a:cs typeface="+mn-lt"/>
              </a:rPr>
              <a:t>브라우저에서 전달되는 데이터 자체를 줄이며 </a:t>
            </a:r>
            <a:r>
              <a:rPr lang="en-US" altLang="ko-KR" sz="2000" dirty="0">
                <a:cs typeface="+mn-lt"/>
              </a:rPr>
              <a:t>asp.net, Java, Python </a:t>
            </a:r>
            <a:r>
              <a:rPr lang="ko-KR" altLang="en-US" sz="2000" dirty="0">
                <a:cs typeface="+mn-lt"/>
              </a:rPr>
              <a:t>등에서 사용가능</a:t>
            </a:r>
            <a:r>
              <a:rPr lang="en-US" altLang="ko-KR" sz="2000" dirty="0">
                <a:cs typeface="+mn-lt"/>
              </a:rPr>
              <a:t>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ko-KR" sz="2000" dirty="0">
                <a:cs typeface="+mn-lt"/>
              </a:rPr>
              <a:t>Adaptive Sampling</a:t>
            </a:r>
            <a:r>
              <a:rPr lang="ko-KR" altLang="en-US" sz="2000" dirty="0">
                <a:cs typeface="+mn-lt"/>
              </a:rPr>
              <a:t>과는 다르게 고객이 샘플 비율을 결정할 수 있음</a:t>
            </a:r>
            <a:r>
              <a:rPr lang="en-US" altLang="ko-KR" sz="2000" dirty="0">
                <a:cs typeface="+mn-lt"/>
              </a:rPr>
              <a:t>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ko-KR" altLang="en-US" sz="2000" dirty="0">
                <a:cs typeface="+mn-lt"/>
              </a:rPr>
              <a:t>다른 샘플링과 마찬가지로 관련 항목은 유지됨</a:t>
            </a:r>
            <a:r>
              <a:rPr lang="en-US" altLang="ko-KR" sz="2000" dirty="0">
                <a:cs typeface="+mn-lt"/>
              </a:rPr>
              <a:t>. </a:t>
            </a:r>
            <a:r>
              <a:rPr lang="ko-KR" altLang="en-US" sz="2000" dirty="0">
                <a:cs typeface="+mn-lt"/>
              </a:rPr>
              <a:t>예를 들어 검색에서 페이지 뷰와 관련된 내용을 클릭하면 연관된 서버 측의 데이터를 확인가능</a:t>
            </a:r>
            <a:r>
              <a:rPr lang="en-US" altLang="ko-KR" sz="2000" dirty="0">
                <a:cs typeface="+mn-lt"/>
              </a:rPr>
              <a:t>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ko-KR" sz="2000" dirty="0">
              <a:cs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ko-KR" sz="2000" dirty="0">
              <a:cs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ko-KR" sz="2000" dirty="0">
              <a:cs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ko-KR" sz="2000" dirty="0">
              <a:cs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ko-KR" sz="2000" dirty="0">
              <a:cs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ko-KR" sz="2000" dirty="0">
              <a:cs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ko-KR" sz="2000" dirty="0">
              <a:cs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ko-KR" altLang="en-US" sz="2000" dirty="0">
                <a:cs typeface="+mn-lt"/>
              </a:rPr>
              <a:t>참고</a:t>
            </a:r>
            <a:r>
              <a:rPr lang="en-US" altLang="ko-KR" sz="2000" dirty="0">
                <a:cs typeface="+mn-lt"/>
              </a:rPr>
              <a:t>: </a:t>
            </a:r>
            <a:r>
              <a:rPr lang="en-US" sz="2000" dirty="0">
                <a:hlinkClick r:id="rId3"/>
              </a:rPr>
              <a:t>Configuration options - Azure Monitor Application Insights for Java - Azure Monitor | Microsoft Learn</a:t>
            </a:r>
            <a:endParaRPr lang="en-US" sz="2000" dirty="0">
              <a:cs typeface="+mn-lt"/>
            </a:endParaRPr>
          </a:p>
        </p:txBody>
      </p:sp>
      <p:graphicFrame>
        <p:nvGraphicFramePr>
          <p:cNvPr id="3" name="표 5">
            <a:extLst>
              <a:ext uri="{FF2B5EF4-FFF2-40B4-BE49-F238E27FC236}">
                <a16:creationId xmlns:a16="http://schemas.microsoft.com/office/drawing/2014/main" id="{996EE059-B5C3-73D7-2F5E-1E3072D805D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75462206"/>
              </p:ext>
            </p:extLst>
          </p:nvPr>
        </p:nvGraphicFramePr>
        <p:xfrm>
          <a:off x="1052836" y="2994962"/>
          <a:ext cx="10457550" cy="271656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228775">
                  <a:extLst>
                    <a:ext uri="{9D8B030D-6E8A-4147-A177-3AD203B41FA5}">
                      <a16:colId xmlns:a16="http://schemas.microsoft.com/office/drawing/2014/main" val="1803683248"/>
                    </a:ext>
                  </a:extLst>
                </a:gridCol>
                <a:gridCol w="5228775">
                  <a:extLst>
                    <a:ext uri="{9D8B030D-6E8A-4147-A177-3AD203B41FA5}">
                      <a16:colId xmlns:a16="http://schemas.microsoft.com/office/drawing/2014/main" val="1924610298"/>
                    </a:ext>
                  </a:extLst>
                </a:gridCol>
              </a:tblGrid>
              <a:tr h="346625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.NE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Jav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50406186"/>
                  </a:ext>
                </a:extLst>
              </a:tr>
              <a:tr h="2350802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  <a:p>
                      <a:endParaRPr lang="en-US" dirty="0"/>
                    </a:p>
                    <a:p>
                      <a:endParaRPr lang="en-US" dirty="0"/>
                    </a:p>
                    <a:p>
                      <a:endParaRPr lang="en-US" dirty="0"/>
                    </a:p>
                    <a:p>
                      <a:endParaRPr lang="en-US" dirty="0"/>
                    </a:p>
                    <a:p>
                      <a:r>
                        <a:rPr lang="ko-KR" altLang="en-US" dirty="0"/>
                        <a:t>혹은 환경 변수에 비율을 명시 </a:t>
                      </a:r>
                      <a:r>
                        <a:rPr lang="en-US" altLang="ko-KR" dirty="0"/>
                        <a:t>“APPLICATIONINSIGHTS_SAMPLING_PERCENTAGE”</a:t>
                      </a:r>
                      <a:endParaRPr lang="en-US" dirty="0"/>
                    </a:p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72217782"/>
                  </a:ext>
                </a:extLst>
              </a:tr>
            </a:tbl>
          </a:graphicData>
        </a:graphic>
      </p:graphicFrame>
      <p:pic>
        <p:nvPicPr>
          <p:cNvPr id="7" name="그림 6">
            <a:extLst>
              <a:ext uri="{FF2B5EF4-FFF2-40B4-BE49-F238E27FC236}">
                <a16:creationId xmlns:a16="http://schemas.microsoft.com/office/drawing/2014/main" id="{9C7DACB0-F3D3-5F00-607A-D45E9A17AD1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62884" y="3343010"/>
            <a:ext cx="5207539" cy="2349379"/>
          </a:xfrm>
          <a:prstGeom prst="rect">
            <a:avLst/>
          </a:prstGeom>
        </p:spPr>
      </p:pic>
      <p:pic>
        <p:nvPicPr>
          <p:cNvPr id="9" name="그림 8">
            <a:extLst>
              <a:ext uri="{FF2B5EF4-FFF2-40B4-BE49-F238E27FC236}">
                <a16:creationId xmlns:a16="http://schemas.microsoft.com/office/drawing/2014/main" id="{4774ABB8-6FFA-69A6-2BA7-C41BA946947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98397" y="3343010"/>
            <a:ext cx="5211989" cy="14450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468311"/>
      </p:ext>
    </p:extLst>
  </p:cSld>
  <p:clrMapOvr>
    <a:masterClrMapping/>
  </p:clrMapOvr>
  <p:transition advTm="1158">
    <p:fade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355748-2E5A-FF43-B041-EDECD4D2DA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ctr"/>
          <a:lstStyle/>
          <a:p>
            <a:r>
              <a:rPr lang="en-US" altLang="ko-KR" sz="3650" b="1" dirty="0">
                <a:latin typeface="맑은 고딕"/>
                <a:ea typeface="맑은 고딕"/>
              </a:rPr>
              <a:t>Adaptive Sampling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0F85905A-5E01-8F50-E18C-9D227C507F1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95914" y="1463669"/>
            <a:ext cx="11243609" cy="5087547"/>
          </a:xfrm>
        </p:spPr>
        <p:txBody>
          <a:bodyPr vert="horz" wrap="square" lIns="146304" tIns="91440" rIns="146304" bIns="91440" rtlCol="0" anchor="t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ko-KR" altLang="en-US" sz="2000" dirty="0">
                <a:cs typeface="+mn-lt"/>
              </a:rPr>
              <a:t>초당 처리되는 </a:t>
            </a:r>
            <a:r>
              <a:rPr lang="en-US" altLang="ko-KR" sz="2000" dirty="0">
                <a:cs typeface="+mn-lt"/>
              </a:rPr>
              <a:t>telemetry</a:t>
            </a:r>
            <a:r>
              <a:rPr lang="ko-KR" altLang="en-US" sz="2000" dirty="0">
                <a:cs typeface="+mn-lt"/>
              </a:rPr>
              <a:t>인 </a:t>
            </a:r>
            <a:r>
              <a:rPr lang="en-US" altLang="ko-KR" sz="2000" dirty="0">
                <a:cs typeface="+mn-lt"/>
              </a:rPr>
              <a:t>“</a:t>
            </a:r>
            <a:r>
              <a:rPr lang="en-US" altLang="ko-KR" sz="2000" dirty="0" err="1">
                <a:cs typeface="+mn-lt"/>
              </a:rPr>
              <a:t>MaxTelemetryItemsPerSecond</a:t>
            </a:r>
            <a:r>
              <a:rPr lang="en-US" altLang="ko-KR" sz="2000" dirty="0">
                <a:cs typeface="+mn-lt"/>
              </a:rPr>
              <a:t>” </a:t>
            </a:r>
            <a:r>
              <a:rPr lang="ko-KR" altLang="en-US" sz="2000" dirty="0">
                <a:cs typeface="+mn-lt"/>
              </a:rPr>
              <a:t>값을 통해 일정 수준의 데이터를 </a:t>
            </a:r>
            <a:r>
              <a:rPr lang="en-US" altLang="ko-KR" sz="2000" dirty="0">
                <a:cs typeface="+mn-lt"/>
              </a:rPr>
              <a:t>drop </a:t>
            </a:r>
            <a:r>
              <a:rPr lang="ko-KR" altLang="en-US" sz="2000" dirty="0">
                <a:cs typeface="+mn-lt"/>
              </a:rPr>
              <a:t>시키거나 전체 데이터를 유지</a:t>
            </a:r>
            <a:r>
              <a:rPr lang="en-US" altLang="ko-KR" sz="2000" dirty="0">
                <a:cs typeface="+mn-lt"/>
              </a:rPr>
              <a:t>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ko-KR" altLang="en-US" sz="2000" dirty="0">
                <a:cs typeface="+mn-lt"/>
              </a:rPr>
              <a:t>구성 파일이나 소스 코드를 통해 해당 수치는 조정 가능</a:t>
            </a:r>
            <a:r>
              <a:rPr lang="en-US" altLang="ko-KR" sz="2000" dirty="0">
                <a:cs typeface="+mn-lt"/>
              </a:rPr>
              <a:t>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ko-KR" sz="2000" dirty="0">
              <a:cs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ko-KR" sz="2000" dirty="0">
              <a:cs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ko-KR" sz="2000" dirty="0">
              <a:cs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 dirty="0" err="1">
                <a:effectLst/>
                <a:latin typeface="Malgun Gothic" panose="020B0503020000020004" pitchFamily="34" charset="-127"/>
              </a:rPr>
              <a:t>IncludedTypes</a:t>
            </a:r>
            <a:r>
              <a:rPr lang="en-US" sz="1800" dirty="0">
                <a:effectLst/>
                <a:latin typeface="Malgun Gothic" panose="020B0503020000020004" pitchFamily="34" charset="-127"/>
              </a:rPr>
              <a:t>, </a:t>
            </a:r>
            <a:r>
              <a:rPr lang="en-US" sz="1800" dirty="0" err="1">
                <a:effectLst/>
                <a:latin typeface="Malgun Gothic" panose="020B0503020000020004" pitchFamily="34" charset="-127"/>
              </a:rPr>
              <a:t>excludeTypes</a:t>
            </a:r>
            <a:r>
              <a:rPr lang="ko-KR" altLang="en-US" sz="1800" dirty="0">
                <a:effectLst/>
                <a:latin typeface="Malgun Gothic" panose="020B0503020000020004" pitchFamily="34" charset="-127"/>
              </a:rPr>
              <a:t>을 명시해서 샘플링에 포함시키거나</a:t>
            </a:r>
            <a:r>
              <a:rPr lang="en-US" altLang="ko-KR" sz="1800" dirty="0">
                <a:effectLst/>
                <a:latin typeface="Malgun Gothic" panose="020B0503020000020004" pitchFamily="34" charset="-127"/>
              </a:rPr>
              <a:t>, </a:t>
            </a:r>
            <a:r>
              <a:rPr lang="ko-KR" altLang="en-US" sz="1800" dirty="0">
                <a:effectLst/>
                <a:latin typeface="Malgun Gothic" panose="020B0503020000020004" pitchFamily="34" charset="-127"/>
              </a:rPr>
              <a:t>제외</a:t>
            </a:r>
            <a:r>
              <a:rPr lang="en-US" altLang="ko-KR" sz="1800" dirty="0">
                <a:effectLst/>
                <a:latin typeface="Malgun Gothic" panose="020B0503020000020004" pitchFamily="34" charset="-127"/>
              </a:rPr>
              <a:t>(</a:t>
            </a:r>
            <a:r>
              <a:rPr lang="ko-KR" altLang="en-US" sz="1800" dirty="0">
                <a:effectLst/>
                <a:latin typeface="Malgun Gothic" panose="020B0503020000020004" pitchFamily="34" charset="-127"/>
              </a:rPr>
              <a:t>전체 수집</a:t>
            </a:r>
            <a:r>
              <a:rPr lang="en-US" altLang="ko-KR" sz="1800" dirty="0">
                <a:effectLst/>
                <a:latin typeface="Malgun Gothic" panose="020B0503020000020004" pitchFamily="34" charset="-127"/>
              </a:rPr>
              <a:t>)</a:t>
            </a:r>
            <a:r>
              <a:rPr lang="ko-KR" altLang="en-US" sz="1800" dirty="0">
                <a:effectLst/>
                <a:latin typeface="Malgun Gothic" panose="020B0503020000020004" pitchFamily="34" charset="-127"/>
              </a:rPr>
              <a:t>하도록 구성 가능하며 </a:t>
            </a:r>
            <a:r>
              <a:rPr lang="en-US" altLang="ko-KR" sz="1800" dirty="0">
                <a:effectLst/>
                <a:latin typeface="Malgun Gothic" panose="020B0503020000020004" pitchFamily="34" charset="-127"/>
              </a:rPr>
              <a:t>Dependency, Event, Exception, </a:t>
            </a:r>
            <a:r>
              <a:rPr lang="en-US" altLang="ko-KR" sz="1800" dirty="0" err="1">
                <a:effectLst/>
                <a:latin typeface="Malgun Gothic" panose="020B0503020000020004" pitchFamily="34" charset="-127"/>
              </a:rPr>
              <a:t>PageView</a:t>
            </a:r>
            <a:r>
              <a:rPr lang="en-US" altLang="ko-KR" sz="1800" dirty="0">
                <a:effectLst/>
                <a:latin typeface="Malgun Gothic" panose="020B0503020000020004" pitchFamily="34" charset="-127"/>
              </a:rPr>
              <a:t>, Request, Trace </a:t>
            </a:r>
            <a:r>
              <a:rPr lang="ko-KR" altLang="en-US" sz="1800" dirty="0">
                <a:effectLst/>
                <a:latin typeface="Malgun Gothic" panose="020B0503020000020004" pitchFamily="34" charset="-127"/>
              </a:rPr>
              <a:t>등을 다수 선택할 수 있음</a:t>
            </a:r>
            <a:r>
              <a:rPr lang="en-US" altLang="ko-KR" sz="1800" dirty="0">
                <a:effectLst/>
                <a:latin typeface="Malgun Gothic" panose="020B0503020000020004" pitchFamily="34" charset="-127"/>
              </a:rPr>
              <a:t>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ko-KR" sz="1800" dirty="0">
              <a:cs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ko-KR" altLang="en-US" sz="2000" dirty="0">
                <a:cs typeface="+mn-lt"/>
              </a:rPr>
              <a:t>상세 구성 항목들은 다음 링크에서 확인 가능</a:t>
            </a:r>
            <a:r>
              <a:rPr lang="en-US" altLang="ko-KR" sz="2000" dirty="0">
                <a:cs typeface="+mn-lt"/>
              </a:rPr>
              <a:t>.</a:t>
            </a:r>
            <a:br>
              <a:rPr lang="en-US" altLang="ko-KR" sz="2000" dirty="0">
                <a:cs typeface="+mn-lt"/>
              </a:rPr>
            </a:br>
            <a:r>
              <a:rPr lang="en-US" sz="2000" dirty="0">
                <a:hlinkClick r:id="rId3"/>
              </a:rPr>
              <a:t>Telemetry sampling in Azure Application Insights - Azure Monitor | Microsoft Learn</a:t>
            </a:r>
            <a:endParaRPr lang="en-US" altLang="ko-KR" sz="2000" dirty="0">
              <a:cs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ko-KR" sz="2000" dirty="0">
              <a:cs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ko-KR" sz="2000" dirty="0">
              <a:cs typeface="+mn-lt"/>
            </a:endParaRPr>
          </a:p>
        </p:txBody>
      </p:sp>
      <p:pic>
        <p:nvPicPr>
          <p:cNvPr id="1026" name="Picture 2" descr="var builder = &#10;configuration . DefaultTeIemetrySink . TelemetryProcessorChaingui Ider ; &#10;// using adaptive sampling &#10;builder. useAdaptiveSarnp1ing(maxTe1emetry1temsperSecond: 5) ; &#10;builder. Build(); ">
            <a:extLst>
              <a:ext uri="{FF2B5EF4-FFF2-40B4-BE49-F238E27FC236}">
                <a16:creationId xmlns:a16="http://schemas.microsoft.com/office/drawing/2014/main" id="{C80FA45C-8580-CD61-F611-E70D713DAD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6689" y="2591462"/>
            <a:ext cx="6474846" cy="1242203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21918781"/>
      </p:ext>
    </p:extLst>
  </p:cSld>
  <p:clrMapOvr>
    <a:masterClrMapping/>
  </p:clrMapOvr>
  <p:transition advTm="1158">
    <p:fade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89188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01C4DE8-FED9-4360-822F-E4430EDF304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0" y="1165753"/>
            <a:ext cx="6156055" cy="2571563"/>
          </a:xfrm>
        </p:spPr>
        <p:txBody>
          <a:bodyPr/>
          <a:lstStyle/>
          <a:p>
            <a:r>
              <a:rPr lang="ko-KR" altLang="en-US" sz="3200" dirty="0"/>
              <a:t>주요 기능</a:t>
            </a:r>
            <a:endParaRPr lang="en-US" altLang="ko-KR" sz="3200" dirty="0"/>
          </a:p>
          <a:p>
            <a:pPr marL="515487" indent="-457200">
              <a:buFontTx/>
              <a:buChar char="-"/>
            </a:pPr>
            <a:r>
              <a:rPr lang="en-US" sz="3200" dirty="0"/>
              <a:t>Live Metrics</a:t>
            </a:r>
          </a:p>
          <a:p>
            <a:pPr marL="515487" indent="-457200">
              <a:buFontTx/>
              <a:buChar char="-"/>
            </a:pPr>
            <a:r>
              <a:rPr lang="en-US" sz="3200" dirty="0"/>
              <a:t>Performance</a:t>
            </a:r>
          </a:p>
          <a:p>
            <a:pPr marL="515487" indent="-457200">
              <a:buFontTx/>
              <a:buChar char="-"/>
            </a:pPr>
            <a:r>
              <a:rPr lang="en-US" sz="3200" dirty="0"/>
              <a:t>End-to-End Transaction</a:t>
            </a:r>
          </a:p>
          <a:p>
            <a:pPr marL="515487" indent="-457200">
              <a:buFontTx/>
              <a:buChar char="-"/>
            </a:pPr>
            <a:endParaRPr lang="en-US" sz="320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3ACEEC4-C091-4D2D-9C86-E2374B1BA1C8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953500" y="635635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FFF257A-30C5-4AFB-911B-BE4CEEA1EA82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997571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355748-2E5A-FF43-B041-EDECD4D2DA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ctr"/>
          <a:lstStyle/>
          <a:p>
            <a:r>
              <a:rPr lang="en-US" altLang="ko-KR" sz="3650" b="1" dirty="0">
                <a:latin typeface="맑은 고딕"/>
                <a:ea typeface="맑은 고딕"/>
              </a:rPr>
              <a:t>Live Metrics – Overview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0F85905A-5E01-8F50-E18C-9D227C507F1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95914" y="1463669"/>
            <a:ext cx="11243609" cy="4989058"/>
          </a:xfrm>
        </p:spPr>
        <p:txBody>
          <a:bodyPr vert="horz" wrap="square" lIns="146304" tIns="91440" rIns="146304" bIns="91440" rtlCol="0" anchor="t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ko-KR" altLang="en-US" sz="2000" dirty="0">
                <a:cs typeface="+mn-lt"/>
              </a:rPr>
              <a:t>웹</a:t>
            </a:r>
            <a:r>
              <a:rPr lang="en-US" altLang="ko-KR" sz="2000" dirty="0">
                <a:cs typeface="+mn-lt"/>
              </a:rPr>
              <a:t>-</a:t>
            </a:r>
            <a:r>
              <a:rPr lang="ko-KR" altLang="en-US" sz="2000" dirty="0">
                <a:cs typeface="+mn-lt"/>
              </a:rPr>
              <a:t>사이트의 라이브 모니터링을 위한 도구들을 제공</a:t>
            </a:r>
            <a:r>
              <a:rPr lang="en-US" altLang="ko-KR" sz="2000" dirty="0">
                <a:cs typeface="+mn-lt"/>
              </a:rPr>
              <a:t>. Azure Monitor</a:t>
            </a:r>
            <a:r>
              <a:rPr lang="ko-KR" altLang="en-US" sz="2000" dirty="0">
                <a:cs typeface="+mn-lt"/>
              </a:rPr>
              <a:t>를 통한 모니터링이 대략 </a:t>
            </a:r>
            <a:r>
              <a:rPr lang="en-US" altLang="ko-KR" sz="2000" dirty="0">
                <a:cs typeface="+mn-lt"/>
              </a:rPr>
              <a:t>2</a:t>
            </a:r>
            <a:r>
              <a:rPr lang="ko-KR" altLang="en-US" sz="2000" dirty="0">
                <a:cs typeface="+mn-lt"/>
              </a:rPr>
              <a:t>분 이상의 지연 이후에 기록되는 반면</a:t>
            </a:r>
            <a:r>
              <a:rPr lang="en-US" altLang="ko-KR" sz="2000" dirty="0">
                <a:cs typeface="+mn-lt"/>
              </a:rPr>
              <a:t>, </a:t>
            </a:r>
            <a:r>
              <a:rPr lang="ko-KR" altLang="en-US" sz="2000" dirty="0">
                <a:cs typeface="+mn-lt"/>
              </a:rPr>
              <a:t>실시간 모니터링 기능을 제공하여 현재 서비스의 이상 유무를 파악할 수 있는 </a:t>
            </a:r>
            <a:r>
              <a:rPr lang="en-US" altLang="ko-KR" sz="2000" dirty="0">
                <a:cs typeface="+mn-lt"/>
              </a:rPr>
              <a:t>metrics</a:t>
            </a:r>
            <a:r>
              <a:rPr lang="ko-KR" altLang="en-US" sz="2000" dirty="0">
                <a:cs typeface="+mn-lt"/>
              </a:rPr>
              <a:t>를 제공</a:t>
            </a:r>
            <a:r>
              <a:rPr lang="en-US" altLang="ko-KR" sz="2000" dirty="0">
                <a:cs typeface="+mn-lt"/>
              </a:rPr>
              <a:t>.</a:t>
            </a:r>
            <a:endParaRPr lang="en-US" sz="2000" dirty="0">
              <a:cs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ko-KR" sz="2000" dirty="0">
                <a:cs typeface="+mn-lt"/>
              </a:rPr>
              <a:t>Incoming Request</a:t>
            </a:r>
            <a:r>
              <a:rPr lang="ko-KR" altLang="en-US" sz="2000" dirty="0">
                <a:cs typeface="+mn-lt"/>
              </a:rPr>
              <a:t>는 인입되는 요청 빈도</a:t>
            </a:r>
            <a:r>
              <a:rPr lang="en-US" altLang="ko-KR" sz="2000" dirty="0">
                <a:cs typeface="+mn-lt"/>
              </a:rPr>
              <a:t>(request/sec) </a:t>
            </a:r>
            <a:r>
              <a:rPr lang="ko-KR" altLang="en-US" sz="2000" dirty="0">
                <a:cs typeface="+mn-lt"/>
              </a:rPr>
              <a:t>및 요청의 응답시간</a:t>
            </a:r>
            <a:r>
              <a:rPr lang="en-US" altLang="ko-KR" sz="2000" dirty="0">
                <a:cs typeface="+mn-lt"/>
              </a:rPr>
              <a:t> </a:t>
            </a:r>
            <a:r>
              <a:rPr lang="ko-KR" altLang="en-US" sz="2000" dirty="0">
                <a:cs typeface="+mn-lt"/>
              </a:rPr>
              <a:t>그리고</a:t>
            </a:r>
            <a:r>
              <a:rPr lang="en-US" altLang="ko-KR" sz="2000" dirty="0">
                <a:cs typeface="+mn-lt"/>
              </a:rPr>
              <a:t>, </a:t>
            </a:r>
            <a:r>
              <a:rPr lang="ko-KR" altLang="en-US" sz="2000" dirty="0">
                <a:cs typeface="+mn-lt"/>
              </a:rPr>
              <a:t>요청 실패에 대한 데이터를 제공</a:t>
            </a:r>
            <a:r>
              <a:rPr lang="en-US" altLang="ko-KR" sz="2000" dirty="0">
                <a:cs typeface="+mn-lt"/>
              </a:rPr>
              <a:t>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>
              <a:cs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>
              <a:cs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>
              <a:cs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>
              <a:cs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>
              <a:cs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cs typeface="+mn-lt"/>
              </a:rPr>
              <a:t>Application</a:t>
            </a:r>
            <a:r>
              <a:rPr lang="ko-KR" altLang="en-US" sz="2000" dirty="0">
                <a:cs typeface="+mn-lt"/>
              </a:rPr>
              <a:t>의 현재 성능이나 실패 이슈에 대해 파악 가능하며 하단에서 서버 필터를 제공하여 이슈가 있는 서버를 특정할 수 있는 도구를 제공</a:t>
            </a:r>
            <a:r>
              <a:rPr lang="en-US" altLang="ko-KR" sz="2000" dirty="0">
                <a:cs typeface="+mn-lt"/>
              </a:rPr>
              <a:t>.</a:t>
            </a:r>
            <a:r>
              <a:rPr lang="ko-KR" altLang="en-US" sz="2000" dirty="0">
                <a:cs typeface="+mn-lt"/>
              </a:rPr>
              <a:t> </a:t>
            </a:r>
            <a:endParaRPr lang="en-US" sz="2000" dirty="0">
              <a:cs typeface="+mn-lt"/>
            </a:endParaRPr>
          </a:p>
          <a:p>
            <a:pPr marL="0" indent="0">
              <a:buNone/>
            </a:pPr>
            <a:endParaRPr lang="en-US" sz="1800" dirty="0">
              <a:cs typeface="Segoe UI Light"/>
            </a:endParaRPr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11A72566-4A66-C7F5-B315-D1E5C4969D0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3721" y="3167068"/>
            <a:ext cx="7062839" cy="1776425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10" name="그림 9">
            <a:extLst>
              <a:ext uri="{FF2B5EF4-FFF2-40B4-BE49-F238E27FC236}">
                <a16:creationId xmlns:a16="http://schemas.microsoft.com/office/drawing/2014/main" id="{CD57E1DC-ED80-0344-95C4-6AC74009BD5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85959" y="6080150"/>
            <a:ext cx="6948538" cy="566742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12" name="그림 11">
            <a:extLst>
              <a:ext uri="{FF2B5EF4-FFF2-40B4-BE49-F238E27FC236}">
                <a16:creationId xmlns:a16="http://schemas.microsoft.com/office/drawing/2014/main" id="{32B8BA8A-E6DD-F9CD-6C7F-D28630DCA05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192068" y="6111025"/>
            <a:ext cx="3863276" cy="461542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849653837"/>
      </p:ext>
    </p:extLst>
  </p:cSld>
  <p:clrMapOvr>
    <a:masterClrMapping/>
  </p:clrMapOvr>
  <p:transition advTm="1158"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355748-2E5A-FF43-B041-EDECD4D2DA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ctr"/>
          <a:lstStyle/>
          <a:p>
            <a:r>
              <a:rPr lang="en-US" altLang="ko-KR" sz="3650" b="1" dirty="0">
                <a:latin typeface="맑은 고딕"/>
                <a:ea typeface="맑은 고딕"/>
              </a:rPr>
              <a:t>Live Metrics – Outgoing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0F85905A-5E01-8F50-E18C-9D227C507F1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95914" y="1463669"/>
            <a:ext cx="11243609" cy="4588949"/>
          </a:xfrm>
        </p:spPr>
        <p:txBody>
          <a:bodyPr vert="horz" wrap="square" lIns="146304" tIns="91440" rIns="146304" bIns="91440" rtlCol="0" anchor="t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ko-KR" altLang="en-US" sz="2000" dirty="0">
                <a:cs typeface="+mn-lt"/>
              </a:rPr>
              <a:t>웹</a:t>
            </a:r>
            <a:r>
              <a:rPr lang="en-US" altLang="ko-KR" sz="2000" dirty="0">
                <a:cs typeface="+mn-lt"/>
              </a:rPr>
              <a:t>-</a:t>
            </a:r>
            <a:r>
              <a:rPr lang="ko-KR" altLang="en-US" sz="2000" dirty="0">
                <a:cs typeface="+mn-lt"/>
              </a:rPr>
              <a:t>사이트에서 원격 리소스 호출에 대한 모니터링을 제공</a:t>
            </a:r>
            <a:r>
              <a:rPr lang="en-US" altLang="ko-KR" sz="2000" dirty="0">
                <a:cs typeface="+mn-lt"/>
              </a:rPr>
              <a:t>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ko-KR" altLang="en-US" sz="2000" dirty="0">
                <a:cs typeface="+mn-lt"/>
              </a:rPr>
              <a:t>외부 리소스의 호출 빈도</a:t>
            </a:r>
            <a:r>
              <a:rPr lang="en-US" altLang="ko-KR" sz="2000" dirty="0">
                <a:cs typeface="+mn-lt"/>
              </a:rPr>
              <a:t>(request /sec)</a:t>
            </a:r>
            <a:r>
              <a:rPr lang="ko-KR" altLang="en-US" sz="2000" dirty="0">
                <a:cs typeface="+mn-lt"/>
              </a:rPr>
              <a:t>와 응답 시간</a:t>
            </a:r>
            <a:r>
              <a:rPr lang="en-US" altLang="ko-KR" sz="2000" dirty="0">
                <a:cs typeface="+mn-lt"/>
              </a:rPr>
              <a:t> </a:t>
            </a:r>
            <a:r>
              <a:rPr lang="ko-KR" altLang="en-US" sz="2000" dirty="0">
                <a:cs typeface="+mn-lt"/>
              </a:rPr>
              <a:t>그리고</a:t>
            </a:r>
            <a:r>
              <a:rPr lang="en-US" altLang="ko-KR" sz="2000" dirty="0">
                <a:cs typeface="+mn-lt"/>
              </a:rPr>
              <a:t>, </a:t>
            </a:r>
            <a:r>
              <a:rPr lang="ko-KR" altLang="en-US" sz="2000" dirty="0">
                <a:cs typeface="+mn-lt"/>
              </a:rPr>
              <a:t>실패에 대한 항목을 제공</a:t>
            </a:r>
            <a:r>
              <a:rPr lang="en-US" altLang="ko-KR" sz="2000" dirty="0">
                <a:cs typeface="+mn-lt"/>
              </a:rPr>
              <a:t>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>
              <a:cs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>
              <a:cs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>
              <a:cs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>
              <a:cs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>
              <a:cs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ko-KR" sz="2000" dirty="0">
              <a:cs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ko-KR" altLang="en-US" sz="2000" dirty="0">
                <a:cs typeface="+mn-lt"/>
              </a:rPr>
              <a:t>웹</a:t>
            </a:r>
            <a:r>
              <a:rPr lang="en-US" altLang="ko-KR" sz="2000" dirty="0">
                <a:cs typeface="+mn-lt"/>
              </a:rPr>
              <a:t>-</a:t>
            </a:r>
            <a:r>
              <a:rPr lang="ko-KR" altLang="en-US" sz="2000" dirty="0">
                <a:cs typeface="+mn-lt"/>
              </a:rPr>
              <a:t>사이트의 응답 지연이나 실패가 원격 리소스에 있는 경우 빠르게 문제를 </a:t>
            </a:r>
            <a:r>
              <a:rPr lang="en-US" altLang="ko-KR" sz="2000" dirty="0">
                <a:cs typeface="+mn-lt"/>
              </a:rPr>
              <a:t>isolation </a:t>
            </a:r>
            <a:r>
              <a:rPr lang="ko-KR" altLang="en-US" sz="2000" dirty="0">
                <a:cs typeface="+mn-lt"/>
              </a:rPr>
              <a:t>할 수 있는 도구를 제공</a:t>
            </a:r>
            <a:r>
              <a:rPr lang="en-US" altLang="ko-KR" sz="2000" dirty="0">
                <a:cs typeface="+mn-lt"/>
              </a:rPr>
              <a:t>.</a:t>
            </a:r>
            <a:endParaRPr lang="en-US" sz="2000" dirty="0">
              <a:cs typeface="+mn-lt"/>
            </a:endParaRPr>
          </a:p>
          <a:p>
            <a:pPr marL="0" indent="0">
              <a:buNone/>
            </a:pPr>
            <a:endParaRPr lang="en-US" sz="1800" dirty="0">
              <a:cs typeface="Segoe UI Light"/>
            </a:endParaRP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33CB2522-E89B-F8D7-F65B-77A34B88F7B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33798" y="2362656"/>
            <a:ext cx="9668132" cy="2413806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675455150"/>
      </p:ext>
    </p:extLst>
  </p:cSld>
  <p:clrMapOvr>
    <a:masterClrMapping/>
  </p:clrMapOvr>
  <p:transition advTm="1158"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355748-2E5A-FF43-B041-EDECD4D2DA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ctr"/>
          <a:lstStyle/>
          <a:p>
            <a:r>
              <a:rPr lang="en-US" altLang="ko-KR" sz="3650" b="1" dirty="0">
                <a:latin typeface="맑은 고딕"/>
                <a:ea typeface="맑은 고딕"/>
              </a:rPr>
              <a:t>Live Metrics – Failur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0F85905A-5E01-8F50-E18C-9D227C507F1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95914" y="1463669"/>
            <a:ext cx="11243609" cy="1572738"/>
          </a:xfrm>
        </p:spPr>
        <p:txBody>
          <a:bodyPr vert="horz" wrap="square" lIns="146304" tIns="91440" rIns="146304" bIns="91440" rtlCol="0" anchor="t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ko-KR" altLang="en-US" sz="2000" dirty="0">
                <a:cs typeface="+mn-lt"/>
              </a:rPr>
              <a:t>기본적으로 이벤트의 라이브 </a:t>
            </a:r>
            <a:r>
              <a:rPr lang="ko-KR" altLang="en-US" sz="2000" dirty="0" err="1">
                <a:cs typeface="+mn-lt"/>
              </a:rPr>
              <a:t>피드에는</a:t>
            </a:r>
            <a:r>
              <a:rPr lang="ko-KR" altLang="en-US" sz="2000" dirty="0">
                <a:cs typeface="+mn-lt"/>
              </a:rPr>
              <a:t> 실패한 요청 및 종속성 호출</a:t>
            </a:r>
            <a:r>
              <a:rPr lang="en-US" altLang="ko-KR" sz="2000" dirty="0">
                <a:cs typeface="+mn-lt"/>
              </a:rPr>
              <a:t>, </a:t>
            </a:r>
            <a:r>
              <a:rPr lang="ko-KR" altLang="en-US" sz="2000" dirty="0">
                <a:cs typeface="+mn-lt"/>
              </a:rPr>
              <a:t>예외</a:t>
            </a:r>
            <a:r>
              <a:rPr lang="en-US" altLang="ko-KR" sz="2000" dirty="0">
                <a:cs typeface="+mn-lt"/>
              </a:rPr>
              <a:t>, </a:t>
            </a:r>
            <a:r>
              <a:rPr lang="ko-KR" altLang="en-US" sz="2000" dirty="0">
                <a:cs typeface="+mn-lt"/>
              </a:rPr>
              <a:t>이벤트 및 추적의 샘플이 표시됨</a:t>
            </a:r>
            <a:endParaRPr lang="en-US" altLang="ko-KR" sz="2000" dirty="0">
              <a:cs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ko-KR" altLang="en-US" sz="2000" dirty="0">
                <a:cs typeface="+mn-lt"/>
              </a:rPr>
              <a:t>현재 예외 메시지 기반 기준은 가장 바깥쪽에 있는 예외 메시지를 사용</a:t>
            </a:r>
            <a:endParaRPr lang="en-US" altLang="ko-KR" sz="2000" dirty="0">
              <a:cs typeface="+mn-lt"/>
            </a:endParaRPr>
          </a:p>
          <a:p>
            <a:pPr marL="0" indent="0">
              <a:buNone/>
            </a:pPr>
            <a:endParaRPr lang="en-US" sz="1800" dirty="0">
              <a:cs typeface="Segoe UI Light"/>
            </a:endParaRPr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1C514FE0-79F2-2DDD-F540-0797FD7CAC7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0101" y="2632153"/>
            <a:ext cx="4698915" cy="4283899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96151794"/>
      </p:ext>
    </p:extLst>
  </p:cSld>
  <p:clrMapOvr>
    <a:masterClrMapping/>
  </p:clrMapOvr>
  <p:transition advTm="1158"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355748-2E5A-FF43-B041-EDECD4D2DA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ctr"/>
          <a:lstStyle/>
          <a:p>
            <a:r>
              <a:rPr lang="en-US" altLang="ko-KR" sz="3650" b="1" dirty="0">
                <a:latin typeface="맑은 고딕"/>
                <a:ea typeface="맑은 고딕"/>
              </a:rPr>
              <a:t>Live Metrics – Server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0F85905A-5E01-8F50-E18C-9D227C507F1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95914" y="1463669"/>
            <a:ext cx="11243609" cy="1849737"/>
          </a:xfrm>
        </p:spPr>
        <p:txBody>
          <a:bodyPr vert="horz" wrap="square" lIns="146304" tIns="91440" rIns="146304" bIns="91440" rtlCol="0" anchor="t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ko-KR" altLang="en-US" sz="2000" dirty="0">
                <a:cs typeface="+mn-lt"/>
              </a:rPr>
              <a:t>웹</a:t>
            </a:r>
            <a:r>
              <a:rPr lang="en-US" altLang="ko-KR" sz="2000" dirty="0">
                <a:cs typeface="+mn-lt"/>
              </a:rPr>
              <a:t>-</a:t>
            </a:r>
            <a:r>
              <a:rPr lang="ko-KR" altLang="en-US" sz="2000" dirty="0">
                <a:cs typeface="+mn-lt"/>
              </a:rPr>
              <a:t>서버 인스턴스에 대한 </a:t>
            </a:r>
            <a:r>
              <a:rPr lang="en-US" altLang="ko-KR" sz="2000" dirty="0">
                <a:cs typeface="+mn-lt"/>
              </a:rPr>
              <a:t>CPU, Memory </a:t>
            </a:r>
            <a:r>
              <a:rPr lang="ko-KR" altLang="en-US" sz="2000" dirty="0">
                <a:cs typeface="+mn-lt"/>
              </a:rPr>
              <a:t>사용 현황 그리고 오류 발생 빈도 등의 데이터를 제공</a:t>
            </a:r>
            <a:r>
              <a:rPr lang="en-US" altLang="ko-KR" sz="2000" dirty="0">
                <a:cs typeface="+mn-lt"/>
              </a:rPr>
              <a:t>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ko-KR" sz="2000" dirty="0">
                <a:cs typeface="+mn-lt"/>
              </a:rPr>
              <a:t>App Service</a:t>
            </a:r>
            <a:r>
              <a:rPr lang="ko-KR" altLang="en-US" sz="2000" dirty="0">
                <a:cs typeface="+mn-lt"/>
              </a:rPr>
              <a:t>의 경우 </a:t>
            </a:r>
            <a:r>
              <a:rPr lang="en-US" altLang="ko-KR" sz="2000" dirty="0">
                <a:cs typeface="+mn-lt"/>
              </a:rPr>
              <a:t>VM</a:t>
            </a:r>
            <a:r>
              <a:rPr lang="ko-KR" altLang="en-US" sz="2000" dirty="0">
                <a:cs typeface="+mn-lt"/>
              </a:rPr>
              <a:t> 인스턴스의 리소스 사용 데이터를 그리고</a:t>
            </a:r>
            <a:r>
              <a:rPr lang="en-US" altLang="ko-KR" sz="2000" dirty="0">
                <a:cs typeface="+mn-lt"/>
              </a:rPr>
              <a:t>, AKS </a:t>
            </a:r>
            <a:r>
              <a:rPr lang="ko-KR" altLang="en-US" sz="2000" dirty="0">
                <a:cs typeface="+mn-lt"/>
              </a:rPr>
              <a:t>등 </a:t>
            </a:r>
            <a:r>
              <a:rPr lang="en-US" altLang="ko-KR" sz="2000" dirty="0">
                <a:cs typeface="+mn-lt"/>
              </a:rPr>
              <a:t>container</a:t>
            </a:r>
            <a:r>
              <a:rPr lang="ko-KR" altLang="en-US" sz="2000" dirty="0">
                <a:cs typeface="+mn-lt"/>
              </a:rPr>
              <a:t>로 배포된 </a:t>
            </a:r>
            <a:r>
              <a:rPr lang="en-US" altLang="ko-KR" sz="2000" dirty="0">
                <a:cs typeface="+mn-lt"/>
              </a:rPr>
              <a:t>App</a:t>
            </a:r>
            <a:r>
              <a:rPr lang="ko-KR" altLang="en-US" sz="2000" dirty="0">
                <a:cs typeface="+mn-lt"/>
              </a:rPr>
              <a:t>의 경우 </a:t>
            </a:r>
            <a:r>
              <a:rPr lang="en-US" altLang="ko-KR" sz="2000" dirty="0">
                <a:cs typeface="+mn-lt"/>
              </a:rPr>
              <a:t>Container</a:t>
            </a:r>
            <a:r>
              <a:rPr lang="ko-KR" altLang="en-US" sz="2000" dirty="0">
                <a:cs typeface="+mn-lt"/>
              </a:rPr>
              <a:t>의 리소스 현황을 표시</a:t>
            </a:r>
            <a:r>
              <a:rPr lang="en-US" altLang="ko-KR" sz="2000" dirty="0">
                <a:cs typeface="+mn-lt"/>
              </a:rPr>
              <a:t>.</a:t>
            </a:r>
          </a:p>
          <a:p>
            <a:pPr marL="0" indent="0">
              <a:buNone/>
            </a:pPr>
            <a:endParaRPr lang="en-US" sz="1800" dirty="0">
              <a:cs typeface="Segoe UI Light"/>
            </a:endParaRP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650F259A-261A-58A1-CC35-64CC0B76DE4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5577" y="2877655"/>
            <a:ext cx="7119990" cy="2867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8211829"/>
      </p:ext>
    </p:extLst>
  </p:cSld>
  <p:clrMapOvr>
    <a:masterClrMapping/>
  </p:clrMapOvr>
  <p:transition advTm="1158"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355748-2E5A-FF43-B041-EDECD4D2DA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ctr"/>
          <a:lstStyle/>
          <a:p>
            <a:r>
              <a:rPr lang="en-US" altLang="ko-KR" sz="3650" b="1" dirty="0">
                <a:latin typeface="맑은 고딕"/>
                <a:ea typeface="맑은 고딕"/>
              </a:rPr>
              <a:t>Performance &amp; End to End Transaction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0F85905A-5E01-8F50-E18C-9D227C507F1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95914" y="1463669"/>
            <a:ext cx="11243609" cy="3727174"/>
          </a:xfrm>
        </p:spPr>
        <p:txBody>
          <a:bodyPr vert="horz" wrap="square" lIns="146304" tIns="91440" rIns="146304" bIns="91440" rtlCol="0" anchor="t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ko-KR" altLang="en-US" sz="2000" dirty="0">
                <a:cs typeface="+mn-lt"/>
              </a:rPr>
              <a:t>작업</a:t>
            </a:r>
            <a:r>
              <a:rPr lang="en-US" altLang="ko-KR" sz="2000" dirty="0">
                <a:cs typeface="+mn-lt"/>
              </a:rPr>
              <a:t>(</a:t>
            </a:r>
            <a:r>
              <a:rPr lang="ko-KR" altLang="en-US" sz="2000" dirty="0">
                <a:cs typeface="+mn-lt"/>
              </a:rPr>
              <a:t>호출 </a:t>
            </a:r>
            <a:r>
              <a:rPr lang="en-US" altLang="ko-KR" sz="2000" dirty="0">
                <a:cs typeface="+mn-lt"/>
              </a:rPr>
              <a:t>URL)</a:t>
            </a:r>
            <a:r>
              <a:rPr lang="ko-KR" altLang="en-US" sz="2000" dirty="0">
                <a:cs typeface="+mn-lt"/>
              </a:rPr>
              <a:t>별 호출 회수 및 응답 시간에 대한 데이터 제공</a:t>
            </a:r>
            <a:r>
              <a:rPr lang="en-US" altLang="ko-KR" sz="2000" dirty="0">
                <a:cs typeface="+mn-lt"/>
              </a:rPr>
              <a:t>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ko-KR" sz="2000" dirty="0">
                <a:cs typeface="+mn-lt"/>
              </a:rPr>
              <a:t>Sample</a:t>
            </a:r>
            <a:r>
              <a:rPr lang="ko-KR" altLang="en-US" sz="2000" dirty="0">
                <a:cs typeface="+mn-lt"/>
              </a:rPr>
              <a:t>을 통해 단일 요청에 대한 상세 정보 제공 </a:t>
            </a:r>
            <a:r>
              <a:rPr lang="en-US" altLang="ko-KR" sz="2000" dirty="0">
                <a:cs typeface="+mn-lt"/>
              </a:rPr>
              <a:t>(End to End Transaction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ko-KR" sz="2000" dirty="0">
              <a:cs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ko-KR" sz="2000" dirty="0">
              <a:cs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ko-KR" sz="2000" dirty="0">
              <a:cs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ko-KR" sz="2000" dirty="0">
              <a:cs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ko-KR" altLang="en-US" sz="2000" dirty="0">
                <a:cs typeface="+mn-lt"/>
              </a:rPr>
              <a:t>아래 예는 전체 페이지 응답시간은 </a:t>
            </a:r>
            <a:r>
              <a:rPr lang="en-US" altLang="ko-KR" sz="2000" dirty="0">
                <a:cs typeface="+mn-lt"/>
              </a:rPr>
              <a:t>960ms, SQL</a:t>
            </a:r>
            <a:r>
              <a:rPr lang="ko-KR" altLang="en-US" sz="2000" dirty="0">
                <a:cs typeface="+mn-lt"/>
              </a:rPr>
              <a:t> 서버 호출에 약 </a:t>
            </a:r>
            <a:r>
              <a:rPr lang="en-US" altLang="ko-KR" sz="2000" dirty="0">
                <a:cs typeface="+mn-lt"/>
              </a:rPr>
              <a:t>220ms </a:t>
            </a:r>
            <a:r>
              <a:rPr lang="ko-KR" altLang="en-US" sz="2000" dirty="0">
                <a:cs typeface="+mn-lt"/>
              </a:rPr>
              <a:t>이 소요된 것을 확인할 수 있음</a:t>
            </a:r>
            <a:r>
              <a:rPr lang="en-US" altLang="ko-KR" sz="2000" dirty="0">
                <a:cs typeface="+mn-lt"/>
              </a:rPr>
              <a:t>.</a:t>
            </a:r>
          </a:p>
          <a:p>
            <a:pPr marL="0" indent="0">
              <a:buNone/>
            </a:pPr>
            <a:endParaRPr lang="en-US" sz="1800" dirty="0">
              <a:cs typeface="Segoe UI Light"/>
            </a:endParaRPr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09785A47-F624-69D7-659A-328D539DB0D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9245" y="2419990"/>
            <a:ext cx="5025130" cy="1571154"/>
          </a:xfrm>
          <a:prstGeom prst="rect">
            <a:avLst/>
          </a:prstGeom>
        </p:spPr>
      </p:pic>
      <p:pic>
        <p:nvPicPr>
          <p:cNvPr id="8" name="그림 7">
            <a:extLst>
              <a:ext uri="{FF2B5EF4-FFF2-40B4-BE49-F238E27FC236}">
                <a16:creationId xmlns:a16="http://schemas.microsoft.com/office/drawing/2014/main" id="{7C650007-998E-DEBA-B1C4-935204D91A6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15439" y="4780342"/>
            <a:ext cx="7672444" cy="16002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1225641"/>
      </p:ext>
    </p:extLst>
  </p:cSld>
  <p:clrMapOvr>
    <a:masterClrMapping/>
  </p:clrMapOvr>
  <p:transition advTm="1158"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355748-2E5A-FF43-B041-EDECD4D2DA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ctr"/>
          <a:lstStyle/>
          <a:p>
            <a:r>
              <a:rPr lang="en-US" altLang="ko-KR" sz="3650" b="1" dirty="0">
                <a:latin typeface="맑은 고딕"/>
                <a:ea typeface="맑은 고딕"/>
              </a:rPr>
              <a:t>Performance </a:t>
            </a:r>
            <a:r>
              <a:rPr lang="ko-KR" altLang="en-US" sz="3650" b="1" dirty="0">
                <a:latin typeface="맑은 고딕"/>
                <a:ea typeface="맑은 고딕"/>
              </a:rPr>
              <a:t>종속성 추적</a:t>
            </a:r>
            <a:endParaRPr lang="en-US" altLang="ko-KR" sz="3650" b="1" dirty="0">
              <a:latin typeface="맑은 고딕"/>
              <a:ea typeface="맑은 고딕"/>
            </a:endParaRP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0F85905A-5E01-8F50-E18C-9D227C507F1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95914" y="1463669"/>
            <a:ext cx="11243609" cy="1169551"/>
          </a:xfrm>
        </p:spPr>
        <p:txBody>
          <a:bodyPr vert="horz" wrap="square" lIns="146304" tIns="91440" rIns="146304" bIns="91440" rtlCol="0" anchor="t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ko-KR" altLang="en-US" sz="2000" dirty="0">
                <a:cs typeface="+mn-lt"/>
              </a:rPr>
              <a:t>참고</a:t>
            </a:r>
            <a:r>
              <a:rPr lang="en-US" altLang="ko-KR" sz="2000" dirty="0">
                <a:cs typeface="+mn-lt"/>
              </a:rPr>
              <a:t>: </a:t>
            </a:r>
            <a:r>
              <a:rPr lang="en-US" sz="2000" dirty="0">
                <a:hlinkClick r:id="rId3"/>
              </a:rPr>
              <a:t>Application Insights</a:t>
            </a:r>
            <a:r>
              <a:rPr lang="ko-KR" altLang="en-US" sz="2000" dirty="0">
                <a:hlinkClick r:id="rId3"/>
              </a:rPr>
              <a:t>의 종속성 추적 </a:t>
            </a:r>
            <a:r>
              <a:rPr lang="en-US" altLang="ko-KR" sz="2000" dirty="0">
                <a:hlinkClick r:id="rId3"/>
              </a:rPr>
              <a:t>- </a:t>
            </a:r>
            <a:r>
              <a:rPr lang="en-US" sz="2000" dirty="0">
                <a:hlinkClick r:id="rId3"/>
              </a:rPr>
              <a:t>Azure Monitor | Microsoft Learn</a:t>
            </a:r>
            <a:endParaRPr lang="en-US" altLang="ko-KR" sz="2000" dirty="0">
              <a:cs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ko-KR" altLang="en-US" sz="2000" dirty="0">
                <a:cs typeface="+mn-lt"/>
              </a:rPr>
              <a:t>다음 리소스는 별도의 설정 </a:t>
            </a:r>
            <a:r>
              <a:rPr lang="en-US" altLang="ko-KR" sz="2000" dirty="0">
                <a:cs typeface="+mn-lt"/>
              </a:rPr>
              <a:t>or </a:t>
            </a:r>
            <a:r>
              <a:rPr lang="ko-KR" altLang="en-US" sz="2000" dirty="0">
                <a:cs typeface="+mn-lt"/>
              </a:rPr>
              <a:t>코딩 없이 자동으로 종속성에 대한 모니터링 </a:t>
            </a:r>
            <a:r>
              <a:rPr lang="en-US" altLang="ko-KR" sz="2000" dirty="0">
                <a:cs typeface="+mn-lt"/>
              </a:rPr>
              <a:t>(end to end transaction </a:t>
            </a:r>
            <a:r>
              <a:rPr lang="ko-KR" altLang="en-US" sz="2000" dirty="0">
                <a:cs typeface="+mn-lt"/>
              </a:rPr>
              <a:t>등</a:t>
            </a:r>
            <a:r>
              <a:rPr lang="en-US" altLang="ko-KR" sz="2000" dirty="0">
                <a:cs typeface="+mn-lt"/>
              </a:rPr>
              <a:t>)</a:t>
            </a:r>
            <a:r>
              <a:rPr lang="ko-KR" altLang="en-US" sz="2000" dirty="0">
                <a:cs typeface="+mn-lt"/>
              </a:rPr>
              <a:t>이 되나</a:t>
            </a:r>
            <a:r>
              <a:rPr lang="en-US" altLang="ko-KR" sz="2000" dirty="0">
                <a:cs typeface="+mn-lt"/>
              </a:rPr>
              <a:t> </a:t>
            </a:r>
            <a:r>
              <a:rPr lang="ko-KR" altLang="en-US" sz="2000" dirty="0">
                <a:cs typeface="+mn-lt"/>
              </a:rPr>
              <a:t>일부 리소스</a:t>
            </a:r>
            <a:r>
              <a:rPr lang="en-US" altLang="ko-KR" sz="2000" dirty="0">
                <a:cs typeface="+mn-lt"/>
              </a:rPr>
              <a:t>(ex –Redis Cache)</a:t>
            </a:r>
            <a:r>
              <a:rPr lang="ko-KR" altLang="en-US" sz="2000" dirty="0">
                <a:cs typeface="+mn-lt"/>
              </a:rPr>
              <a:t>에 대한 모니터링은 추가 작업 필요</a:t>
            </a:r>
            <a:r>
              <a:rPr lang="en-US" altLang="ko-KR" sz="2000" dirty="0">
                <a:cs typeface="+mn-lt"/>
              </a:rPr>
              <a:t>.</a:t>
            </a:r>
            <a:endParaRPr lang="en-US" sz="1800" dirty="0">
              <a:cs typeface="Segoe UI Light"/>
            </a:endParaRP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35D000D1-FF1C-A555-C0E3-EB437110682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16619" y="2633220"/>
            <a:ext cx="7258103" cy="39433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3667652"/>
      </p:ext>
    </p:extLst>
  </p:cSld>
  <p:clrMapOvr>
    <a:masterClrMapping/>
  </p:clrMapOvr>
  <p:transition advTm="1158"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gwN4ZLQDpBu.VmviWx9g"/>
</p:tagLst>
</file>

<file path=ppt/theme/theme1.xml><?xml version="1.0" encoding="utf-8"?>
<a:theme xmlns:a="http://schemas.openxmlformats.org/drawingml/2006/main" name="WHITE TEMPLATE">
  <a:themeElements>
    <a:clrScheme name="Custom 8">
      <a:dk1>
        <a:srgbClr val="505050"/>
      </a:dk1>
      <a:lt1>
        <a:srgbClr val="FFFFFF"/>
      </a:lt1>
      <a:dk2>
        <a:srgbClr val="002050"/>
      </a:dk2>
      <a:lt2>
        <a:srgbClr val="00BCF2"/>
      </a:lt2>
      <a:accent1>
        <a:srgbClr val="002050"/>
      </a:accent1>
      <a:accent2>
        <a:srgbClr val="B4009E"/>
      </a:accent2>
      <a:accent3>
        <a:srgbClr val="0078D7"/>
      </a:accent3>
      <a:accent4>
        <a:srgbClr val="5C2D91"/>
      </a:accent4>
      <a:accent5>
        <a:srgbClr val="107C10"/>
      </a:accent5>
      <a:accent6>
        <a:srgbClr val="D83B01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Lesson Template Advanced Services Delivery" id="{C1C2A24F-D109-42E5-AC15-AA5D2EC769D9}" vid="{DB32FE43-934C-40BD-B03E-F7F2E05B8611}"/>
    </a:ext>
  </a:extLst>
</a:theme>
</file>

<file path=ppt/theme/theme2.xml><?xml version="1.0" encoding="utf-8"?>
<a:theme xmlns:a="http://schemas.openxmlformats.org/drawingml/2006/main" name="COLOR TEMPLATE">
  <a:themeElements>
    <a:clrScheme name="MSVID Dark Blue">
      <a:dk1>
        <a:srgbClr val="505050"/>
      </a:dk1>
      <a:lt1>
        <a:srgbClr val="FFFFFF"/>
      </a:lt1>
      <a:dk2>
        <a:srgbClr val="002050"/>
      </a:dk2>
      <a:lt2>
        <a:srgbClr val="CDF4FF"/>
      </a:lt2>
      <a:accent1>
        <a:srgbClr val="107C10"/>
      </a:accent1>
      <a:accent2>
        <a:srgbClr val="B4009E"/>
      </a:accent2>
      <a:accent3>
        <a:srgbClr val="0078D7"/>
      </a:accent3>
      <a:accent4>
        <a:srgbClr val="5C2D91"/>
      </a:accent4>
      <a:accent5>
        <a:srgbClr val="008272"/>
      </a:accent5>
      <a:accent6>
        <a:srgbClr val="D83B01"/>
      </a:accent6>
      <a:hlink>
        <a:srgbClr val="CDF4FF"/>
      </a:hlink>
      <a:folHlink>
        <a:srgbClr val="CDF4FF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Lesson Template Advanced Services Delivery" id="{C1C2A24F-D109-42E5-AC15-AA5D2EC769D9}" vid="{1A6D54F3-F9C7-407A-9538-6F46E67083DB}"/>
    </a:ext>
  </a:extLst>
</a:theme>
</file>

<file path=ppt/theme/theme3.xml><?xml version="1.0" encoding="utf-8"?>
<a:theme xmlns:a="http://schemas.openxmlformats.org/drawingml/2006/main" name="1_WHITE TEMPLATE">
  <a:themeElements>
    <a:clrScheme name="Custom 8">
      <a:dk1>
        <a:srgbClr val="505050"/>
      </a:dk1>
      <a:lt1>
        <a:srgbClr val="FFFFFF"/>
      </a:lt1>
      <a:dk2>
        <a:srgbClr val="002050"/>
      </a:dk2>
      <a:lt2>
        <a:srgbClr val="00BCF2"/>
      </a:lt2>
      <a:accent1>
        <a:srgbClr val="002050"/>
      </a:accent1>
      <a:accent2>
        <a:srgbClr val="B4009E"/>
      </a:accent2>
      <a:accent3>
        <a:srgbClr val="0078D7"/>
      </a:accent3>
      <a:accent4>
        <a:srgbClr val="5C2D91"/>
      </a:accent4>
      <a:accent5>
        <a:srgbClr val="107C10"/>
      </a:accent5>
      <a:accent6>
        <a:srgbClr val="D83B01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Lesson Template Advanced Services Delivery" id="{C1C2A24F-D109-42E5-AC15-AA5D2EC769D9}" vid="{DB32FE43-934C-40BD-B03E-F7F2E05B8611}"/>
    </a:ext>
  </a:extLst>
</a:theme>
</file>

<file path=ppt/theme/theme4.xml><?xml version="1.0" encoding="utf-8"?>
<a:theme xmlns:a="http://schemas.openxmlformats.org/drawingml/2006/main" name="1_마스터">
  <a:themeElements>
    <a:clrScheme name="Office 테마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테마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테마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>
            <a:lumMod val="40000"/>
            <a:lumOff val="60000"/>
          </a:schemeClr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285750" indent="-285750" algn="l">
          <a:buFont typeface="Arial" panose="020B0604020202020204" pitchFamily="34" charset="0"/>
          <a:buChar char="•"/>
          <a:defRPr sz="1200" spc="-50" dirty="0" smtClean="0">
            <a:ln>
              <a:solidFill>
                <a:schemeClr val="bg1">
                  <a:lumMod val="75000"/>
                  <a:alpha val="0"/>
                </a:schemeClr>
              </a:solidFill>
            </a:ln>
            <a:solidFill>
              <a:schemeClr val="tx1"/>
            </a:solidFill>
            <a:latin typeface="KoPubDotum Bold" panose="02020603020101020101" pitchFamily="18" charset="-127"/>
            <a:ea typeface="KoPubDotum Bold" panose="02020603020101020101" pitchFamily="18" charset="-127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18000" tIns="18000" rIns="18000" bIns="18000">
        <a:spAutoFit/>
      </a:bodyPr>
      <a:lstStyle>
        <a:defPPr algn="l">
          <a:defRPr sz="5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E374DBE600D1042BB171018FFA28773" ma:contentTypeVersion="5" ma:contentTypeDescription="Create a new document." ma:contentTypeScope="" ma:versionID="99b9d4243d0c666080a162e4f700b420">
  <xsd:schema xmlns:xsd="http://www.w3.org/2001/XMLSchema" xmlns:xs="http://www.w3.org/2001/XMLSchema" xmlns:p="http://schemas.microsoft.com/office/2006/metadata/properties" xmlns:ns2="230e9df3-be65-4c73-a93b-d1236ebd677e" xmlns:ns3="8a5fa141-ffab-4068-a2eb-aea252c8130e" targetNamespace="http://schemas.microsoft.com/office/2006/metadata/properties" ma:root="true" ma:fieldsID="66eb73fc2e4367b650caaf3708a8f156" ns2:_="" ns3:_="">
    <xsd:import namespace="230e9df3-be65-4c73-a93b-d1236ebd677e"/>
    <xsd:import namespace="8a5fa141-ffab-4068-a2eb-aea252c8130e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MediaServiceMetadata" minOccurs="0"/>
                <xsd:element ref="ns3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30e9df3-be65-4c73-a93b-d1236ebd677e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a5fa141-ffab-4068-a2eb-aea252c8130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description="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230e9df3-be65-4c73-a93b-d1236ebd677e">CPS089-49926902-2169</_dlc_DocId>
    <_dlc_DocIdUrl xmlns="230e9df3-be65-4c73-a93b-d1236ebd677e">
      <Url>https://microsoft.sharepoint.com/teams/CampusProjectSites089/hahzsakosd/ipdev/_layouts/15/DocIdRedir.aspx?ID=CPS089-49926902-2169</Url>
      <Description>CPS089-49926902-2169</Description>
    </_dlc_DocIdUrl>
  </documentManagement>
</p:properties>
</file>

<file path=customXml/itemProps1.xml><?xml version="1.0" encoding="utf-8"?>
<ds:datastoreItem xmlns:ds="http://schemas.openxmlformats.org/officeDocument/2006/customXml" ds:itemID="{FEC9592E-82DD-4399-A4BB-5C49E0F6255D}">
  <ds:schemaRefs>
    <ds:schemaRef ds:uri="http://schemas.microsoft.com/sharepoint/events"/>
  </ds:schemaRefs>
</ds:datastoreItem>
</file>

<file path=customXml/itemProps2.xml><?xml version="1.0" encoding="utf-8"?>
<ds:datastoreItem xmlns:ds="http://schemas.openxmlformats.org/officeDocument/2006/customXml" ds:itemID="{BC7D4DF1-4878-4A56-8508-A42905D7459F}">
  <ds:schemaRefs>
    <ds:schemaRef ds:uri="230e9df3-be65-4c73-a93b-d1236ebd677e"/>
    <ds:schemaRef ds:uri="8a5fa141-ffab-4068-a2eb-aea252c8130e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758FDAC0-319D-4A54-8D8E-1D42CB1F8004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F990F116-B58F-4255-B05B-DA3808E0E5C6}">
  <ds:schemaRefs>
    <ds:schemaRef ds:uri="230e9df3-be65-4c73-a93b-d1236ebd677e"/>
    <ds:schemaRef ds:uri="8a5fa141-ffab-4068-a2eb-aea252c8130e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Metadata/LabelInfo.xml><?xml version="1.0" encoding="utf-8"?>
<clbl:labelList xmlns:clbl="http://schemas.microsoft.com/office/2020/mipLabelMetadata">
  <clbl:label id="{f42aa342-8706-4288-bd11-ebb85995028c}" enabled="1" method="Privileged" siteId="{72f988bf-86f1-41af-91ab-2d7cd011db47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261</TotalTime>
  <Words>2057</Words>
  <Application>Microsoft Office PowerPoint</Application>
  <PresentationFormat>사용자 지정</PresentationFormat>
  <Paragraphs>297</Paragraphs>
  <Slides>27</Slides>
  <Notes>27</Notes>
  <HiddenSlides>0</HiddenSlides>
  <MMClips>0</MMClips>
  <ScaleCrop>false</ScaleCrop>
  <HeadingPairs>
    <vt:vector size="8" baseType="variant">
      <vt:variant>
        <vt:lpstr>사용한 글꼴</vt:lpstr>
      </vt:variant>
      <vt:variant>
        <vt:i4>13</vt:i4>
      </vt:variant>
      <vt:variant>
        <vt:lpstr>테마</vt:lpstr>
      </vt:variant>
      <vt:variant>
        <vt:i4>4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27</vt:i4>
      </vt:variant>
    </vt:vector>
  </HeadingPairs>
  <TitlesOfParts>
    <vt:vector size="45" baseType="lpstr">
      <vt:lpstr>KoPubDotum Bold</vt:lpstr>
      <vt:lpstr>KoPub돋움체 Medium</vt:lpstr>
      <vt:lpstr>Malgun Gothic</vt:lpstr>
      <vt:lpstr>Malgun Gothic</vt:lpstr>
      <vt:lpstr>Segoe Semibold</vt:lpstr>
      <vt:lpstr>Arial</vt:lpstr>
      <vt:lpstr>Calibri</vt:lpstr>
      <vt:lpstr>Calibri Light</vt:lpstr>
      <vt:lpstr>Century Gothic</vt:lpstr>
      <vt:lpstr>Consolas</vt:lpstr>
      <vt:lpstr>Segoe UI</vt:lpstr>
      <vt:lpstr>Segoe UI Light</vt:lpstr>
      <vt:lpstr>Wingdings</vt:lpstr>
      <vt:lpstr>WHITE TEMPLATE</vt:lpstr>
      <vt:lpstr>COLOR TEMPLATE</vt:lpstr>
      <vt:lpstr>1_WHITE TEMPLATE</vt:lpstr>
      <vt:lpstr>1_마스터</vt:lpstr>
      <vt:lpstr>think-cell Slide</vt:lpstr>
      <vt:lpstr>Application Insights</vt:lpstr>
      <vt:lpstr>Table of Contents</vt:lpstr>
      <vt:lpstr>PowerPoint 프레젠테이션</vt:lpstr>
      <vt:lpstr>Live Metrics – Overview</vt:lpstr>
      <vt:lpstr>Live Metrics – Outgoing</vt:lpstr>
      <vt:lpstr>Live Metrics – Failure</vt:lpstr>
      <vt:lpstr>Live Metrics – Servers</vt:lpstr>
      <vt:lpstr>Performance &amp; End to End Transaction</vt:lpstr>
      <vt:lpstr>Performance 종속성 추적</vt:lpstr>
      <vt:lpstr>Performance 종속성 추적</vt:lpstr>
      <vt:lpstr>PowerPoint 프레젠테이션</vt:lpstr>
      <vt:lpstr>개요</vt:lpstr>
      <vt:lpstr>Custom Property</vt:lpstr>
      <vt:lpstr>Custom Property</vt:lpstr>
      <vt:lpstr>Custom Property</vt:lpstr>
      <vt:lpstr>PowerPoint 프레젠테이션</vt:lpstr>
      <vt:lpstr>Pricing</vt:lpstr>
      <vt:lpstr>Pricing</vt:lpstr>
      <vt:lpstr>Basic Logs</vt:lpstr>
      <vt:lpstr>Basic Logs 구성</vt:lpstr>
      <vt:lpstr>Retention 주기 설정.</vt:lpstr>
      <vt:lpstr>Daily Cap 설정</vt:lpstr>
      <vt:lpstr>Sampling </vt:lpstr>
      <vt:lpstr>Ingestion Sampling</vt:lpstr>
      <vt:lpstr>Fixed Rate Sampling</vt:lpstr>
      <vt:lpstr>Adaptive Sampling</vt:lpstr>
      <vt:lpstr>PowerPoint 프레젠테이션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odule 7 – Monitoring and Troubleshooting Containers   </dc:title>
  <dc:subject/>
  <dc:creator>Razi Rais</dc:creator>
  <cp:keywords/>
  <dc:description/>
  <cp:lastModifiedBy>park arnold</cp:lastModifiedBy>
  <cp:revision>47</cp:revision>
  <dcterms:modified xsi:type="dcterms:W3CDTF">2023-03-21T07:10:45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E374DBE600D1042BB171018FFA28773</vt:lpwstr>
  </property>
  <property fmtid="{D5CDD505-2E9C-101B-9397-08002B2CF9AE}" pid="3" name="Product">
    <vt:lpwstr/>
  </property>
  <property fmtid="{D5CDD505-2E9C-101B-9397-08002B2CF9AE}" pid="4" name="Event1">
    <vt:lpwstr>622;#Unassigned|2c8af875-f38a-40b8-a0a9-056aed3fc8c0</vt:lpwstr>
  </property>
  <property fmtid="{D5CDD505-2E9C-101B-9397-08002B2CF9AE}" pid="5" name="Audience">
    <vt:lpwstr/>
  </property>
  <property fmtid="{D5CDD505-2E9C-101B-9397-08002B2CF9AE}" pid="6" name="Event Venue">
    <vt:lpwstr/>
  </property>
  <property fmtid="{D5CDD505-2E9C-101B-9397-08002B2CF9AE}" pid="7" name="Track">
    <vt:lpwstr/>
  </property>
  <property fmtid="{D5CDD505-2E9C-101B-9397-08002B2CF9AE}" pid="8" name="Event Location">
    <vt:lpwstr/>
  </property>
  <property fmtid="{D5CDD505-2E9C-101B-9397-08002B2CF9AE}" pid="9" name="Campaign">
    <vt:lpwstr/>
  </property>
  <property fmtid="{D5CDD505-2E9C-101B-9397-08002B2CF9AE}" pid="10" name="IsMyDocuments">
    <vt:bool>true</vt:bool>
  </property>
  <property fmtid="{D5CDD505-2E9C-101B-9397-08002B2CF9AE}" pid="11" name="_dlc_DocIdItemGuid">
    <vt:lpwstr>8d261788-a6b7-4f7c-9406-6ced3930c78c</vt:lpwstr>
  </property>
  <property fmtid="{D5CDD505-2E9C-101B-9397-08002B2CF9AE}" pid="12" name="MSIP_Label_f42aa342-8706-4288-bd11-ebb85995028c_Enabled">
    <vt:lpwstr>True</vt:lpwstr>
  </property>
  <property fmtid="{D5CDD505-2E9C-101B-9397-08002B2CF9AE}" pid="13" name="MSIP_Label_f42aa342-8706-4288-bd11-ebb85995028c_SiteId">
    <vt:lpwstr>72f988bf-86f1-41af-91ab-2d7cd011db47</vt:lpwstr>
  </property>
  <property fmtid="{D5CDD505-2E9C-101B-9397-08002B2CF9AE}" pid="14" name="MSIP_Label_f42aa342-8706-4288-bd11-ebb85995028c_Owner">
    <vt:lpwstr>crtenn@microsoft.com</vt:lpwstr>
  </property>
  <property fmtid="{D5CDD505-2E9C-101B-9397-08002B2CF9AE}" pid="15" name="MSIP_Label_f42aa342-8706-4288-bd11-ebb85995028c_SetDate">
    <vt:lpwstr>2018-06-03T17:51:39.6207544Z</vt:lpwstr>
  </property>
  <property fmtid="{D5CDD505-2E9C-101B-9397-08002B2CF9AE}" pid="16" name="MSIP_Label_f42aa342-8706-4288-bd11-ebb85995028c_Name">
    <vt:lpwstr>General</vt:lpwstr>
  </property>
  <property fmtid="{D5CDD505-2E9C-101B-9397-08002B2CF9AE}" pid="17" name="MSIP_Label_f42aa342-8706-4288-bd11-ebb85995028c_Application">
    <vt:lpwstr>Microsoft Azure Information Protection</vt:lpwstr>
  </property>
  <property fmtid="{D5CDD505-2E9C-101B-9397-08002B2CF9AE}" pid="18" name="MSIP_Label_f42aa342-8706-4288-bd11-ebb85995028c_Extended_MSFT_Method">
    <vt:lpwstr>Automatic</vt:lpwstr>
  </property>
  <property fmtid="{D5CDD505-2E9C-101B-9397-08002B2CF9AE}" pid="19" name="Sensitivity">
    <vt:lpwstr>General</vt:lpwstr>
  </property>
</Properties>
</file>